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drawings/drawing1.xml" ContentType="application/vnd.openxmlformats-officedocument.drawingml.chartshapes+xml"/>
  <Override PartName="/ppt/charts/chart2.xml" ContentType="application/vnd.openxmlformats-officedocument.drawingml.chart+xml"/>
  <Override PartName="/ppt/drawings/drawing2.xml" ContentType="application/vnd.openxmlformats-officedocument.drawingml.chartshapes+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notesSlides/notesSlide1.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9"/>
  </p:notesMasterIdLst>
  <p:handoutMasterIdLst>
    <p:handoutMasterId r:id="rId30"/>
  </p:handoutMasterIdLst>
  <p:sldIdLst>
    <p:sldId id="362" r:id="rId2"/>
    <p:sldId id="390" r:id="rId3"/>
    <p:sldId id="414" r:id="rId4"/>
    <p:sldId id="415" r:id="rId5"/>
    <p:sldId id="397" r:id="rId6"/>
    <p:sldId id="400" r:id="rId7"/>
    <p:sldId id="417" r:id="rId8"/>
    <p:sldId id="389" r:id="rId9"/>
    <p:sldId id="402" r:id="rId10"/>
    <p:sldId id="421" r:id="rId11"/>
    <p:sldId id="380" r:id="rId12"/>
    <p:sldId id="382" r:id="rId13"/>
    <p:sldId id="384" r:id="rId14"/>
    <p:sldId id="405" r:id="rId15"/>
    <p:sldId id="406" r:id="rId16"/>
    <p:sldId id="407" r:id="rId17"/>
    <p:sldId id="408" r:id="rId18"/>
    <p:sldId id="409" r:id="rId19"/>
    <p:sldId id="416" r:id="rId20"/>
    <p:sldId id="410" r:id="rId21"/>
    <p:sldId id="411" r:id="rId22"/>
    <p:sldId id="419" r:id="rId23"/>
    <p:sldId id="412" r:id="rId24"/>
    <p:sldId id="394" r:id="rId25"/>
    <p:sldId id="395" r:id="rId26"/>
    <p:sldId id="420" r:id="rId27"/>
    <p:sldId id="418" r:id="rId28"/>
  </p:sldIdLst>
  <p:sldSz cx="9144000" cy="6858000" type="screen4x3"/>
  <p:notesSz cx="7099300" cy="10234613"/>
  <p:custDataLst>
    <p:tags r:id="rId3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userDrawn="1">
          <p15:clr>
            <a:srgbClr val="A4A3A4"/>
          </p15:clr>
        </p15:guide>
        <p15:guide id="2" pos="2880" userDrawn="1">
          <p15:clr>
            <a:srgbClr val="A4A3A4"/>
          </p15:clr>
        </p15:guide>
        <p15:guide id="3" orient="horz" pos="2328" userDrawn="1">
          <p15:clr>
            <a:srgbClr val="A4A3A4"/>
          </p15:clr>
        </p15:guide>
        <p15:guide id="4" orient="horz" pos="778">
          <p15:clr>
            <a:srgbClr val="A4A3A4"/>
          </p15:clr>
        </p15:guide>
        <p15:guide id="5" orient="horz" pos="288" userDrawn="1">
          <p15:clr>
            <a:srgbClr val="A4A3A4"/>
          </p15:clr>
        </p15:guide>
        <p15:guide id="6" orient="horz" pos="875">
          <p15:clr>
            <a:srgbClr val="A4A3A4"/>
          </p15:clr>
        </p15:guide>
        <p15:guide id="7" orient="horz" pos="4040">
          <p15:clr>
            <a:srgbClr val="A4A3A4"/>
          </p15:clr>
        </p15:guide>
        <p15:guide id="8" orient="horz" pos="3816">
          <p15:clr>
            <a:srgbClr val="A4A3A4"/>
          </p15:clr>
        </p15:guide>
        <p15:guide id="9" pos="291">
          <p15:clr>
            <a:srgbClr val="A4A3A4"/>
          </p15:clr>
        </p15:guide>
        <p15:guide id="10" pos="5481">
          <p15:clr>
            <a:srgbClr val="A4A3A4"/>
          </p15:clr>
        </p15:guide>
        <p15:guide id="11" pos="2820" userDrawn="1">
          <p15:clr>
            <a:srgbClr val="A4A3A4"/>
          </p15:clr>
        </p15:guide>
        <p15:guide id="12" pos="29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O'Connell, Tricia" initials="TO" lastIdx="2" clrIdx="0"/>
  <p:cmAuthor id="1" name="Peter Gunthorp" initials="PG" lastIdx="41" clrIdx="1"/>
  <p:cmAuthor id="2" name="Ross French" initials="RF" lastIdx="1"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1340"/>
    <a:srgbClr val="551732"/>
    <a:srgbClr val="F8B15B"/>
    <a:srgbClr val="1F9EC4"/>
    <a:srgbClr val="2C6C88"/>
    <a:srgbClr val="005B67"/>
    <a:srgbClr val="404040"/>
    <a:srgbClr val="696D6F"/>
    <a:srgbClr val="90C18F"/>
    <a:srgbClr val="8662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3584" autoAdjust="0"/>
    <p:restoredTop sz="99672" autoAdjust="0"/>
  </p:normalViewPr>
  <p:slideViewPr>
    <p:cSldViewPr snapToGrid="0" showGuides="1">
      <p:cViewPr>
        <p:scale>
          <a:sx n="100" d="100"/>
          <a:sy n="100" d="100"/>
        </p:scale>
        <p:origin x="-72" y="396"/>
      </p:cViewPr>
      <p:guideLst>
        <p:guide orient="horz" pos="2160"/>
        <p:guide orient="horz" pos="2328"/>
        <p:guide orient="horz" pos="778"/>
        <p:guide orient="horz" pos="288"/>
        <p:guide orient="horz" pos="875"/>
        <p:guide orient="horz" pos="4040"/>
        <p:guide orient="horz" pos="3816"/>
        <p:guide pos="2880"/>
        <p:guide pos="291"/>
        <p:guide pos="5481"/>
        <p:guide pos="2820"/>
        <p:guide pos="294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handoutMaster" Target="handoutMasters/handoutMaster1.xml"/><Relationship Id="rId35" Type="http://schemas.openxmlformats.org/officeDocument/2006/relationships/theme" Target="theme/theme1.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lseg.stockex.local\ftsefileserver\Userfiles\Research_and_Development\lj\ESG_integration_paper\STYLEcORRELATION.xlsx" TargetMode="External"/></Relationships>
</file>

<file path=ppt/charts/_rels/chart10.xml.rels><?xml version="1.0" encoding="UTF-8" standalone="yes"?>
<Relationships xmlns="http://schemas.openxmlformats.org/package/2006/relationships"><Relationship Id="rId1" Type="http://schemas.openxmlformats.org/officeDocument/2006/relationships/oleObject" Target="file:///\\lseg.stockex.local\ftsefileserver\Userfiles\Research_and_Development\lj\ESG_integration_paper\Fixed.xlsx" TargetMode="External"/></Relationships>
</file>

<file path=ppt/charts/_rels/chart11.xml.rels><?xml version="1.0" encoding="UTF-8" standalone="yes"?>
<Relationships xmlns="http://schemas.openxmlformats.org/package/2006/relationships"><Relationship Id="rId1" Type="http://schemas.openxmlformats.org/officeDocument/2006/relationships/oleObject" Target="file:///\\lseg.stockex.local\ftsefileserver\Userfiles\Research_and_Development\lj\ClientRequest_adhoc\20190312_ECB\FTSERussell_Climate_Indexes_for_ECB_final_v4.xlsx" TargetMode="External"/></Relationships>
</file>

<file path=ppt/charts/_rels/chart12.xml.rels><?xml version="1.0" encoding="UTF-8" standalone="yes"?>
<Relationships xmlns="http://schemas.openxmlformats.org/package/2006/relationships"><Relationship Id="rId1" Type="http://schemas.openxmlformats.org/officeDocument/2006/relationships/oleObject" Target="file:///\\lseg.stockex.local\ftsefileserver\Userfiles\Research_and_Development\lj\ClientRequest_adhoc\20190312_ECB\EM_predicted%20TE.xlsx" TargetMode="External"/></Relationships>
</file>

<file path=ppt/charts/_rels/chart13.xml.rels><?xml version="1.0" encoding="UTF-8" standalone="yes"?>
<Relationships xmlns="http://schemas.openxmlformats.org/package/2006/relationships"><Relationship Id="rId1" Type="http://schemas.openxmlformats.org/officeDocument/2006/relationships/oleObject" Target="file:///\\lseg.stockex.local\ftsefileserver\Userfiles\Research_and_Development\lj\ESG_integration_paper\map.xlsx" TargetMode="External"/></Relationships>
</file>

<file path=ppt/charts/_rels/chart14.xml.rels><?xml version="1.0" encoding="UTF-8" standalone="yes"?>
<Relationships xmlns="http://schemas.openxmlformats.org/package/2006/relationships"><Relationship Id="rId1" Type="http://schemas.openxmlformats.org/officeDocument/2006/relationships/oleObject" Target="file:///\\lseg.stockex.local\ftsefileserver\Userfiles\Research_and_Development\lj\ESG_integration_paper\map.xlsx" TargetMode="External"/></Relationships>
</file>

<file path=ppt/charts/_rels/chart15.xml.rels><?xml version="1.0" encoding="UTF-8" standalone="yes"?>
<Relationships xmlns="http://schemas.openxmlformats.org/package/2006/relationships"><Relationship Id="rId1" Type="http://schemas.openxmlformats.org/officeDocument/2006/relationships/oleObject" Target="file:///\\lseg.stockex.local\ftsefileserver\Userfiles\Research_and_Development\lj\ESG_integration_paper\map.xlsx" TargetMode="External"/></Relationships>
</file>

<file path=ppt/charts/_rels/chart16.xml.rels><?xml version="1.0" encoding="UTF-8" standalone="yes"?>
<Relationships xmlns="http://schemas.openxmlformats.org/package/2006/relationships"><Relationship Id="rId1" Type="http://schemas.openxmlformats.org/officeDocument/2006/relationships/oleObject" Target="file:///\\lseg.stockex.local\ftsefileserver\Userfiles\Research_and_Development\lj\ESG_integration_paper\map.xlsx" TargetMode="External"/></Relationships>
</file>

<file path=ppt/charts/_rels/chart17.xml.rels><?xml version="1.0" encoding="UTF-8" standalone="yes"?>
<Relationships xmlns="http://schemas.openxmlformats.org/package/2006/relationships"><Relationship Id="rId1" Type="http://schemas.openxmlformats.org/officeDocument/2006/relationships/oleObject" Target="file:///\\lseg.stockex.local\ftsefileserver\Userfiles\Research_and_Development\lj\ESG_integration_paper\map.xlsx" TargetMode="External"/></Relationships>
</file>

<file path=ppt/charts/_rels/chart18.xml.rels><?xml version="1.0" encoding="UTF-8" standalone="yes"?>
<Relationships xmlns="http://schemas.openxmlformats.org/package/2006/relationships"><Relationship Id="rId1" Type="http://schemas.openxmlformats.org/officeDocument/2006/relationships/oleObject" Target="file:///\\lseg.stockex.local\ftsefileserver\Userfiles\Research_and_Development\lj\ESG_integration_paper\map.xlsx" TargetMode="External"/></Relationships>
</file>

<file path=ppt/charts/_rels/chart19.xml.rels><?xml version="1.0" encoding="UTF-8" standalone="yes"?>
<Relationships xmlns="http://schemas.openxmlformats.org/package/2006/relationships"><Relationship Id="rId1" Type="http://schemas.openxmlformats.org/officeDocument/2006/relationships/oleObject" Target="file:///\\lseg.stockex.local\ftsefileserver\Userfiles\Research_and_Development\lj\ClientRequest_adhoc\20180823_NEST\Variations%20of%20Dividend%20Idx.xlsx" TargetMode="External"/></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oleObject" Target="file:///\\lseg.stockex.local\ftsefileserver\Userfiles\Research_and_Development\lj\ESG_integration_paper\STYLEcORRELATION.xlsx" TargetMode="External"/></Relationships>
</file>

<file path=ppt/charts/_rels/chart20.xml.rels><?xml version="1.0" encoding="UTF-8" standalone="yes"?>
<Relationships xmlns="http://schemas.openxmlformats.org/package/2006/relationships"><Relationship Id="rId1" Type="http://schemas.openxmlformats.org/officeDocument/2006/relationships/oleObject" Target="file:///\\lseg.stockex.local\ftsefileserver\Userfiles\Research_and_Development\lj\ClientRequest_adhoc\20180823_NEST\Factor%20and%20ESG_ALL.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lseg.stockex.local\ftsefileserver\Userfiles\Research_and_Development\shared_research_AD_AG\FACTOR%20STUFF\ANDY\Data%20For%20Factor%20Index%20Presentation.xlsx" TargetMode="Externa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8.xml.rels><?xml version="1.0" encoding="UTF-8" standalone="yes"?>
<Relationships xmlns="http://schemas.openxmlformats.org/package/2006/relationships"><Relationship Id="rId1" Type="http://schemas.openxmlformats.org/officeDocument/2006/relationships/oleObject" Target="file:///\\lseg.stockex.local\ftsefileserver\Userfiles\Research_and_Development\lj\ESG_integration_paper\map.xlsx" TargetMode="External"/></Relationships>
</file>

<file path=ppt/charts/_rels/chart9.xml.rels><?xml version="1.0" encoding="UTF-8" standalone="yes"?>
<Relationships xmlns="http://schemas.openxmlformats.org/package/2006/relationships"><Relationship Id="rId1" Type="http://schemas.openxmlformats.org/officeDocument/2006/relationships/oleObject" Target="file:///\\lseg.stockex.local\ftsefileserver\Userfiles\Research_and_Development\lj\ESG_integration_paper\Fixed.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6702903816296789"/>
          <c:y val="7.0489217198365678E-2"/>
          <c:w val="0.57735888914037037"/>
          <c:h val="0.80337383847284094"/>
        </c:manualLayout>
      </c:layout>
      <c:barChart>
        <c:barDir val="bar"/>
        <c:grouping val="clustered"/>
        <c:varyColors val="0"/>
        <c:ser>
          <c:idx val="0"/>
          <c:order val="0"/>
          <c:tx>
            <c:strRef>
              <c:f>Sheet1!$H$19</c:f>
              <c:strCache>
                <c:ptCount val="1"/>
                <c:pt idx="0">
                  <c:v>DM</c:v>
                </c:pt>
              </c:strCache>
            </c:strRef>
          </c:tx>
          <c:invertIfNegative val="0"/>
          <c:cat>
            <c:strRef>
              <c:f>Sheet1!$G$20:$G$27</c:f>
              <c:strCache>
                <c:ptCount val="8"/>
                <c:pt idx="0">
                  <c:v>Low Volatility</c:v>
                </c:pt>
                <c:pt idx="1">
                  <c:v>Debt to Equtiy</c:v>
                </c:pt>
                <c:pt idx="2">
                  <c:v>ROE</c:v>
                </c:pt>
                <c:pt idx="3">
                  <c:v>Momentum</c:v>
                </c:pt>
                <c:pt idx="4">
                  <c:v>Size (Small Caps)</c:v>
                </c:pt>
                <c:pt idx="5">
                  <c:v>Dividend Yield</c:v>
                </c:pt>
                <c:pt idx="6">
                  <c:v>Book to Price</c:v>
                </c:pt>
                <c:pt idx="7">
                  <c:v>Earnings Yield</c:v>
                </c:pt>
              </c:strCache>
            </c:strRef>
          </c:cat>
          <c:val>
            <c:numRef>
              <c:f>Sheet1!$H$20:$H$27</c:f>
              <c:numCache>
                <c:formatCode>0%</c:formatCode>
                <c:ptCount val="8"/>
                <c:pt idx="0">
                  <c:v>0.19619628514627799</c:v>
                </c:pt>
                <c:pt idx="1">
                  <c:v>4.7211244686838502E-2</c:v>
                </c:pt>
                <c:pt idx="2">
                  <c:v>2.9053406614712E-2</c:v>
                </c:pt>
                <c:pt idx="3">
                  <c:v>7.8345381243645693E-3</c:v>
                </c:pt>
                <c:pt idx="4">
                  <c:v>-0.36501936427331599</c:v>
                </c:pt>
                <c:pt idx="5">
                  <c:v>0.18864274981436499</c:v>
                </c:pt>
                <c:pt idx="6">
                  <c:v>-7.8083081369830998E-2</c:v>
                </c:pt>
                <c:pt idx="7">
                  <c:v>-3.0804380420573999E-2</c:v>
                </c:pt>
              </c:numCache>
            </c:numRef>
          </c:val>
        </c:ser>
        <c:ser>
          <c:idx val="1"/>
          <c:order val="1"/>
          <c:tx>
            <c:strRef>
              <c:f>Sheet1!$K$18:$K$24</c:f>
              <c:strCache>
                <c:ptCount val="1"/>
                <c:pt idx="0">
                  <c:v>Earnings Yield Book to Price Dividend Yield Size (Small Caps) Momentum ROE Debt to Equtiy</c:v>
                </c:pt>
              </c:strCache>
            </c:strRef>
          </c:tx>
          <c:invertIfNegative val="0"/>
          <c:cat>
            <c:strRef>
              <c:f>Sheet1!$G$20:$G$27</c:f>
              <c:strCache>
                <c:ptCount val="8"/>
                <c:pt idx="0">
                  <c:v>Low Volatility</c:v>
                </c:pt>
                <c:pt idx="1">
                  <c:v>Debt to Equtiy</c:v>
                </c:pt>
                <c:pt idx="2">
                  <c:v>ROE</c:v>
                </c:pt>
                <c:pt idx="3">
                  <c:v>Momentum</c:v>
                </c:pt>
                <c:pt idx="4">
                  <c:v>Size (Small Caps)</c:v>
                </c:pt>
                <c:pt idx="5">
                  <c:v>Dividend Yield</c:v>
                </c:pt>
                <c:pt idx="6">
                  <c:v>Book to Price</c:v>
                </c:pt>
                <c:pt idx="7">
                  <c:v>Earnings Yield</c:v>
                </c:pt>
              </c:strCache>
            </c:strRef>
          </c:cat>
          <c:val>
            <c:numRef>
              <c:f>Sheet1!$K$25</c:f>
              <c:numCache>
                <c:formatCode>General</c:formatCode>
                <c:ptCount val="1"/>
                <c:pt idx="0">
                  <c:v>0</c:v>
                </c:pt>
              </c:numCache>
            </c:numRef>
          </c:val>
        </c:ser>
        <c:ser>
          <c:idx val="2"/>
          <c:order val="2"/>
          <c:tx>
            <c:strRef>
              <c:f>Sheet1!$K$18:$K$24</c:f>
              <c:strCache>
                <c:ptCount val="1"/>
                <c:pt idx="0">
                  <c:v>Earnings Yield Book to Price Dividend Yield Size (Small Caps) Momentum ROE Debt to Equtiy</c:v>
                </c:pt>
              </c:strCache>
            </c:strRef>
          </c:tx>
          <c:invertIfNegative val="0"/>
          <c:cat>
            <c:strRef>
              <c:f>Sheet1!$G$20:$G$27</c:f>
              <c:strCache>
                <c:ptCount val="8"/>
                <c:pt idx="0">
                  <c:v>Low Volatility</c:v>
                </c:pt>
                <c:pt idx="1">
                  <c:v>Debt to Equtiy</c:v>
                </c:pt>
                <c:pt idx="2">
                  <c:v>ROE</c:v>
                </c:pt>
                <c:pt idx="3">
                  <c:v>Momentum</c:v>
                </c:pt>
                <c:pt idx="4">
                  <c:v>Size (Small Caps)</c:v>
                </c:pt>
                <c:pt idx="5">
                  <c:v>Dividend Yield</c:v>
                </c:pt>
                <c:pt idx="6">
                  <c:v>Book to Price</c:v>
                </c:pt>
                <c:pt idx="7">
                  <c:v>Earnings Yield</c:v>
                </c:pt>
              </c:strCache>
            </c:strRef>
          </c:cat>
          <c:val>
            <c:numRef>
              <c:f>Sheet1!$K$25</c:f>
              <c:numCache>
                <c:formatCode>General</c:formatCode>
                <c:ptCount val="1"/>
                <c:pt idx="0">
                  <c:v>0</c:v>
                </c:pt>
              </c:numCache>
            </c:numRef>
          </c:val>
        </c:ser>
        <c:dLbls>
          <c:showLegendKey val="0"/>
          <c:showVal val="0"/>
          <c:showCatName val="0"/>
          <c:showSerName val="0"/>
          <c:showPercent val="0"/>
          <c:showBubbleSize val="0"/>
        </c:dLbls>
        <c:gapWidth val="150"/>
        <c:axId val="130095744"/>
        <c:axId val="131551616"/>
      </c:barChart>
      <c:catAx>
        <c:axId val="130095744"/>
        <c:scaling>
          <c:orientation val="minMax"/>
        </c:scaling>
        <c:delete val="1"/>
        <c:axPos val="l"/>
        <c:majorTickMark val="out"/>
        <c:minorTickMark val="none"/>
        <c:tickLblPos val="nextTo"/>
        <c:crossAx val="131551616"/>
        <c:crosses val="autoZero"/>
        <c:auto val="1"/>
        <c:lblAlgn val="ctr"/>
        <c:lblOffset val="100"/>
        <c:noMultiLvlLbl val="0"/>
      </c:catAx>
      <c:valAx>
        <c:axId val="131551616"/>
        <c:scaling>
          <c:orientation val="minMax"/>
        </c:scaling>
        <c:delete val="0"/>
        <c:axPos val="b"/>
        <c:majorGridlines/>
        <c:numFmt formatCode="0%" sourceLinked="1"/>
        <c:majorTickMark val="out"/>
        <c:minorTickMark val="none"/>
        <c:tickLblPos val="nextTo"/>
        <c:crossAx val="130095744"/>
        <c:crosses val="autoZero"/>
        <c:crossBetween val="between"/>
      </c:valAx>
    </c:plotArea>
    <c:plotVisOnly val="1"/>
    <c:dispBlanksAs val="gap"/>
    <c:showDLblsOverMax val="0"/>
  </c:chart>
  <c:externalData r:id="rId1">
    <c:autoUpdate val="0"/>
  </c:externalData>
  <c:userShapes r:id="rId2"/>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fixed TE chart'!$I$19</c:f>
              <c:strCache>
                <c:ptCount val="1"/>
                <c:pt idx="0">
                  <c:v>30 bps TE Target</c:v>
                </c:pt>
              </c:strCache>
            </c:strRef>
          </c:tx>
          <c:cat>
            <c:numRef>
              <c:f>'fixed TE chart'!$C$22:$C$34</c:f>
              <c:numCache>
                <c:formatCode>m/d/yyyy</c:formatCode>
                <c:ptCount val="13"/>
                <c:pt idx="0">
                  <c:v>41351</c:v>
                </c:pt>
                <c:pt idx="1">
                  <c:v>41540</c:v>
                </c:pt>
                <c:pt idx="2">
                  <c:v>41722</c:v>
                </c:pt>
                <c:pt idx="3">
                  <c:v>41904</c:v>
                </c:pt>
                <c:pt idx="4">
                  <c:v>42086</c:v>
                </c:pt>
                <c:pt idx="5">
                  <c:v>42268</c:v>
                </c:pt>
                <c:pt idx="6">
                  <c:v>42450</c:v>
                </c:pt>
                <c:pt idx="7">
                  <c:v>42632</c:v>
                </c:pt>
                <c:pt idx="8">
                  <c:v>42814</c:v>
                </c:pt>
                <c:pt idx="9">
                  <c:v>42996</c:v>
                </c:pt>
                <c:pt idx="10">
                  <c:v>43178</c:v>
                </c:pt>
                <c:pt idx="11">
                  <c:v>43367</c:v>
                </c:pt>
                <c:pt idx="12">
                  <c:v>43542</c:v>
                </c:pt>
              </c:numCache>
            </c:numRef>
          </c:cat>
          <c:val>
            <c:numRef>
              <c:f>'fixed TE chart'!$I$22:$I$34</c:f>
              <c:numCache>
                <c:formatCode>0%</c:formatCode>
                <c:ptCount val="13"/>
                <c:pt idx="0">
                  <c:v>0.58668126993835057</c:v>
                </c:pt>
                <c:pt idx="1">
                  <c:v>0.58906557145785798</c:v>
                </c:pt>
                <c:pt idx="2">
                  <c:v>0.58361038363924966</c:v>
                </c:pt>
                <c:pt idx="3">
                  <c:v>0.58200891220469597</c:v>
                </c:pt>
                <c:pt idx="4">
                  <c:v>0.59297273398334482</c:v>
                </c:pt>
                <c:pt idx="5">
                  <c:v>0.55958070354254763</c:v>
                </c:pt>
                <c:pt idx="6">
                  <c:v>0.49334215741507292</c:v>
                </c:pt>
                <c:pt idx="7">
                  <c:v>0.54210782844848249</c:v>
                </c:pt>
                <c:pt idx="8">
                  <c:v>0.54271572629441556</c:v>
                </c:pt>
                <c:pt idx="9">
                  <c:v>0.5604651258885498</c:v>
                </c:pt>
                <c:pt idx="10">
                  <c:v>0.58337449204445391</c:v>
                </c:pt>
                <c:pt idx="11">
                  <c:v>0.57563227150697216</c:v>
                </c:pt>
                <c:pt idx="12">
                  <c:v>0.47978360390088759</c:v>
                </c:pt>
              </c:numCache>
            </c:numRef>
          </c:val>
          <c:smooth val="0"/>
        </c:ser>
        <c:ser>
          <c:idx val="1"/>
          <c:order val="1"/>
          <c:tx>
            <c:strRef>
              <c:f>'fixed TE chart'!$N$19</c:f>
              <c:strCache>
                <c:ptCount val="1"/>
                <c:pt idx="0">
                  <c:v>50 bps TE Target</c:v>
                </c:pt>
              </c:strCache>
            </c:strRef>
          </c:tx>
          <c:cat>
            <c:numRef>
              <c:f>'fixed TE chart'!$C$22:$C$34</c:f>
              <c:numCache>
                <c:formatCode>m/d/yyyy</c:formatCode>
                <c:ptCount val="13"/>
                <c:pt idx="0">
                  <c:v>41351</c:v>
                </c:pt>
                <c:pt idx="1">
                  <c:v>41540</c:v>
                </c:pt>
                <c:pt idx="2">
                  <c:v>41722</c:v>
                </c:pt>
                <c:pt idx="3">
                  <c:v>41904</c:v>
                </c:pt>
                <c:pt idx="4">
                  <c:v>42086</c:v>
                </c:pt>
                <c:pt idx="5">
                  <c:v>42268</c:v>
                </c:pt>
                <c:pt idx="6">
                  <c:v>42450</c:v>
                </c:pt>
                <c:pt idx="7">
                  <c:v>42632</c:v>
                </c:pt>
                <c:pt idx="8">
                  <c:v>42814</c:v>
                </c:pt>
                <c:pt idx="9">
                  <c:v>42996</c:v>
                </c:pt>
                <c:pt idx="10">
                  <c:v>43178</c:v>
                </c:pt>
                <c:pt idx="11">
                  <c:v>43367</c:v>
                </c:pt>
                <c:pt idx="12">
                  <c:v>43542</c:v>
                </c:pt>
              </c:numCache>
            </c:numRef>
          </c:cat>
          <c:val>
            <c:numRef>
              <c:f>'fixed TE chart'!$N$22:$N$34</c:f>
              <c:numCache>
                <c:formatCode>0%</c:formatCode>
                <c:ptCount val="13"/>
                <c:pt idx="0">
                  <c:v>0.74828481302708738</c:v>
                </c:pt>
                <c:pt idx="1">
                  <c:v>0.75524515461429587</c:v>
                </c:pt>
                <c:pt idx="2">
                  <c:v>0.7464247860698886</c:v>
                </c:pt>
                <c:pt idx="3">
                  <c:v>0.74653949374561812</c:v>
                </c:pt>
                <c:pt idx="4">
                  <c:v>0.76008884805770927</c:v>
                </c:pt>
                <c:pt idx="5">
                  <c:v>0.73767967973030757</c:v>
                </c:pt>
                <c:pt idx="6">
                  <c:v>0.70373717519982315</c:v>
                </c:pt>
                <c:pt idx="7">
                  <c:v>0.73780106179393901</c:v>
                </c:pt>
                <c:pt idx="8">
                  <c:v>0.74115952120446149</c:v>
                </c:pt>
                <c:pt idx="9">
                  <c:v>0.75056423996383981</c:v>
                </c:pt>
                <c:pt idx="10">
                  <c:v>0.74762154328674857</c:v>
                </c:pt>
                <c:pt idx="11">
                  <c:v>0.77307454100806539</c:v>
                </c:pt>
                <c:pt idx="12">
                  <c:v>0.73731516218652571</c:v>
                </c:pt>
              </c:numCache>
            </c:numRef>
          </c:val>
          <c:smooth val="0"/>
        </c:ser>
        <c:dLbls>
          <c:showLegendKey val="0"/>
          <c:showVal val="0"/>
          <c:showCatName val="0"/>
          <c:showSerName val="0"/>
          <c:showPercent val="0"/>
          <c:showBubbleSize val="0"/>
        </c:dLbls>
        <c:marker val="1"/>
        <c:smooth val="0"/>
        <c:axId val="133527424"/>
        <c:axId val="133528960"/>
      </c:lineChart>
      <c:dateAx>
        <c:axId val="133527424"/>
        <c:scaling>
          <c:orientation val="minMax"/>
        </c:scaling>
        <c:delete val="0"/>
        <c:axPos val="b"/>
        <c:majorGridlines/>
        <c:numFmt formatCode="mmm\-yy" sourceLinked="0"/>
        <c:majorTickMark val="out"/>
        <c:minorTickMark val="none"/>
        <c:tickLblPos val="nextTo"/>
        <c:crossAx val="133528960"/>
        <c:crosses val="autoZero"/>
        <c:auto val="1"/>
        <c:lblOffset val="100"/>
        <c:baseTimeUnit val="months"/>
        <c:majorUnit val="6"/>
        <c:majorTimeUnit val="months"/>
      </c:dateAx>
      <c:valAx>
        <c:axId val="133528960"/>
        <c:scaling>
          <c:orientation val="minMax"/>
          <c:min val="0.4"/>
        </c:scaling>
        <c:delete val="0"/>
        <c:axPos val="l"/>
        <c:majorGridlines/>
        <c:title>
          <c:tx>
            <c:rich>
              <a:bodyPr rot="-5400000" vert="horz"/>
              <a:lstStyle/>
              <a:p>
                <a:pPr>
                  <a:defRPr sz="1000"/>
                </a:pPr>
                <a:r>
                  <a:rPr lang="en-GB" sz="1000" b="1" i="0" baseline="0">
                    <a:effectLst/>
                  </a:rPr>
                  <a:t>Reduction in Emission Intensity</a:t>
                </a:r>
                <a:endParaRPr lang="en-GB" sz="1000">
                  <a:effectLst/>
                </a:endParaRPr>
              </a:p>
            </c:rich>
          </c:tx>
          <c:overlay val="0"/>
        </c:title>
        <c:numFmt formatCode="0%" sourceLinked="1"/>
        <c:majorTickMark val="out"/>
        <c:minorTickMark val="none"/>
        <c:tickLblPos val="nextTo"/>
        <c:crossAx val="133527424"/>
        <c:crosses val="autoZero"/>
        <c:crossBetween val="between"/>
      </c:valAx>
    </c:plotArea>
    <c:legend>
      <c:legendPos val="b"/>
      <c:overlay val="0"/>
    </c:legend>
    <c:plotVisOnly val="1"/>
    <c:dispBlanksAs val="gap"/>
    <c:showDLblsOverMax val="0"/>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2"/>
          <c:order val="0"/>
          <c:tx>
            <c:strRef>
              <c:f>'AWALLE target'!$C$8</c:f>
              <c:strCache>
                <c:ptCount val="1"/>
                <c:pt idx="0">
                  <c:v>FTSE Emerging 50% target CO2</c:v>
                </c:pt>
              </c:strCache>
            </c:strRef>
          </c:tx>
          <c:spPr>
            <a:ln>
              <a:solidFill>
                <a:schemeClr val="accent1">
                  <a:shade val="50000"/>
                </a:schemeClr>
              </a:solidFill>
            </a:ln>
          </c:spPr>
          <c:marker>
            <c:symbol val="none"/>
          </c:marker>
          <c:cat>
            <c:numRef>
              <c:f>'AWALLE target'!$A$261:$A$1990</c:f>
              <c:numCache>
                <c:formatCode>yyyy\-mm\-dd;@</c:formatCode>
                <c:ptCount val="1730"/>
                <c:pt idx="0">
                  <c:v>41156</c:v>
                </c:pt>
                <c:pt idx="1">
                  <c:v>41157</c:v>
                </c:pt>
                <c:pt idx="2">
                  <c:v>41158</c:v>
                </c:pt>
                <c:pt idx="3">
                  <c:v>41159</c:v>
                </c:pt>
                <c:pt idx="4">
                  <c:v>41162</c:v>
                </c:pt>
                <c:pt idx="5">
                  <c:v>41163</c:v>
                </c:pt>
                <c:pt idx="6">
                  <c:v>41164</c:v>
                </c:pt>
                <c:pt idx="7">
                  <c:v>41165</c:v>
                </c:pt>
                <c:pt idx="8">
                  <c:v>41166</c:v>
                </c:pt>
                <c:pt idx="9">
                  <c:v>41169</c:v>
                </c:pt>
                <c:pt idx="10">
                  <c:v>41170</c:v>
                </c:pt>
                <c:pt idx="11">
                  <c:v>41171</c:v>
                </c:pt>
                <c:pt idx="12">
                  <c:v>41172</c:v>
                </c:pt>
                <c:pt idx="13">
                  <c:v>41173</c:v>
                </c:pt>
                <c:pt idx="14">
                  <c:v>41176</c:v>
                </c:pt>
                <c:pt idx="15">
                  <c:v>41177</c:v>
                </c:pt>
                <c:pt idx="16">
                  <c:v>41178</c:v>
                </c:pt>
                <c:pt idx="17">
                  <c:v>41179</c:v>
                </c:pt>
                <c:pt idx="18">
                  <c:v>41180</c:v>
                </c:pt>
                <c:pt idx="19">
                  <c:v>41183</c:v>
                </c:pt>
                <c:pt idx="20">
                  <c:v>41184</c:v>
                </c:pt>
                <c:pt idx="21">
                  <c:v>41185</c:v>
                </c:pt>
                <c:pt idx="22">
                  <c:v>41186</c:v>
                </c:pt>
                <c:pt idx="23">
                  <c:v>41187</c:v>
                </c:pt>
                <c:pt idx="24">
                  <c:v>41190</c:v>
                </c:pt>
                <c:pt idx="25">
                  <c:v>41191</c:v>
                </c:pt>
                <c:pt idx="26">
                  <c:v>41192</c:v>
                </c:pt>
                <c:pt idx="27">
                  <c:v>41193</c:v>
                </c:pt>
                <c:pt idx="28">
                  <c:v>41194</c:v>
                </c:pt>
                <c:pt idx="29">
                  <c:v>41197</c:v>
                </c:pt>
                <c:pt idx="30">
                  <c:v>41198</c:v>
                </c:pt>
                <c:pt idx="31">
                  <c:v>41199</c:v>
                </c:pt>
                <c:pt idx="32">
                  <c:v>41200</c:v>
                </c:pt>
                <c:pt idx="33">
                  <c:v>41201</c:v>
                </c:pt>
                <c:pt idx="34">
                  <c:v>41204</c:v>
                </c:pt>
                <c:pt idx="35">
                  <c:v>41205</c:v>
                </c:pt>
                <c:pt idx="36">
                  <c:v>41206</c:v>
                </c:pt>
                <c:pt idx="37">
                  <c:v>41207</c:v>
                </c:pt>
                <c:pt idx="38">
                  <c:v>41208</c:v>
                </c:pt>
                <c:pt idx="39">
                  <c:v>41211</c:v>
                </c:pt>
                <c:pt idx="40">
                  <c:v>41212</c:v>
                </c:pt>
                <c:pt idx="41">
                  <c:v>41213</c:v>
                </c:pt>
                <c:pt idx="42">
                  <c:v>41214</c:v>
                </c:pt>
                <c:pt idx="43">
                  <c:v>41215</c:v>
                </c:pt>
                <c:pt idx="44">
                  <c:v>41218</c:v>
                </c:pt>
                <c:pt idx="45">
                  <c:v>41219</c:v>
                </c:pt>
                <c:pt idx="46">
                  <c:v>41220</c:v>
                </c:pt>
                <c:pt idx="47">
                  <c:v>41221</c:v>
                </c:pt>
                <c:pt idx="48">
                  <c:v>41222</c:v>
                </c:pt>
                <c:pt idx="49">
                  <c:v>41225</c:v>
                </c:pt>
                <c:pt idx="50">
                  <c:v>41226</c:v>
                </c:pt>
                <c:pt idx="51">
                  <c:v>41227</c:v>
                </c:pt>
                <c:pt idx="52">
                  <c:v>41228</c:v>
                </c:pt>
                <c:pt idx="53">
                  <c:v>41229</c:v>
                </c:pt>
                <c:pt idx="54">
                  <c:v>41232</c:v>
                </c:pt>
                <c:pt idx="55">
                  <c:v>41233</c:v>
                </c:pt>
                <c:pt idx="56">
                  <c:v>41234</c:v>
                </c:pt>
                <c:pt idx="57">
                  <c:v>41235</c:v>
                </c:pt>
                <c:pt idx="58">
                  <c:v>41236</c:v>
                </c:pt>
                <c:pt idx="59">
                  <c:v>41239</c:v>
                </c:pt>
                <c:pt idx="60">
                  <c:v>41240</c:v>
                </c:pt>
                <c:pt idx="61">
                  <c:v>41241</c:v>
                </c:pt>
                <c:pt idx="62">
                  <c:v>41242</c:v>
                </c:pt>
                <c:pt idx="63">
                  <c:v>41243</c:v>
                </c:pt>
                <c:pt idx="64">
                  <c:v>41246</c:v>
                </c:pt>
                <c:pt idx="65">
                  <c:v>41247</c:v>
                </c:pt>
                <c:pt idx="66">
                  <c:v>41248</c:v>
                </c:pt>
                <c:pt idx="67">
                  <c:v>41249</c:v>
                </c:pt>
                <c:pt idx="68">
                  <c:v>41250</c:v>
                </c:pt>
                <c:pt idx="69">
                  <c:v>41253</c:v>
                </c:pt>
                <c:pt idx="70">
                  <c:v>41254</c:v>
                </c:pt>
                <c:pt idx="71">
                  <c:v>41255</c:v>
                </c:pt>
                <c:pt idx="72">
                  <c:v>41256</c:v>
                </c:pt>
                <c:pt idx="73">
                  <c:v>41257</c:v>
                </c:pt>
                <c:pt idx="74">
                  <c:v>41260</c:v>
                </c:pt>
                <c:pt idx="75">
                  <c:v>41261</c:v>
                </c:pt>
                <c:pt idx="76">
                  <c:v>41262</c:v>
                </c:pt>
                <c:pt idx="77">
                  <c:v>41263</c:v>
                </c:pt>
                <c:pt idx="78">
                  <c:v>41264</c:v>
                </c:pt>
                <c:pt idx="79">
                  <c:v>41267</c:v>
                </c:pt>
                <c:pt idx="80">
                  <c:v>41268</c:v>
                </c:pt>
                <c:pt idx="81">
                  <c:v>41269</c:v>
                </c:pt>
                <c:pt idx="82">
                  <c:v>41270</c:v>
                </c:pt>
                <c:pt idx="83">
                  <c:v>41271</c:v>
                </c:pt>
                <c:pt idx="84">
                  <c:v>41274</c:v>
                </c:pt>
                <c:pt idx="85">
                  <c:v>41276</c:v>
                </c:pt>
                <c:pt idx="86">
                  <c:v>41277</c:v>
                </c:pt>
                <c:pt idx="87">
                  <c:v>41278</c:v>
                </c:pt>
                <c:pt idx="88">
                  <c:v>41281</c:v>
                </c:pt>
                <c:pt idx="89">
                  <c:v>41282</c:v>
                </c:pt>
                <c:pt idx="90">
                  <c:v>41283</c:v>
                </c:pt>
                <c:pt idx="91">
                  <c:v>41284</c:v>
                </c:pt>
                <c:pt idx="92">
                  <c:v>41285</c:v>
                </c:pt>
                <c:pt idx="93">
                  <c:v>41288</c:v>
                </c:pt>
                <c:pt idx="94">
                  <c:v>41289</c:v>
                </c:pt>
                <c:pt idx="95">
                  <c:v>41290</c:v>
                </c:pt>
                <c:pt idx="96">
                  <c:v>41291</c:v>
                </c:pt>
                <c:pt idx="97">
                  <c:v>41292</c:v>
                </c:pt>
                <c:pt idx="98">
                  <c:v>41295</c:v>
                </c:pt>
                <c:pt idx="99">
                  <c:v>41296</c:v>
                </c:pt>
                <c:pt idx="100">
                  <c:v>41297</c:v>
                </c:pt>
                <c:pt idx="101">
                  <c:v>41298</c:v>
                </c:pt>
                <c:pt idx="102">
                  <c:v>41299</c:v>
                </c:pt>
                <c:pt idx="103">
                  <c:v>41302</c:v>
                </c:pt>
                <c:pt idx="104">
                  <c:v>41303</c:v>
                </c:pt>
                <c:pt idx="105">
                  <c:v>41304</c:v>
                </c:pt>
                <c:pt idx="106">
                  <c:v>41305</c:v>
                </c:pt>
                <c:pt idx="107">
                  <c:v>41306</c:v>
                </c:pt>
                <c:pt idx="108">
                  <c:v>41309</c:v>
                </c:pt>
                <c:pt idx="109">
                  <c:v>41310</c:v>
                </c:pt>
                <c:pt idx="110">
                  <c:v>41311</c:v>
                </c:pt>
                <c:pt idx="111">
                  <c:v>41312</c:v>
                </c:pt>
                <c:pt idx="112">
                  <c:v>41313</c:v>
                </c:pt>
                <c:pt idx="113">
                  <c:v>41316</c:v>
                </c:pt>
                <c:pt idx="114">
                  <c:v>41317</c:v>
                </c:pt>
                <c:pt idx="115">
                  <c:v>41318</c:v>
                </c:pt>
                <c:pt idx="116">
                  <c:v>41319</c:v>
                </c:pt>
                <c:pt idx="117">
                  <c:v>41320</c:v>
                </c:pt>
                <c:pt idx="118">
                  <c:v>41323</c:v>
                </c:pt>
                <c:pt idx="119">
                  <c:v>41324</c:v>
                </c:pt>
                <c:pt idx="120">
                  <c:v>41325</c:v>
                </c:pt>
                <c:pt idx="121">
                  <c:v>41326</c:v>
                </c:pt>
                <c:pt idx="122">
                  <c:v>41327</c:v>
                </c:pt>
                <c:pt idx="123">
                  <c:v>41330</c:v>
                </c:pt>
                <c:pt idx="124">
                  <c:v>41331</c:v>
                </c:pt>
                <c:pt idx="125">
                  <c:v>41332</c:v>
                </c:pt>
                <c:pt idx="126">
                  <c:v>41333</c:v>
                </c:pt>
                <c:pt idx="127">
                  <c:v>41334</c:v>
                </c:pt>
                <c:pt idx="128">
                  <c:v>41337</c:v>
                </c:pt>
                <c:pt idx="129">
                  <c:v>41338</c:v>
                </c:pt>
                <c:pt idx="130">
                  <c:v>41339</c:v>
                </c:pt>
                <c:pt idx="131">
                  <c:v>41340</c:v>
                </c:pt>
                <c:pt idx="132">
                  <c:v>41341</c:v>
                </c:pt>
                <c:pt idx="133">
                  <c:v>41344</c:v>
                </c:pt>
                <c:pt idx="134">
                  <c:v>41345</c:v>
                </c:pt>
                <c:pt idx="135">
                  <c:v>41346</c:v>
                </c:pt>
                <c:pt idx="136">
                  <c:v>41347</c:v>
                </c:pt>
                <c:pt idx="137">
                  <c:v>41348</c:v>
                </c:pt>
                <c:pt idx="138">
                  <c:v>41351</c:v>
                </c:pt>
                <c:pt idx="139">
                  <c:v>41352</c:v>
                </c:pt>
                <c:pt idx="140">
                  <c:v>41353</c:v>
                </c:pt>
                <c:pt idx="141">
                  <c:v>41354</c:v>
                </c:pt>
                <c:pt idx="142">
                  <c:v>41355</c:v>
                </c:pt>
                <c:pt idx="143">
                  <c:v>41358</c:v>
                </c:pt>
                <c:pt idx="144">
                  <c:v>41359</c:v>
                </c:pt>
                <c:pt idx="145">
                  <c:v>41360</c:v>
                </c:pt>
                <c:pt idx="146">
                  <c:v>41361</c:v>
                </c:pt>
                <c:pt idx="147">
                  <c:v>41362</c:v>
                </c:pt>
                <c:pt idx="148">
                  <c:v>41365</c:v>
                </c:pt>
                <c:pt idx="149">
                  <c:v>41366</c:v>
                </c:pt>
                <c:pt idx="150">
                  <c:v>41367</c:v>
                </c:pt>
                <c:pt idx="151">
                  <c:v>41368</c:v>
                </c:pt>
                <c:pt idx="152">
                  <c:v>41369</c:v>
                </c:pt>
                <c:pt idx="153">
                  <c:v>41372</c:v>
                </c:pt>
                <c:pt idx="154">
                  <c:v>41373</c:v>
                </c:pt>
                <c:pt idx="155">
                  <c:v>41374</c:v>
                </c:pt>
                <c:pt idx="156">
                  <c:v>41375</c:v>
                </c:pt>
                <c:pt idx="157">
                  <c:v>41376</c:v>
                </c:pt>
                <c:pt idx="158">
                  <c:v>41379</c:v>
                </c:pt>
                <c:pt idx="159">
                  <c:v>41380</c:v>
                </c:pt>
                <c:pt idx="160">
                  <c:v>41381</c:v>
                </c:pt>
                <c:pt idx="161">
                  <c:v>41382</c:v>
                </c:pt>
                <c:pt idx="162">
                  <c:v>41383</c:v>
                </c:pt>
                <c:pt idx="163">
                  <c:v>41386</c:v>
                </c:pt>
                <c:pt idx="164">
                  <c:v>41387</c:v>
                </c:pt>
                <c:pt idx="165">
                  <c:v>41388</c:v>
                </c:pt>
                <c:pt idx="166">
                  <c:v>41389</c:v>
                </c:pt>
                <c:pt idx="167">
                  <c:v>41390</c:v>
                </c:pt>
                <c:pt idx="168">
                  <c:v>41393</c:v>
                </c:pt>
                <c:pt idx="169">
                  <c:v>41394</c:v>
                </c:pt>
                <c:pt idx="170">
                  <c:v>41395</c:v>
                </c:pt>
                <c:pt idx="171">
                  <c:v>41396</c:v>
                </c:pt>
                <c:pt idx="172">
                  <c:v>41397</c:v>
                </c:pt>
                <c:pt idx="173">
                  <c:v>41400</c:v>
                </c:pt>
                <c:pt idx="174">
                  <c:v>41401</c:v>
                </c:pt>
                <c:pt idx="175">
                  <c:v>41402</c:v>
                </c:pt>
                <c:pt idx="176">
                  <c:v>41403</c:v>
                </c:pt>
                <c:pt idx="177">
                  <c:v>41404</c:v>
                </c:pt>
                <c:pt idx="178">
                  <c:v>41407</c:v>
                </c:pt>
                <c:pt idx="179">
                  <c:v>41408</c:v>
                </c:pt>
                <c:pt idx="180">
                  <c:v>41409</c:v>
                </c:pt>
                <c:pt idx="181">
                  <c:v>41410</c:v>
                </c:pt>
                <c:pt idx="182">
                  <c:v>41411</c:v>
                </c:pt>
                <c:pt idx="183">
                  <c:v>41414</c:v>
                </c:pt>
                <c:pt idx="184">
                  <c:v>41415</c:v>
                </c:pt>
                <c:pt idx="185">
                  <c:v>41416</c:v>
                </c:pt>
                <c:pt idx="186">
                  <c:v>41417</c:v>
                </c:pt>
                <c:pt idx="187">
                  <c:v>41418</c:v>
                </c:pt>
                <c:pt idx="188">
                  <c:v>41421</c:v>
                </c:pt>
                <c:pt idx="189">
                  <c:v>41422</c:v>
                </c:pt>
                <c:pt idx="190">
                  <c:v>41423</c:v>
                </c:pt>
                <c:pt idx="191">
                  <c:v>41424</c:v>
                </c:pt>
                <c:pt idx="192">
                  <c:v>41425</c:v>
                </c:pt>
                <c:pt idx="193">
                  <c:v>41428</c:v>
                </c:pt>
                <c:pt idx="194">
                  <c:v>41429</c:v>
                </c:pt>
                <c:pt idx="195">
                  <c:v>41430</c:v>
                </c:pt>
                <c:pt idx="196">
                  <c:v>41431</c:v>
                </c:pt>
                <c:pt idx="197">
                  <c:v>41432</c:v>
                </c:pt>
                <c:pt idx="198">
                  <c:v>41435</c:v>
                </c:pt>
                <c:pt idx="199">
                  <c:v>41436</c:v>
                </c:pt>
                <c:pt idx="200">
                  <c:v>41437</c:v>
                </c:pt>
                <c:pt idx="201">
                  <c:v>41438</c:v>
                </c:pt>
                <c:pt idx="202">
                  <c:v>41439</c:v>
                </c:pt>
                <c:pt idx="203">
                  <c:v>41442</c:v>
                </c:pt>
                <c:pt idx="204">
                  <c:v>41443</c:v>
                </c:pt>
                <c:pt idx="205">
                  <c:v>41444</c:v>
                </c:pt>
                <c:pt idx="206">
                  <c:v>41445</c:v>
                </c:pt>
                <c:pt idx="207">
                  <c:v>41446</c:v>
                </c:pt>
                <c:pt idx="208">
                  <c:v>41449</c:v>
                </c:pt>
                <c:pt idx="209">
                  <c:v>41450</c:v>
                </c:pt>
                <c:pt idx="210">
                  <c:v>41451</c:v>
                </c:pt>
                <c:pt idx="211">
                  <c:v>41452</c:v>
                </c:pt>
                <c:pt idx="212">
                  <c:v>41453</c:v>
                </c:pt>
                <c:pt idx="213">
                  <c:v>41456</c:v>
                </c:pt>
                <c:pt idx="214">
                  <c:v>41457</c:v>
                </c:pt>
                <c:pt idx="215">
                  <c:v>41458</c:v>
                </c:pt>
                <c:pt idx="216">
                  <c:v>41459</c:v>
                </c:pt>
                <c:pt idx="217">
                  <c:v>41460</c:v>
                </c:pt>
                <c:pt idx="218">
                  <c:v>41463</c:v>
                </c:pt>
                <c:pt idx="219">
                  <c:v>41464</c:v>
                </c:pt>
                <c:pt idx="220">
                  <c:v>41465</c:v>
                </c:pt>
                <c:pt idx="221">
                  <c:v>41466</c:v>
                </c:pt>
                <c:pt idx="222">
                  <c:v>41467</c:v>
                </c:pt>
                <c:pt idx="223">
                  <c:v>41470</c:v>
                </c:pt>
                <c:pt idx="224">
                  <c:v>41471</c:v>
                </c:pt>
                <c:pt idx="225">
                  <c:v>41472</c:v>
                </c:pt>
                <c:pt idx="226">
                  <c:v>41473</c:v>
                </c:pt>
                <c:pt idx="227">
                  <c:v>41474</c:v>
                </c:pt>
                <c:pt idx="228">
                  <c:v>41477</c:v>
                </c:pt>
                <c:pt idx="229">
                  <c:v>41478</c:v>
                </c:pt>
                <c:pt idx="230">
                  <c:v>41479</c:v>
                </c:pt>
                <c:pt idx="231">
                  <c:v>41480</c:v>
                </c:pt>
                <c:pt idx="232">
                  <c:v>41481</c:v>
                </c:pt>
                <c:pt idx="233">
                  <c:v>41484</c:v>
                </c:pt>
                <c:pt idx="234">
                  <c:v>41485</c:v>
                </c:pt>
                <c:pt idx="235">
                  <c:v>41486</c:v>
                </c:pt>
                <c:pt idx="236">
                  <c:v>41487</c:v>
                </c:pt>
                <c:pt idx="237">
                  <c:v>41488</c:v>
                </c:pt>
                <c:pt idx="238">
                  <c:v>41491</c:v>
                </c:pt>
                <c:pt idx="239">
                  <c:v>41492</c:v>
                </c:pt>
                <c:pt idx="240">
                  <c:v>41493</c:v>
                </c:pt>
                <c:pt idx="241">
                  <c:v>41494</c:v>
                </c:pt>
                <c:pt idx="242">
                  <c:v>41495</c:v>
                </c:pt>
                <c:pt idx="243">
                  <c:v>41498</c:v>
                </c:pt>
                <c:pt idx="244">
                  <c:v>41499</c:v>
                </c:pt>
                <c:pt idx="245">
                  <c:v>41500</c:v>
                </c:pt>
                <c:pt idx="246">
                  <c:v>41501</c:v>
                </c:pt>
                <c:pt idx="247">
                  <c:v>41502</c:v>
                </c:pt>
                <c:pt idx="248">
                  <c:v>41505</c:v>
                </c:pt>
                <c:pt idx="249">
                  <c:v>41506</c:v>
                </c:pt>
                <c:pt idx="250">
                  <c:v>41507</c:v>
                </c:pt>
                <c:pt idx="251">
                  <c:v>41508</c:v>
                </c:pt>
                <c:pt idx="252">
                  <c:v>41509</c:v>
                </c:pt>
                <c:pt idx="253">
                  <c:v>41512</c:v>
                </c:pt>
                <c:pt idx="254">
                  <c:v>41513</c:v>
                </c:pt>
                <c:pt idx="255">
                  <c:v>41514</c:v>
                </c:pt>
                <c:pt idx="256">
                  <c:v>41515</c:v>
                </c:pt>
                <c:pt idx="257">
                  <c:v>41516</c:v>
                </c:pt>
                <c:pt idx="258">
                  <c:v>41519</c:v>
                </c:pt>
                <c:pt idx="259">
                  <c:v>41520</c:v>
                </c:pt>
                <c:pt idx="260">
                  <c:v>41521</c:v>
                </c:pt>
                <c:pt idx="261">
                  <c:v>41522</c:v>
                </c:pt>
                <c:pt idx="262">
                  <c:v>41523</c:v>
                </c:pt>
                <c:pt idx="263">
                  <c:v>41526</c:v>
                </c:pt>
                <c:pt idx="264">
                  <c:v>41527</c:v>
                </c:pt>
                <c:pt idx="265">
                  <c:v>41528</c:v>
                </c:pt>
                <c:pt idx="266">
                  <c:v>41529</c:v>
                </c:pt>
                <c:pt idx="267">
                  <c:v>41530</c:v>
                </c:pt>
                <c:pt idx="268">
                  <c:v>41533</c:v>
                </c:pt>
                <c:pt idx="269">
                  <c:v>41534</c:v>
                </c:pt>
                <c:pt idx="270">
                  <c:v>41535</c:v>
                </c:pt>
                <c:pt idx="271">
                  <c:v>41536</c:v>
                </c:pt>
                <c:pt idx="272">
                  <c:v>41537</c:v>
                </c:pt>
                <c:pt idx="273">
                  <c:v>41540</c:v>
                </c:pt>
                <c:pt idx="274">
                  <c:v>41541</c:v>
                </c:pt>
                <c:pt idx="275">
                  <c:v>41542</c:v>
                </c:pt>
                <c:pt idx="276">
                  <c:v>41543</c:v>
                </c:pt>
                <c:pt idx="277">
                  <c:v>41544</c:v>
                </c:pt>
                <c:pt idx="278">
                  <c:v>41547</c:v>
                </c:pt>
                <c:pt idx="279">
                  <c:v>41548</c:v>
                </c:pt>
                <c:pt idx="280">
                  <c:v>41549</c:v>
                </c:pt>
                <c:pt idx="281">
                  <c:v>41550</c:v>
                </c:pt>
                <c:pt idx="282">
                  <c:v>41551</c:v>
                </c:pt>
                <c:pt idx="283">
                  <c:v>41554</c:v>
                </c:pt>
                <c:pt idx="284">
                  <c:v>41555</c:v>
                </c:pt>
                <c:pt idx="285">
                  <c:v>41556</c:v>
                </c:pt>
                <c:pt idx="286">
                  <c:v>41557</c:v>
                </c:pt>
                <c:pt idx="287">
                  <c:v>41558</c:v>
                </c:pt>
                <c:pt idx="288">
                  <c:v>41561</c:v>
                </c:pt>
                <c:pt idx="289">
                  <c:v>41562</c:v>
                </c:pt>
                <c:pt idx="290">
                  <c:v>41563</c:v>
                </c:pt>
                <c:pt idx="291">
                  <c:v>41564</c:v>
                </c:pt>
                <c:pt idx="292">
                  <c:v>41565</c:v>
                </c:pt>
                <c:pt idx="293">
                  <c:v>41568</c:v>
                </c:pt>
                <c:pt idx="294">
                  <c:v>41569</c:v>
                </c:pt>
                <c:pt idx="295">
                  <c:v>41570</c:v>
                </c:pt>
                <c:pt idx="296">
                  <c:v>41571</c:v>
                </c:pt>
                <c:pt idx="297">
                  <c:v>41572</c:v>
                </c:pt>
                <c:pt idx="298">
                  <c:v>41575</c:v>
                </c:pt>
                <c:pt idx="299">
                  <c:v>41576</c:v>
                </c:pt>
                <c:pt idx="300">
                  <c:v>41577</c:v>
                </c:pt>
                <c:pt idx="301">
                  <c:v>41578</c:v>
                </c:pt>
                <c:pt idx="302">
                  <c:v>41579</c:v>
                </c:pt>
                <c:pt idx="303">
                  <c:v>41582</c:v>
                </c:pt>
                <c:pt idx="304">
                  <c:v>41583</c:v>
                </c:pt>
                <c:pt idx="305">
                  <c:v>41584</c:v>
                </c:pt>
                <c:pt idx="306">
                  <c:v>41585</c:v>
                </c:pt>
                <c:pt idx="307">
                  <c:v>41586</c:v>
                </c:pt>
                <c:pt idx="308">
                  <c:v>41589</c:v>
                </c:pt>
                <c:pt idx="309">
                  <c:v>41590</c:v>
                </c:pt>
                <c:pt idx="310">
                  <c:v>41591</c:v>
                </c:pt>
                <c:pt idx="311">
                  <c:v>41592</c:v>
                </c:pt>
                <c:pt idx="312">
                  <c:v>41593</c:v>
                </c:pt>
                <c:pt idx="313">
                  <c:v>41596</c:v>
                </c:pt>
                <c:pt idx="314">
                  <c:v>41597</c:v>
                </c:pt>
                <c:pt idx="315">
                  <c:v>41598</c:v>
                </c:pt>
                <c:pt idx="316">
                  <c:v>41599</c:v>
                </c:pt>
                <c:pt idx="317">
                  <c:v>41600</c:v>
                </c:pt>
                <c:pt idx="318">
                  <c:v>41603</c:v>
                </c:pt>
                <c:pt idx="319">
                  <c:v>41604</c:v>
                </c:pt>
                <c:pt idx="320">
                  <c:v>41605</c:v>
                </c:pt>
                <c:pt idx="321">
                  <c:v>41606</c:v>
                </c:pt>
                <c:pt idx="322">
                  <c:v>41607</c:v>
                </c:pt>
                <c:pt idx="323">
                  <c:v>41610</c:v>
                </c:pt>
                <c:pt idx="324">
                  <c:v>41611</c:v>
                </c:pt>
                <c:pt idx="325">
                  <c:v>41612</c:v>
                </c:pt>
                <c:pt idx="326">
                  <c:v>41613</c:v>
                </c:pt>
                <c:pt idx="327">
                  <c:v>41614</c:v>
                </c:pt>
                <c:pt idx="328">
                  <c:v>41617</c:v>
                </c:pt>
                <c:pt idx="329">
                  <c:v>41618</c:v>
                </c:pt>
                <c:pt idx="330">
                  <c:v>41619</c:v>
                </c:pt>
                <c:pt idx="331">
                  <c:v>41620</c:v>
                </c:pt>
                <c:pt idx="332">
                  <c:v>41621</c:v>
                </c:pt>
                <c:pt idx="333">
                  <c:v>41624</c:v>
                </c:pt>
                <c:pt idx="334">
                  <c:v>41625</c:v>
                </c:pt>
                <c:pt idx="335">
                  <c:v>41626</c:v>
                </c:pt>
                <c:pt idx="336">
                  <c:v>41627</c:v>
                </c:pt>
                <c:pt idx="337">
                  <c:v>41628</c:v>
                </c:pt>
                <c:pt idx="338">
                  <c:v>41631</c:v>
                </c:pt>
                <c:pt idx="339">
                  <c:v>41632</c:v>
                </c:pt>
                <c:pt idx="340">
                  <c:v>41633</c:v>
                </c:pt>
                <c:pt idx="341">
                  <c:v>41634</c:v>
                </c:pt>
                <c:pt idx="342">
                  <c:v>41635</c:v>
                </c:pt>
                <c:pt idx="343">
                  <c:v>41638</c:v>
                </c:pt>
                <c:pt idx="344">
                  <c:v>41639</c:v>
                </c:pt>
                <c:pt idx="345">
                  <c:v>41641</c:v>
                </c:pt>
                <c:pt idx="346">
                  <c:v>41642</c:v>
                </c:pt>
                <c:pt idx="347">
                  <c:v>41645</c:v>
                </c:pt>
                <c:pt idx="348">
                  <c:v>41646</c:v>
                </c:pt>
                <c:pt idx="349">
                  <c:v>41647</c:v>
                </c:pt>
                <c:pt idx="350">
                  <c:v>41648</c:v>
                </c:pt>
                <c:pt idx="351">
                  <c:v>41649</c:v>
                </c:pt>
                <c:pt idx="352">
                  <c:v>41652</c:v>
                </c:pt>
                <c:pt idx="353">
                  <c:v>41653</c:v>
                </c:pt>
                <c:pt idx="354">
                  <c:v>41654</c:v>
                </c:pt>
                <c:pt idx="355">
                  <c:v>41655</c:v>
                </c:pt>
                <c:pt idx="356">
                  <c:v>41656</c:v>
                </c:pt>
                <c:pt idx="357">
                  <c:v>41659</c:v>
                </c:pt>
                <c:pt idx="358">
                  <c:v>41660</c:v>
                </c:pt>
                <c:pt idx="359">
                  <c:v>41661</c:v>
                </c:pt>
                <c:pt idx="360">
                  <c:v>41662</c:v>
                </c:pt>
                <c:pt idx="361">
                  <c:v>41663</c:v>
                </c:pt>
                <c:pt idx="362">
                  <c:v>41666</c:v>
                </c:pt>
                <c:pt idx="363">
                  <c:v>41667</c:v>
                </c:pt>
                <c:pt idx="364">
                  <c:v>41668</c:v>
                </c:pt>
                <c:pt idx="365">
                  <c:v>41669</c:v>
                </c:pt>
                <c:pt idx="366">
                  <c:v>41670</c:v>
                </c:pt>
                <c:pt idx="367">
                  <c:v>41673</c:v>
                </c:pt>
                <c:pt idx="368">
                  <c:v>41674</c:v>
                </c:pt>
                <c:pt idx="369">
                  <c:v>41675</c:v>
                </c:pt>
                <c:pt idx="370">
                  <c:v>41676</c:v>
                </c:pt>
                <c:pt idx="371">
                  <c:v>41677</c:v>
                </c:pt>
                <c:pt idx="372">
                  <c:v>41680</c:v>
                </c:pt>
                <c:pt idx="373">
                  <c:v>41681</c:v>
                </c:pt>
                <c:pt idx="374">
                  <c:v>41682</c:v>
                </c:pt>
                <c:pt idx="375">
                  <c:v>41683</c:v>
                </c:pt>
                <c:pt idx="376">
                  <c:v>41684</c:v>
                </c:pt>
                <c:pt idx="377">
                  <c:v>41687</c:v>
                </c:pt>
                <c:pt idx="378">
                  <c:v>41688</c:v>
                </c:pt>
                <c:pt idx="379">
                  <c:v>41689</c:v>
                </c:pt>
                <c:pt idx="380">
                  <c:v>41690</c:v>
                </c:pt>
                <c:pt idx="381">
                  <c:v>41691</c:v>
                </c:pt>
                <c:pt idx="382">
                  <c:v>41694</c:v>
                </c:pt>
                <c:pt idx="383">
                  <c:v>41695</c:v>
                </c:pt>
                <c:pt idx="384">
                  <c:v>41696</c:v>
                </c:pt>
                <c:pt idx="385">
                  <c:v>41697</c:v>
                </c:pt>
                <c:pt idx="386">
                  <c:v>41698</c:v>
                </c:pt>
                <c:pt idx="387">
                  <c:v>41701</c:v>
                </c:pt>
                <c:pt idx="388">
                  <c:v>41702</c:v>
                </c:pt>
                <c:pt idx="389">
                  <c:v>41703</c:v>
                </c:pt>
                <c:pt idx="390">
                  <c:v>41704</c:v>
                </c:pt>
                <c:pt idx="391">
                  <c:v>41705</c:v>
                </c:pt>
                <c:pt idx="392">
                  <c:v>41708</c:v>
                </c:pt>
                <c:pt idx="393">
                  <c:v>41709</c:v>
                </c:pt>
                <c:pt idx="394">
                  <c:v>41710</c:v>
                </c:pt>
                <c:pt idx="395">
                  <c:v>41711</c:v>
                </c:pt>
                <c:pt idx="396">
                  <c:v>41712</c:v>
                </c:pt>
                <c:pt idx="397">
                  <c:v>41715</c:v>
                </c:pt>
                <c:pt idx="398">
                  <c:v>41716</c:v>
                </c:pt>
                <c:pt idx="399">
                  <c:v>41717</c:v>
                </c:pt>
                <c:pt idx="400">
                  <c:v>41718</c:v>
                </c:pt>
                <c:pt idx="401">
                  <c:v>41719</c:v>
                </c:pt>
                <c:pt idx="402">
                  <c:v>41722</c:v>
                </c:pt>
                <c:pt idx="403">
                  <c:v>41723</c:v>
                </c:pt>
                <c:pt idx="404">
                  <c:v>41724</c:v>
                </c:pt>
                <c:pt idx="405">
                  <c:v>41725</c:v>
                </c:pt>
                <c:pt idx="406">
                  <c:v>41726</c:v>
                </c:pt>
                <c:pt idx="407">
                  <c:v>41729</c:v>
                </c:pt>
                <c:pt idx="408">
                  <c:v>41730</c:v>
                </c:pt>
                <c:pt idx="409">
                  <c:v>41731</c:v>
                </c:pt>
                <c:pt idx="410">
                  <c:v>41732</c:v>
                </c:pt>
                <c:pt idx="411">
                  <c:v>41733</c:v>
                </c:pt>
                <c:pt idx="412">
                  <c:v>41736</c:v>
                </c:pt>
                <c:pt idx="413">
                  <c:v>41737</c:v>
                </c:pt>
                <c:pt idx="414">
                  <c:v>41738</c:v>
                </c:pt>
                <c:pt idx="415">
                  <c:v>41739</c:v>
                </c:pt>
                <c:pt idx="416">
                  <c:v>41740</c:v>
                </c:pt>
                <c:pt idx="417">
                  <c:v>41743</c:v>
                </c:pt>
                <c:pt idx="418">
                  <c:v>41744</c:v>
                </c:pt>
                <c:pt idx="419">
                  <c:v>41745</c:v>
                </c:pt>
                <c:pt idx="420">
                  <c:v>41746</c:v>
                </c:pt>
                <c:pt idx="421">
                  <c:v>41747</c:v>
                </c:pt>
                <c:pt idx="422">
                  <c:v>41750</c:v>
                </c:pt>
                <c:pt idx="423">
                  <c:v>41751</c:v>
                </c:pt>
                <c:pt idx="424">
                  <c:v>41752</c:v>
                </c:pt>
                <c:pt idx="425">
                  <c:v>41753</c:v>
                </c:pt>
                <c:pt idx="426">
                  <c:v>41754</c:v>
                </c:pt>
                <c:pt idx="427">
                  <c:v>41757</c:v>
                </c:pt>
                <c:pt idx="428">
                  <c:v>41758</c:v>
                </c:pt>
                <c:pt idx="429">
                  <c:v>41759</c:v>
                </c:pt>
                <c:pt idx="430">
                  <c:v>41760</c:v>
                </c:pt>
                <c:pt idx="431">
                  <c:v>41761</c:v>
                </c:pt>
                <c:pt idx="432">
                  <c:v>41764</c:v>
                </c:pt>
                <c:pt idx="433">
                  <c:v>41765</c:v>
                </c:pt>
                <c:pt idx="434">
                  <c:v>41766</c:v>
                </c:pt>
                <c:pt idx="435">
                  <c:v>41767</c:v>
                </c:pt>
                <c:pt idx="436">
                  <c:v>41768</c:v>
                </c:pt>
                <c:pt idx="437">
                  <c:v>41771</c:v>
                </c:pt>
                <c:pt idx="438">
                  <c:v>41772</c:v>
                </c:pt>
                <c:pt idx="439">
                  <c:v>41773</c:v>
                </c:pt>
                <c:pt idx="440">
                  <c:v>41774</c:v>
                </c:pt>
                <c:pt idx="441">
                  <c:v>41775</c:v>
                </c:pt>
                <c:pt idx="442">
                  <c:v>41778</c:v>
                </c:pt>
                <c:pt idx="443">
                  <c:v>41779</c:v>
                </c:pt>
                <c:pt idx="444">
                  <c:v>41780</c:v>
                </c:pt>
                <c:pt idx="445">
                  <c:v>41781</c:v>
                </c:pt>
                <c:pt idx="446">
                  <c:v>41782</c:v>
                </c:pt>
                <c:pt idx="447">
                  <c:v>41785</c:v>
                </c:pt>
                <c:pt idx="448">
                  <c:v>41786</c:v>
                </c:pt>
                <c:pt idx="449">
                  <c:v>41787</c:v>
                </c:pt>
                <c:pt idx="450">
                  <c:v>41788</c:v>
                </c:pt>
                <c:pt idx="451">
                  <c:v>41789</c:v>
                </c:pt>
                <c:pt idx="452">
                  <c:v>41792</c:v>
                </c:pt>
                <c:pt idx="453">
                  <c:v>41793</c:v>
                </c:pt>
                <c:pt idx="454">
                  <c:v>41794</c:v>
                </c:pt>
                <c:pt idx="455">
                  <c:v>41795</c:v>
                </c:pt>
                <c:pt idx="456">
                  <c:v>41796</c:v>
                </c:pt>
                <c:pt idx="457">
                  <c:v>41799</c:v>
                </c:pt>
                <c:pt idx="458">
                  <c:v>41800</c:v>
                </c:pt>
                <c:pt idx="459">
                  <c:v>41801</c:v>
                </c:pt>
                <c:pt idx="460">
                  <c:v>41802</c:v>
                </c:pt>
                <c:pt idx="461">
                  <c:v>41803</c:v>
                </c:pt>
                <c:pt idx="462">
                  <c:v>41806</c:v>
                </c:pt>
                <c:pt idx="463">
                  <c:v>41807</c:v>
                </c:pt>
                <c:pt idx="464">
                  <c:v>41808</c:v>
                </c:pt>
                <c:pt idx="465">
                  <c:v>41809</c:v>
                </c:pt>
                <c:pt idx="466">
                  <c:v>41810</c:v>
                </c:pt>
                <c:pt idx="467">
                  <c:v>41813</c:v>
                </c:pt>
                <c:pt idx="468">
                  <c:v>41814</c:v>
                </c:pt>
                <c:pt idx="469">
                  <c:v>41815</c:v>
                </c:pt>
                <c:pt idx="470">
                  <c:v>41816</c:v>
                </c:pt>
                <c:pt idx="471">
                  <c:v>41817</c:v>
                </c:pt>
                <c:pt idx="472">
                  <c:v>41820</c:v>
                </c:pt>
                <c:pt idx="473">
                  <c:v>41821</c:v>
                </c:pt>
                <c:pt idx="474">
                  <c:v>41822</c:v>
                </c:pt>
                <c:pt idx="475">
                  <c:v>41823</c:v>
                </c:pt>
                <c:pt idx="476">
                  <c:v>41824</c:v>
                </c:pt>
                <c:pt idx="477">
                  <c:v>41827</c:v>
                </c:pt>
                <c:pt idx="478">
                  <c:v>41828</c:v>
                </c:pt>
                <c:pt idx="479">
                  <c:v>41829</c:v>
                </c:pt>
                <c:pt idx="480">
                  <c:v>41830</c:v>
                </c:pt>
                <c:pt idx="481">
                  <c:v>41831</c:v>
                </c:pt>
                <c:pt idx="482">
                  <c:v>41834</c:v>
                </c:pt>
                <c:pt idx="483">
                  <c:v>41835</c:v>
                </c:pt>
                <c:pt idx="484">
                  <c:v>41836</c:v>
                </c:pt>
                <c:pt idx="485">
                  <c:v>41837</c:v>
                </c:pt>
                <c:pt idx="486">
                  <c:v>41838</c:v>
                </c:pt>
                <c:pt idx="487">
                  <c:v>41841</c:v>
                </c:pt>
                <c:pt idx="488">
                  <c:v>41842</c:v>
                </c:pt>
                <c:pt idx="489">
                  <c:v>41843</c:v>
                </c:pt>
                <c:pt idx="490">
                  <c:v>41844</c:v>
                </c:pt>
                <c:pt idx="491">
                  <c:v>41845</c:v>
                </c:pt>
                <c:pt idx="492">
                  <c:v>41848</c:v>
                </c:pt>
                <c:pt idx="493">
                  <c:v>41849</c:v>
                </c:pt>
                <c:pt idx="494">
                  <c:v>41850</c:v>
                </c:pt>
                <c:pt idx="495">
                  <c:v>41851</c:v>
                </c:pt>
                <c:pt idx="496">
                  <c:v>41852</c:v>
                </c:pt>
                <c:pt idx="497">
                  <c:v>41855</c:v>
                </c:pt>
                <c:pt idx="498">
                  <c:v>41856</c:v>
                </c:pt>
                <c:pt idx="499">
                  <c:v>41857</c:v>
                </c:pt>
                <c:pt idx="500">
                  <c:v>41858</c:v>
                </c:pt>
                <c:pt idx="501">
                  <c:v>41859</c:v>
                </c:pt>
                <c:pt idx="502">
                  <c:v>41862</c:v>
                </c:pt>
                <c:pt idx="503">
                  <c:v>41863</c:v>
                </c:pt>
                <c:pt idx="504">
                  <c:v>41864</c:v>
                </c:pt>
                <c:pt idx="505">
                  <c:v>41865</c:v>
                </c:pt>
                <c:pt idx="506">
                  <c:v>41866</c:v>
                </c:pt>
                <c:pt idx="507">
                  <c:v>41869</c:v>
                </c:pt>
                <c:pt idx="508">
                  <c:v>41870</c:v>
                </c:pt>
                <c:pt idx="509">
                  <c:v>41871</c:v>
                </c:pt>
                <c:pt idx="510">
                  <c:v>41872</c:v>
                </c:pt>
                <c:pt idx="511">
                  <c:v>41873</c:v>
                </c:pt>
                <c:pt idx="512">
                  <c:v>41876</c:v>
                </c:pt>
                <c:pt idx="513">
                  <c:v>41877</c:v>
                </c:pt>
                <c:pt idx="514">
                  <c:v>41878</c:v>
                </c:pt>
                <c:pt idx="515">
                  <c:v>41879</c:v>
                </c:pt>
                <c:pt idx="516">
                  <c:v>41880</c:v>
                </c:pt>
                <c:pt idx="517">
                  <c:v>41883</c:v>
                </c:pt>
                <c:pt idx="518">
                  <c:v>41884</c:v>
                </c:pt>
                <c:pt idx="519">
                  <c:v>41885</c:v>
                </c:pt>
                <c:pt idx="520">
                  <c:v>41886</c:v>
                </c:pt>
                <c:pt idx="521">
                  <c:v>41887</c:v>
                </c:pt>
                <c:pt idx="522">
                  <c:v>41890</c:v>
                </c:pt>
                <c:pt idx="523">
                  <c:v>41891</c:v>
                </c:pt>
                <c:pt idx="524">
                  <c:v>41892</c:v>
                </c:pt>
                <c:pt idx="525">
                  <c:v>41893</c:v>
                </c:pt>
                <c:pt idx="526">
                  <c:v>41894</c:v>
                </c:pt>
                <c:pt idx="527">
                  <c:v>41897</c:v>
                </c:pt>
                <c:pt idx="528">
                  <c:v>41898</c:v>
                </c:pt>
                <c:pt idx="529">
                  <c:v>41899</c:v>
                </c:pt>
                <c:pt idx="530">
                  <c:v>41900</c:v>
                </c:pt>
                <c:pt idx="531">
                  <c:v>41901</c:v>
                </c:pt>
                <c:pt idx="532">
                  <c:v>41904</c:v>
                </c:pt>
                <c:pt idx="533">
                  <c:v>41905</c:v>
                </c:pt>
                <c:pt idx="534">
                  <c:v>41906</c:v>
                </c:pt>
                <c:pt idx="535">
                  <c:v>41907</c:v>
                </c:pt>
                <c:pt idx="536">
                  <c:v>41908</c:v>
                </c:pt>
                <c:pt idx="537">
                  <c:v>41911</c:v>
                </c:pt>
                <c:pt idx="538">
                  <c:v>41912</c:v>
                </c:pt>
                <c:pt idx="539">
                  <c:v>41913</c:v>
                </c:pt>
                <c:pt idx="540">
                  <c:v>41914</c:v>
                </c:pt>
                <c:pt idx="541">
                  <c:v>41915</c:v>
                </c:pt>
                <c:pt idx="542">
                  <c:v>41918</c:v>
                </c:pt>
                <c:pt idx="543">
                  <c:v>41919</c:v>
                </c:pt>
                <c:pt idx="544">
                  <c:v>41920</c:v>
                </c:pt>
                <c:pt idx="545">
                  <c:v>41921</c:v>
                </c:pt>
                <c:pt idx="546">
                  <c:v>41922</c:v>
                </c:pt>
                <c:pt idx="547">
                  <c:v>41925</c:v>
                </c:pt>
                <c:pt idx="548">
                  <c:v>41926</c:v>
                </c:pt>
                <c:pt idx="549">
                  <c:v>41927</c:v>
                </c:pt>
                <c:pt idx="550">
                  <c:v>41928</c:v>
                </c:pt>
                <c:pt idx="551">
                  <c:v>41929</c:v>
                </c:pt>
                <c:pt idx="552">
                  <c:v>41932</c:v>
                </c:pt>
                <c:pt idx="553">
                  <c:v>41933</c:v>
                </c:pt>
                <c:pt idx="554">
                  <c:v>41934</c:v>
                </c:pt>
                <c:pt idx="555">
                  <c:v>41935</c:v>
                </c:pt>
                <c:pt idx="556">
                  <c:v>41936</c:v>
                </c:pt>
                <c:pt idx="557">
                  <c:v>41939</c:v>
                </c:pt>
                <c:pt idx="558">
                  <c:v>41940</c:v>
                </c:pt>
                <c:pt idx="559">
                  <c:v>41941</c:v>
                </c:pt>
                <c:pt idx="560">
                  <c:v>41942</c:v>
                </c:pt>
                <c:pt idx="561">
                  <c:v>41943</c:v>
                </c:pt>
                <c:pt idx="562">
                  <c:v>41946</c:v>
                </c:pt>
                <c:pt idx="563">
                  <c:v>41947</c:v>
                </c:pt>
                <c:pt idx="564">
                  <c:v>41948</c:v>
                </c:pt>
                <c:pt idx="565">
                  <c:v>41949</c:v>
                </c:pt>
                <c:pt idx="566">
                  <c:v>41950</c:v>
                </c:pt>
                <c:pt idx="567">
                  <c:v>41953</c:v>
                </c:pt>
                <c:pt idx="568">
                  <c:v>41954</c:v>
                </c:pt>
                <c:pt idx="569">
                  <c:v>41955</c:v>
                </c:pt>
                <c:pt idx="570">
                  <c:v>41956</c:v>
                </c:pt>
                <c:pt idx="571">
                  <c:v>41957</c:v>
                </c:pt>
                <c:pt idx="572">
                  <c:v>41960</c:v>
                </c:pt>
                <c:pt idx="573">
                  <c:v>41961</c:v>
                </c:pt>
                <c:pt idx="574">
                  <c:v>41962</c:v>
                </c:pt>
                <c:pt idx="575">
                  <c:v>41963</c:v>
                </c:pt>
                <c:pt idx="576">
                  <c:v>41964</c:v>
                </c:pt>
                <c:pt idx="577">
                  <c:v>41967</c:v>
                </c:pt>
                <c:pt idx="578">
                  <c:v>41968</c:v>
                </c:pt>
                <c:pt idx="579">
                  <c:v>41969</c:v>
                </c:pt>
                <c:pt idx="580">
                  <c:v>41970</c:v>
                </c:pt>
                <c:pt idx="581">
                  <c:v>41971</c:v>
                </c:pt>
                <c:pt idx="582">
                  <c:v>41974</c:v>
                </c:pt>
                <c:pt idx="583">
                  <c:v>41975</c:v>
                </c:pt>
                <c:pt idx="584">
                  <c:v>41976</c:v>
                </c:pt>
                <c:pt idx="585">
                  <c:v>41977</c:v>
                </c:pt>
                <c:pt idx="586">
                  <c:v>41978</c:v>
                </c:pt>
                <c:pt idx="587">
                  <c:v>41981</c:v>
                </c:pt>
                <c:pt idx="588">
                  <c:v>41982</c:v>
                </c:pt>
                <c:pt idx="589">
                  <c:v>41983</c:v>
                </c:pt>
                <c:pt idx="590">
                  <c:v>41984</c:v>
                </c:pt>
                <c:pt idx="591">
                  <c:v>41985</c:v>
                </c:pt>
                <c:pt idx="592">
                  <c:v>41988</c:v>
                </c:pt>
                <c:pt idx="593">
                  <c:v>41989</c:v>
                </c:pt>
                <c:pt idx="594">
                  <c:v>41990</c:v>
                </c:pt>
                <c:pt idx="595">
                  <c:v>41991</c:v>
                </c:pt>
                <c:pt idx="596">
                  <c:v>41992</c:v>
                </c:pt>
                <c:pt idx="597">
                  <c:v>41995</c:v>
                </c:pt>
                <c:pt idx="598">
                  <c:v>41996</c:v>
                </c:pt>
                <c:pt idx="599">
                  <c:v>41997</c:v>
                </c:pt>
                <c:pt idx="600">
                  <c:v>41998</c:v>
                </c:pt>
                <c:pt idx="601">
                  <c:v>41999</c:v>
                </c:pt>
                <c:pt idx="602">
                  <c:v>42002</c:v>
                </c:pt>
                <c:pt idx="603">
                  <c:v>42003</c:v>
                </c:pt>
                <c:pt idx="604">
                  <c:v>42004</c:v>
                </c:pt>
                <c:pt idx="605">
                  <c:v>42006</c:v>
                </c:pt>
                <c:pt idx="606">
                  <c:v>42009</c:v>
                </c:pt>
                <c:pt idx="607">
                  <c:v>42010</c:v>
                </c:pt>
                <c:pt idx="608">
                  <c:v>42011</c:v>
                </c:pt>
                <c:pt idx="609">
                  <c:v>42012</c:v>
                </c:pt>
                <c:pt idx="610">
                  <c:v>42013</c:v>
                </c:pt>
                <c:pt idx="611">
                  <c:v>42016</c:v>
                </c:pt>
                <c:pt idx="612">
                  <c:v>42017</c:v>
                </c:pt>
                <c:pt idx="613">
                  <c:v>42018</c:v>
                </c:pt>
                <c:pt idx="614">
                  <c:v>42019</c:v>
                </c:pt>
                <c:pt idx="615">
                  <c:v>42020</c:v>
                </c:pt>
                <c:pt idx="616">
                  <c:v>42023</c:v>
                </c:pt>
                <c:pt idx="617">
                  <c:v>42024</c:v>
                </c:pt>
                <c:pt idx="618">
                  <c:v>42025</c:v>
                </c:pt>
                <c:pt idx="619">
                  <c:v>42026</c:v>
                </c:pt>
                <c:pt idx="620">
                  <c:v>42027</c:v>
                </c:pt>
                <c:pt idx="621">
                  <c:v>42030</c:v>
                </c:pt>
                <c:pt idx="622">
                  <c:v>42031</c:v>
                </c:pt>
                <c:pt idx="623">
                  <c:v>42032</c:v>
                </c:pt>
                <c:pt idx="624">
                  <c:v>42033</c:v>
                </c:pt>
                <c:pt idx="625">
                  <c:v>42034</c:v>
                </c:pt>
                <c:pt idx="626">
                  <c:v>42037</c:v>
                </c:pt>
                <c:pt idx="627">
                  <c:v>42038</c:v>
                </c:pt>
                <c:pt idx="628">
                  <c:v>42039</c:v>
                </c:pt>
                <c:pt idx="629">
                  <c:v>42040</c:v>
                </c:pt>
                <c:pt idx="630">
                  <c:v>42041</c:v>
                </c:pt>
                <c:pt idx="631">
                  <c:v>42044</c:v>
                </c:pt>
                <c:pt idx="632">
                  <c:v>42045</c:v>
                </c:pt>
                <c:pt idx="633">
                  <c:v>42046</c:v>
                </c:pt>
                <c:pt idx="634">
                  <c:v>42047</c:v>
                </c:pt>
                <c:pt idx="635">
                  <c:v>42048</c:v>
                </c:pt>
                <c:pt idx="636">
                  <c:v>42051</c:v>
                </c:pt>
                <c:pt idx="637">
                  <c:v>42052</c:v>
                </c:pt>
                <c:pt idx="638">
                  <c:v>42053</c:v>
                </c:pt>
                <c:pt idx="639">
                  <c:v>42054</c:v>
                </c:pt>
                <c:pt idx="640">
                  <c:v>42055</c:v>
                </c:pt>
                <c:pt idx="641">
                  <c:v>42058</c:v>
                </c:pt>
                <c:pt idx="642">
                  <c:v>42059</c:v>
                </c:pt>
                <c:pt idx="643">
                  <c:v>42060</c:v>
                </c:pt>
                <c:pt idx="644">
                  <c:v>42061</c:v>
                </c:pt>
                <c:pt idx="645">
                  <c:v>42062</c:v>
                </c:pt>
                <c:pt idx="646">
                  <c:v>42065</c:v>
                </c:pt>
                <c:pt idx="647">
                  <c:v>42066</c:v>
                </c:pt>
                <c:pt idx="648">
                  <c:v>42067</c:v>
                </c:pt>
                <c:pt idx="649">
                  <c:v>42068</c:v>
                </c:pt>
                <c:pt idx="650">
                  <c:v>42069</c:v>
                </c:pt>
                <c:pt idx="651">
                  <c:v>42072</c:v>
                </c:pt>
                <c:pt idx="652">
                  <c:v>42073</c:v>
                </c:pt>
                <c:pt idx="653">
                  <c:v>42074</c:v>
                </c:pt>
                <c:pt idx="654">
                  <c:v>42075</c:v>
                </c:pt>
                <c:pt idx="655">
                  <c:v>42076</c:v>
                </c:pt>
                <c:pt idx="656">
                  <c:v>42079</c:v>
                </c:pt>
                <c:pt idx="657">
                  <c:v>42080</c:v>
                </c:pt>
                <c:pt idx="658">
                  <c:v>42081</c:v>
                </c:pt>
                <c:pt idx="659">
                  <c:v>42082</c:v>
                </c:pt>
                <c:pt idx="660">
                  <c:v>42083</c:v>
                </c:pt>
                <c:pt idx="661">
                  <c:v>42086</c:v>
                </c:pt>
                <c:pt idx="662">
                  <c:v>42087</c:v>
                </c:pt>
                <c:pt idx="663">
                  <c:v>42088</c:v>
                </c:pt>
                <c:pt idx="664">
                  <c:v>42089</c:v>
                </c:pt>
                <c:pt idx="665">
                  <c:v>42090</c:v>
                </c:pt>
                <c:pt idx="666">
                  <c:v>42093</c:v>
                </c:pt>
                <c:pt idx="667">
                  <c:v>42094</c:v>
                </c:pt>
                <c:pt idx="668">
                  <c:v>42095</c:v>
                </c:pt>
                <c:pt idx="669">
                  <c:v>42096</c:v>
                </c:pt>
                <c:pt idx="670">
                  <c:v>42097</c:v>
                </c:pt>
                <c:pt idx="671">
                  <c:v>42100</c:v>
                </c:pt>
                <c:pt idx="672">
                  <c:v>42101</c:v>
                </c:pt>
                <c:pt idx="673">
                  <c:v>42102</c:v>
                </c:pt>
                <c:pt idx="674">
                  <c:v>42103</c:v>
                </c:pt>
                <c:pt idx="675">
                  <c:v>42104</c:v>
                </c:pt>
                <c:pt idx="676">
                  <c:v>42107</c:v>
                </c:pt>
                <c:pt idx="677">
                  <c:v>42108</c:v>
                </c:pt>
                <c:pt idx="678">
                  <c:v>42109</c:v>
                </c:pt>
                <c:pt idx="679">
                  <c:v>42110</c:v>
                </c:pt>
                <c:pt idx="680">
                  <c:v>42111</c:v>
                </c:pt>
                <c:pt idx="681">
                  <c:v>42114</c:v>
                </c:pt>
                <c:pt idx="682">
                  <c:v>42115</c:v>
                </c:pt>
                <c:pt idx="683">
                  <c:v>42116</c:v>
                </c:pt>
                <c:pt idx="684">
                  <c:v>42117</c:v>
                </c:pt>
                <c:pt idx="685">
                  <c:v>42118</c:v>
                </c:pt>
                <c:pt idx="686">
                  <c:v>42121</c:v>
                </c:pt>
                <c:pt idx="687">
                  <c:v>42122</c:v>
                </c:pt>
                <c:pt idx="688">
                  <c:v>42123</c:v>
                </c:pt>
                <c:pt idx="689">
                  <c:v>42124</c:v>
                </c:pt>
                <c:pt idx="690">
                  <c:v>42125</c:v>
                </c:pt>
                <c:pt idx="691">
                  <c:v>42128</c:v>
                </c:pt>
                <c:pt idx="692">
                  <c:v>42129</c:v>
                </c:pt>
                <c:pt idx="693">
                  <c:v>42130</c:v>
                </c:pt>
                <c:pt idx="694">
                  <c:v>42131</c:v>
                </c:pt>
                <c:pt idx="695">
                  <c:v>42132</c:v>
                </c:pt>
                <c:pt idx="696">
                  <c:v>42135</c:v>
                </c:pt>
                <c:pt idx="697">
                  <c:v>42136</c:v>
                </c:pt>
                <c:pt idx="698">
                  <c:v>42137</c:v>
                </c:pt>
                <c:pt idx="699">
                  <c:v>42138</c:v>
                </c:pt>
                <c:pt idx="700">
                  <c:v>42139</c:v>
                </c:pt>
                <c:pt idx="701">
                  <c:v>42142</c:v>
                </c:pt>
                <c:pt idx="702">
                  <c:v>42143</c:v>
                </c:pt>
                <c:pt idx="703">
                  <c:v>42144</c:v>
                </c:pt>
                <c:pt idx="704">
                  <c:v>42145</c:v>
                </c:pt>
                <c:pt idx="705">
                  <c:v>42146</c:v>
                </c:pt>
                <c:pt idx="706">
                  <c:v>42149</c:v>
                </c:pt>
                <c:pt idx="707">
                  <c:v>42150</c:v>
                </c:pt>
                <c:pt idx="708">
                  <c:v>42151</c:v>
                </c:pt>
                <c:pt idx="709">
                  <c:v>42152</c:v>
                </c:pt>
                <c:pt idx="710">
                  <c:v>42153</c:v>
                </c:pt>
                <c:pt idx="711">
                  <c:v>42156</c:v>
                </c:pt>
                <c:pt idx="712">
                  <c:v>42157</c:v>
                </c:pt>
                <c:pt idx="713">
                  <c:v>42158</c:v>
                </c:pt>
                <c:pt idx="714">
                  <c:v>42159</c:v>
                </c:pt>
                <c:pt idx="715">
                  <c:v>42160</c:v>
                </c:pt>
                <c:pt idx="716">
                  <c:v>42163</c:v>
                </c:pt>
                <c:pt idx="717">
                  <c:v>42164</c:v>
                </c:pt>
                <c:pt idx="718">
                  <c:v>42165</c:v>
                </c:pt>
                <c:pt idx="719">
                  <c:v>42166</c:v>
                </c:pt>
                <c:pt idx="720">
                  <c:v>42167</c:v>
                </c:pt>
                <c:pt idx="721">
                  <c:v>42170</c:v>
                </c:pt>
                <c:pt idx="722">
                  <c:v>42171</c:v>
                </c:pt>
                <c:pt idx="723">
                  <c:v>42172</c:v>
                </c:pt>
                <c:pt idx="724">
                  <c:v>42173</c:v>
                </c:pt>
                <c:pt idx="725">
                  <c:v>42174</c:v>
                </c:pt>
                <c:pt idx="726">
                  <c:v>42177</c:v>
                </c:pt>
                <c:pt idx="727">
                  <c:v>42178</c:v>
                </c:pt>
                <c:pt idx="728">
                  <c:v>42179</c:v>
                </c:pt>
                <c:pt idx="729">
                  <c:v>42180</c:v>
                </c:pt>
                <c:pt idx="730">
                  <c:v>42181</c:v>
                </c:pt>
                <c:pt idx="731">
                  <c:v>42184</c:v>
                </c:pt>
                <c:pt idx="732">
                  <c:v>42185</c:v>
                </c:pt>
                <c:pt idx="733">
                  <c:v>42186</c:v>
                </c:pt>
                <c:pt idx="734">
                  <c:v>42187</c:v>
                </c:pt>
                <c:pt idx="735">
                  <c:v>42188</c:v>
                </c:pt>
                <c:pt idx="736">
                  <c:v>42191</c:v>
                </c:pt>
                <c:pt idx="737">
                  <c:v>42192</c:v>
                </c:pt>
                <c:pt idx="738">
                  <c:v>42193</c:v>
                </c:pt>
                <c:pt idx="739">
                  <c:v>42194</c:v>
                </c:pt>
                <c:pt idx="740">
                  <c:v>42195</c:v>
                </c:pt>
                <c:pt idx="741">
                  <c:v>42198</c:v>
                </c:pt>
                <c:pt idx="742">
                  <c:v>42199</c:v>
                </c:pt>
                <c:pt idx="743">
                  <c:v>42200</c:v>
                </c:pt>
                <c:pt idx="744">
                  <c:v>42201</c:v>
                </c:pt>
                <c:pt idx="745">
                  <c:v>42202</c:v>
                </c:pt>
                <c:pt idx="746">
                  <c:v>42205</c:v>
                </c:pt>
                <c:pt idx="747">
                  <c:v>42206</c:v>
                </c:pt>
                <c:pt idx="748">
                  <c:v>42207</c:v>
                </c:pt>
                <c:pt idx="749">
                  <c:v>42208</c:v>
                </c:pt>
                <c:pt idx="750">
                  <c:v>42209</c:v>
                </c:pt>
                <c:pt idx="751">
                  <c:v>42212</c:v>
                </c:pt>
                <c:pt idx="752">
                  <c:v>42213</c:v>
                </c:pt>
                <c:pt idx="753">
                  <c:v>42214</c:v>
                </c:pt>
                <c:pt idx="754">
                  <c:v>42215</c:v>
                </c:pt>
                <c:pt idx="755">
                  <c:v>42216</c:v>
                </c:pt>
                <c:pt idx="756">
                  <c:v>42219</c:v>
                </c:pt>
                <c:pt idx="757">
                  <c:v>42220</c:v>
                </c:pt>
                <c:pt idx="758">
                  <c:v>42221</c:v>
                </c:pt>
                <c:pt idx="759">
                  <c:v>42222</c:v>
                </c:pt>
                <c:pt idx="760">
                  <c:v>42223</c:v>
                </c:pt>
                <c:pt idx="761">
                  <c:v>42226</c:v>
                </c:pt>
                <c:pt idx="762">
                  <c:v>42227</c:v>
                </c:pt>
                <c:pt idx="763">
                  <c:v>42228</c:v>
                </c:pt>
                <c:pt idx="764">
                  <c:v>42229</c:v>
                </c:pt>
                <c:pt idx="765">
                  <c:v>42230</c:v>
                </c:pt>
                <c:pt idx="766">
                  <c:v>42233</c:v>
                </c:pt>
                <c:pt idx="767">
                  <c:v>42234</c:v>
                </c:pt>
                <c:pt idx="768">
                  <c:v>42235</c:v>
                </c:pt>
                <c:pt idx="769">
                  <c:v>42236</c:v>
                </c:pt>
                <c:pt idx="770">
                  <c:v>42237</c:v>
                </c:pt>
                <c:pt idx="771">
                  <c:v>42240</c:v>
                </c:pt>
                <c:pt idx="772">
                  <c:v>42241</c:v>
                </c:pt>
                <c:pt idx="773">
                  <c:v>42242</c:v>
                </c:pt>
                <c:pt idx="774">
                  <c:v>42243</c:v>
                </c:pt>
                <c:pt idx="775">
                  <c:v>42244</c:v>
                </c:pt>
                <c:pt idx="776">
                  <c:v>42247</c:v>
                </c:pt>
                <c:pt idx="777">
                  <c:v>42248</c:v>
                </c:pt>
                <c:pt idx="778">
                  <c:v>42249</c:v>
                </c:pt>
                <c:pt idx="779">
                  <c:v>42250</c:v>
                </c:pt>
                <c:pt idx="780">
                  <c:v>42251</c:v>
                </c:pt>
                <c:pt idx="781">
                  <c:v>42254</c:v>
                </c:pt>
                <c:pt idx="782">
                  <c:v>42255</c:v>
                </c:pt>
                <c:pt idx="783">
                  <c:v>42256</c:v>
                </c:pt>
                <c:pt idx="784">
                  <c:v>42257</c:v>
                </c:pt>
                <c:pt idx="785">
                  <c:v>42258</c:v>
                </c:pt>
                <c:pt idx="786">
                  <c:v>42261</c:v>
                </c:pt>
                <c:pt idx="787">
                  <c:v>42262</c:v>
                </c:pt>
                <c:pt idx="788">
                  <c:v>42263</c:v>
                </c:pt>
                <c:pt idx="789">
                  <c:v>42264</c:v>
                </c:pt>
                <c:pt idx="790">
                  <c:v>42265</c:v>
                </c:pt>
                <c:pt idx="791">
                  <c:v>42268</c:v>
                </c:pt>
                <c:pt idx="792">
                  <c:v>42269</c:v>
                </c:pt>
                <c:pt idx="793">
                  <c:v>42270</c:v>
                </c:pt>
                <c:pt idx="794">
                  <c:v>42271</c:v>
                </c:pt>
                <c:pt idx="795">
                  <c:v>42272</c:v>
                </c:pt>
                <c:pt idx="796">
                  <c:v>42275</c:v>
                </c:pt>
                <c:pt idx="797">
                  <c:v>42276</c:v>
                </c:pt>
                <c:pt idx="798">
                  <c:v>42277</c:v>
                </c:pt>
                <c:pt idx="799">
                  <c:v>42278</c:v>
                </c:pt>
                <c:pt idx="800">
                  <c:v>42279</c:v>
                </c:pt>
                <c:pt idx="801">
                  <c:v>42282</c:v>
                </c:pt>
                <c:pt idx="802">
                  <c:v>42283</c:v>
                </c:pt>
                <c:pt idx="803">
                  <c:v>42284</c:v>
                </c:pt>
                <c:pt idx="804">
                  <c:v>42285</c:v>
                </c:pt>
                <c:pt idx="805">
                  <c:v>42286</c:v>
                </c:pt>
                <c:pt idx="806">
                  <c:v>42289</c:v>
                </c:pt>
                <c:pt idx="807">
                  <c:v>42290</c:v>
                </c:pt>
                <c:pt idx="808">
                  <c:v>42291</c:v>
                </c:pt>
                <c:pt idx="809">
                  <c:v>42292</c:v>
                </c:pt>
                <c:pt idx="810">
                  <c:v>42293</c:v>
                </c:pt>
                <c:pt idx="811">
                  <c:v>42296</c:v>
                </c:pt>
                <c:pt idx="812">
                  <c:v>42297</c:v>
                </c:pt>
                <c:pt idx="813">
                  <c:v>42298</c:v>
                </c:pt>
                <c:pt idx="814">
                  <c:v>42299</c:v>
                </c:pt>
                <c:pt idx="815">
                  <c:v>42300</c:v>
                </c:pt>
                <c:pt idx="816">
                  <c:v>42303</c:v>
                </c:pt>
                <c:pt idx="817">
                  <c:v>42304</c:v>
                </c:pt>
                <c:pt idx="818">
                  <c:v>42305</c:v>
                </c:pt>
                <c:pt idx="819">
                  <c:v>42306</c:v>
                </c:pt>
                <c:pt idx="820">
                  <c:v>42307</c:v>
                </c:pt>
                <c:pt idx="821">
                  <c:v>42310</c:v>
                </c:pt>
                <c:pt idx="822">
                  <c:v>42311</c:v>
                </c:pt>
                <c:pt idx="823">
                  <c:v>42312</c:v>
                </c:pt>
                <c:pt idx="824">
                  <c:v>42313</c:v>
                </c:pt>
                <c:pt idx="825">
                  <c:v>42314</c:v>
                </c:pt>
                <c:pt idx="826">
                  <c:v>42317</c:v>
                </c:pt>
                <c:pt idx="827">
                  <c:v>42318</c:v>
                </c:pt>
                <c:pt idx="828">
                  <c:v>42319</c:v>
                </c:pt>
                <c:pt idx="829">
                  <c:v>42320</c:v>
                </c:pt>
                <c:pt idx="830">
                  <c:v>42321</c:v>
                </c:pt>
                <c:pt idx="831">
                  <c:v>42324</c:v>
                </c:pt>
                <c:pt idx="832">
                  <c:v>42325</c:v>
                </c:pt>
                <c:pt idx="833">
                  <c:v>42326</c:v>
                </c:pt>
                <c:pt idx="834">
                  <c:v>42327</c:v>
                </c:pt>
                <c:pt idx="835">
                  <c:v>42328</c:v>
                </c:pt>
                <c:pt idx="836">
                  <c:v>42331</c:v>
                </c:pt>
                <c:pt idx="837">
                  <c:v>42332</c:v>
                </c:pt>
                <c:pt idx="838">
                  <c:v>42333</c:v>
                </c:pt>
                <c:pt idx="839">
                  <c:v>42334</c:v>
                </c:pt>
                <c:pt idx="840">
                  <c:v>42335</c:v>
                </c:pt>
                <c:pt idx="841">
                  <c:v>42338</c:v>
                </c:pt>
                <c:pt idx="842">
                  <c:v>42339</c:v>
                </c:pt>
                <c:pt idx="843">
                  <c:v>42340</c:v>
                </c:pt>
                <c:pt idx="844">
                  <c:v>42341</c:v>
                </c:pt>
                <c:pt idx="845">
                  <c:v>42342</c:v>
                </c:pt>
                <c:pt idx="846">
                  <c:v>42345</c:v>
                </c:pt>
                <c:pt idx="847">
                  <c:v>42346</c:v>
                </c:pt>
                <c:pt idx="848">
                  <c:v>42347</c:v>
                </c:pt>
                <c:pt idx="849">
                  <c:v>42348</c:v>
                </c:pt>
                <c:pt idx="850">
                  <c:v>42349</c:v>
                </c:pt>
                <c:pt idx="851">
                  <c:v>42352</c:v>
                </c:pt>
                <c:pt idx="852">
                  <c:v>42353</c:v>
                </c:pt>
                <c:pt idx="853">
                  <c:v>42354</c:v>
                </c:pt>
                <c:pt idx="854">
                  <c:v>42355</c:v>
                </c:pt>
                <c:pt idx="855">
                  <c:v>42356</c:v>
                </c:pt>
                <c:pt idx="856">
                  <c:v>42359</c:v>
                </c:pt>
                <c:pt idx="857">
                  <c:v>42360</c:v>
                </c:pt>
                <c:pt idx="858">
                  <c:v>42361</c:v>
                </c:pt>
                <c:pt idx="859">
                  <c:v>42362</c:v>
                </c:pt>
                <c:pt idx="860">
                  <c:v>42363</c:v>
                </c:pt>
                <c:pt idx="861">
                  <c:v>42366</c:v>
                </c:pt>
                <c:pt idx="862">
                  <c:v>42367</c:v>
                </c:pt>
                <c:pt idx="863">
                  <c:v>42368</c:v>
                </c:pt>
                <c:pt idx="864">
                  <c:v>42369</c:v>
                </c:pt>
                <c:pt idx="865">
                  <c:v>42373</c:v>
                </c:pt>
                <c:pt idx="866">
                  <c:v>42374</c:v>
                </c:pt>
                <c:pt idx="867">
                  <c:v>42375</c:v>
                </c:pt>
                <c:pt idx="868">
                  <c:v>42376</c:v>
                </c:pt>
                <c:pt idx="869">
                  <c:v>42377</c:v>
                </c:pt>
                <c:pt idx="870">
                  <c:v>42380</c:v>
                </c:pt>
                <c:pt idx="871">
                  <c:v>42381</c:v>
                </c:pt>
                <c:pt idx="872">
                  <c:v>42382</c:v>
                </c:pt>
                <c:pt idx="873">
                  <c:v>42383</c:v>
                </c:pt>
                <c:pt idx="874">
                  <c:v>42384</c:v>
                </c:pt>
                <c:pt idx="875">
                  <c:v>42387</c:v>
                </c:pt>
                <c:pt idx="876">
                  <c:v>42388</c:v>
                </c:pt>
                <c:pt idx="877">
                  <c:v>42389</c:v>
                </c:pt>
                <c:pt idx="878">
                  <c:v>42390</c:v>
                </c:pt>
                <c:pt idx="879">
                  <c:v>42391</c:v>
                </c:pt>
                <c:pt idx="880">
                  <c:v>42394</c:v>
                </c:pt>
                <c:pt idx="881">
                  <c:v>42395</c:v>
                </c:pt>
                <c:pt idx="882">
                  <c:v>42396</c:v>
                </c:pt>
                <c:pt idx="883">
                  <c:v>42397</c:v>
                </c:pt>
                <c:pt idx="884">
                  <c:v>42398</c:v>
                </c:pt>
                <c:pt idx="885">
                  <c:v>42401</c:v>
                </c:pt>
                <c:pt idx="886">
                  <c:v>42402</c:v>
                </c:pt>
                <c:pt idx="887">
                  <c:v>42403</c:v>
                </c:pt>
                <c:pt idx="888">
                  <c:v>42404</c:v>
                </c:pt>
                <c:pt idx="889">
                  <c:v>42405</c:v>
                </c:pt>
                <c:pt idx="890">
                  <c:v>42408</c:v>
                </c:pt>
                <c:pt idx="891">
                  <c:v>42409</c:v>
                </c:pt>
                <c:pt idx="892">
                  <c:v>42410</c:v>
                </c:pt>
                <c:pt idx="893">
                  <c:v>42411</c:v>
                </c:pt>
                <c:pt idx="894">
                  <c:v>42412</c:v>
                </c:pt>
                <c:pt idx="895">
                  <c:v>42415</c:v>
                </c:pt>
                <c:pt idx="896">
                  <c:v>42416</c:v>
                </c:pt>
                <c:pt idx="897">
                  <c:v>42417</c:v>
                </c:pt>
                <c:pt idx="898">
                  <c:v>42418</c:v>
                </c:pt>
                <c:pt idx="899">
                  <c:v>42419</c:v>
                </c:pt>
                <c:pt idx="900">
                  <c:v>42422</c:v>
                </c:pt>
                <c:pt idx="901">
                  <c:v>42423</c:v>
                </c:pt>
                <c:pt idx="902">
                  <c:v>42424</c:v>
                </c:pt>
                <c:pt idx="903">
                  <c:v>42425</c:v>
                </c:pt>
                <c:pt idx="904">
                  <c:v>42426</c:v>
                </c:pt>
                <c:pt idx="905">
                  <c:v>42429</c:v>
                </c:pt>
                <c:pt idx="906">
                  <c:v>42430</c:v>
                </c:pt>
                <c:pt idx="907">
                  <c:v>42431</c:v>
                </c:pt>
                <c:pt idx="908">
                  <c:v>42432</c:v>
                </c:pt>
                <c:pt idx="909">
                  <c:v>42433</c:v>
                </c:pt>
                <c:pt idx="910">
                  <c:v>42436</c:v>
                </c:pt>
                <c:pt idx="911">
                  <c:v>42437</c:v>
                </c:pt>
                <c:pt idx="912">
                  <c:v>42438</c:v>
                </c:pt>
                <c:pt idx="913">
                  <c:v>42439</c:v>
                </c:pt>
                <c:pt idx="914">
                  <c:v>42440</c:v>
                </c:pt>
                <c:pt idx="915">
                  <c:v>42443</c:v>
                </c:pt>
                <c:pt idx="916">
                  <c:v>42444</c:v>
                </c:pt>
                <c:pt idx="917">
                  <c:v>42445</c:v>
                </c:pt>
                <c:pt idx="918">
                  <c:v>42446</c:v>
                </c:pt>
                <c:pt idx="919">
                  <c:v>42447</c:v>
                </c:pt>
                <c:pt idx="920">
                  <c:v>42450</c:v>
                </c:pt>
                <c:pt idx="921">
                  <c:v>42451</c:v>
                </c:pt>
                <c:pt idx="922">
                  <c:v>42452</c:v>
                </c:pt>
                <c:pt idx="923">
                  <c:v>42453</c:v>
                </c:pt>
                <c:pt idx="924">
                  <c:v>42454</c:v>
                </c:pt>
                <c:pt idx="925">
                  <c:v>42457</c:v>
                </c:pt>
                <c:pt idx="926">
                  <c:v>42458</c:v>
                </c:pt>
                <c:pt idx="927">
                  <c:v>42459</c:v>
                </c:pt>
                <c:pt idx="928">
                  <c:v>42460</c:v>
                </c:pt>
                <c:pt idx="929">
                  <c:v>42461</c:v>
                </c:pt>
                <c:pt idx="930">
                  <c:v>42464</c:v>
                </c:pt>
                <c:pt idx="931">
                  <c:v>42465</c:v>
                </c:pt>
                <c:pt idx="932">
                  <c:v>42466</c:v>
                </c:pt>
                <c:pt idx="933">
                  <c:v>42467</c:v>
                </c:pt>
                <c:pt idx="934">
                  <c:v>42468</c:v>
                </c:pt>
                <c:pt idx="935">
                  <c:v>42471</c:v>
                </c:pt>
                <c:pt idx="936">
                  <c:v>42472</c:v>
                </c:pt>
                <c:pt idx="937">
                  <c:v>42473</c:v>
                </c:pt>
                <c:pt idx="938">
                  <c:v>42474</c:v>
                </c:pt>
                <c:pt idx="939">
                  <c:v>42475</c:v>
                </c:pt>
                <c:pt idx="940">
                  <c:v>42478</c:v>
                </c:pt>
                <c:pt idx="941">
                  <c:v>42479</c:v>
                </c:pt>
                <c:pt idx="942">
                  <c:v>42480</c:v>
                </c:pt>
                <c:pt idx="943">
                  <c:v>42481</c:v>
                </c:pt>
                <c:pt idx="944">
                  <c:v>42482</c:v>
                </c:pt>
                <c:pt idx="945">
                  <c:v>42485</c:v>
                </c:pt>
                <c:pt idx="946">
                  <c:v>42486</c:v>
                </c:pt>
                <c:pt idx="947">
                  <c:v>42487</c:v>
                </c:pt>
                <c:pt idx="948">
                  <c:v>42488</c:v>
                </c:pt>
                <c:pt idx="949">
                  <c:v>42489</c:v>
                </c:pt>
                <c:pt idx="950">
                  <c:v>42492</c:v>
                </c:pt>
                <c:pt idx="951">
                  <c:v>42493</c:v>
                </c:pt>
                <c:pt idx="952">
                  <c:v>42494</c:v>
                </c:pt>
                <c:pt idx="953">
                  <c:v>42495</c:v>
                </c:pt>
                <c:pt idx="954">
                  <c:v>42496</c:v>
                </c:pt>
                <c:pt idx="955">
                  <c:v>42499</c:v>
                </c:pt>
                <c:pt idx="956">
                  <c:v>42500</c:v>
                </c:pt>
                <c:pt idx="957">
                  <c:v>42501</c:v>
                </c:pt>
                <c:pt idx="958">
                  <c:v>42502</c:v>
                </c:pt>
                <c:pt idx="959">
                  <c:v>42503</c:v>
                </c:pt>
                <c:pt idx="960">
                  <c:v>42506</c:v>
                </c:pt>
                <c:pt idx="961">
                  <c:v>42507</c:v>
                </c:pt>
                <c:pt idx="962">
                  <c:v>42508</c:v>
                </c:pt>
                <c:pt idx="963">
                  <c:v>42509</c:v>
                </c:pt>
                <c:pt idx="964">
                  <c:v>42510</c:v>
                </c:pt>
                <c:pt idx="965">
                  <c:v>42513</c:v>
                </c:pt>
                <c:pt idx="966">
                  <c:v>42514</c:v>
                </c:pt>
                <c:pt idx="967">
                  <c:v>42515</c:v>
                </c:pt>
                <c:pt idx="968">
                  <c:v>42516</c:v>
                </c:pt>
                <c:pt idx="969">
                  <c:v>42517</c:v>
                </c:pt>
                <c:pt idx="970">
                  <c:v>42520</c:v>
                </c:pt>
                <c:pt idx="971">
                  <c:v>42521</c:v>
                </c:pt>
                <c:pt idx="972">
                  <c:v>42522</c:v>
                </c:pt>
                <c:pt idx="973">
                  <c:v>42523</c:v>
                </c:pt>
                <c:pt idx="974">
                  <c:v>42524</c:v>
                </c:pt>
                <c:pt idx="975">
                  <c:v>42527</c:v>
                </c:pt>
                <c:pt idx="976">
                  <c:v>42528</c:v>
                </c:pt>
                <c:pt idx="977">
                  <c:v>42529</c:v>
                </c:pt>
                <c:pt idx="978">
                  <c:v>42530</c:v>
                </c:pt>
                <c:pt idx="979">
                  <c:v>42531</c:v>
                </c:pt>
                <c:pt idx="980">
                  <c:v>42534</c:v>
                </c:pt>
                <c:pt idx="981">
                  <c:v>42535</c:v>
                </c:pt>
                <c:pt idx="982">
                  <c:v>42536</c:v>
                </c:pt>
                <c:pt idx="983">
                  <c:v>42537</c:v>
                </c:pt>
                <c:pt idx="984">
                  <c:v>42538</c:v>
                </c:pt>
                <c:pt idx="985">
                  <c:v>42541</c:v>
                </c:pt>
                <c:pt idx="986">
                  <c:v>42542</c:v>
                </c:pt>
                <c:pt idx="987">
                  <c:v>42543</c:v>
                </c:pt>
                <c:pt idx="988">
                  <c:v>42544</c:v>
                </c:pt>
                <c:pt idx="989">
                  <c:v>42545</c:v>
                </c:pt>
                <c:pt idx="990">
                  <c:v>42548</c:v>
                </c:pt>
                <c:pt idx="991">
                  <c:v>42549</c:v>
                </c:pt>
                <c:pt idx="992">
                  <c:v>42550</c:v>
                </c:pt>
                <c:pt idx="993">
                  <c:v>42551</c:v>
                </c:pt>
                <c:pt idx="994">
                  <c:v>42552</c:v>
                </c:pt>
                <c:pt idx="995">
                  <c:v>42555</c:v>
                </c:pt>
                <c:pt idx="996">
                  <c:v>42556</c:v>
                </c:pt>
                <c:pt idx="997">
                  <c:v>42557</c:v>
                </c:pt>
                <c:pt idx="998">
                  <c:v>42558</c:v>
                </c:pt>
                <c:pt idx="999">
                  <c:v>42559</c:v>
                </c:pt>
                <c:pt idx="1000">
                  <c:v>42562</c:v>
                </c:pt>
                <c:pt idx="1001">
                  <c:v>42563</c:v>
                </c:pt>
                <c:pt idx="1002">
                  <c:v>42564</c:v>
                </c:pt>
                <c:pt idx="1003">
                  <c:v>42565</c:v>
                </c:pt>
                <c:pt idx="1004">
                  <c:v>42566</c:v>
                </c:pt>
                <c:pt idx="1005">
                  <c:v>42569</c:v>
                </c:pt>
                <c:pt idx="1006">
                  <c:v>42570</c:v>
                </c:pt>
                <c:pt idx="1007">
                  <c:v>42571</c:v>
                </c:pt>
                <c:pt idx="1008">
                  <c:v>42572</c:v>
                </c:pt>
                <c:pt idx="1009">
                  <c:v>42573</c:v>
                </c:pt>
                <c:pt idx="1010">
                  <c:v>42576</c:v>
                </c:pt>
                <c:pt idx="1011">
                  <c:v>42577</c:v>
                </c:pt>
                <c:pt idx="1012">
                  <c:v>42578</c:v>
                </c:pt>
                <c:pt idx="1013">
                  <c:v>42579</c:v>
                </c:pt>
                <c:pt idx="1014">
                  <c:v>42580</c:v>
                </c:pt>
                <c:pt idx="1015">
                  <c:v>42583</c:v>
                </c:pt>
                <c:pt idx="1016">
                  <c:v>42584</c:v>
                </c:pt>
                <c:pt idx="1017">
                  <c:v>42585</c:v>
                </c:pt>
                <c:pt idx="1018">
                  <c:v>42586</c:v>
                </c:pt>
                <c:pt idx="1019">
                  <c:v>42587</c:v>
                </c:pt>
                <c:pt idx="1020">
                  <c:v>42590</c:v>
                </c:pt>
                <c:pt idx="1021">
                  <c:v>42591</c:v>
                </c:pt>
                <c:pt idx="1022">
                  <c:v>42592</c:v>
                </c:pt>
                <c:pt idx="1023">
                  <c:v>42593</c:v>
                </c:pt>
                <c:pt idx="1024">
                  <c:v>42594</c:v>
                </c:pt>
                <c:pt idx="1025">
                  <c:v>42597</c:v>
                </c:pt>
                <c:pt idx="1026">
                  <c:v>42598</c:v>
                </c:pt>
                <c:pt idx="1027">
                  <c:v>42599</c:v>
                </c:pt>
                <c:pt idx="1028">
                  <c:v>42600</c:v>
                </c:pt>
                <c:pt idx="1029">
                  <c:v>42601</c:v>
                </c:pt>
                <c:pt idx="1030">
                  <c:v>42604</c:v>
                </c:pt>
                <c:pt idx="1031">
                  <c:v>42605</c:v>
                </c:pt>
                <c:pt idx="1032">
                  <c:v>42606</c:v>
                </c:pt>
                <c:pt idx="1033">
                  <c:v>42607</c:v>
                </c:pt>
                <c:pt idx="1034">
                  <c:v>42608</c:v>
                </c:pt>
                <c:pt idx="1035">
                  <c:v>42611</c:v>
                </c:pt>
                <c:pt idx="1036">
                  <c:v>42612</c:v>
                </c:pt>
                <c:pt idx="1037">
                  <c:v>42613</c:v>
                </c:pt>
                <c:pt idx="1038">
                  <c:v>42614</c:v>
                </c:pt>
                <c:pt idx="1039">
                  <c:v>42615</c:v>
                </c:pt>
                <c:pt idx="1040">
                  <c:v>42618</c:v>
                </c:pt>
                <c:pt idx="1041">
                  <c:v>42619</c:v>
                </c:pt>
                <c:pt idx="1042">
                  <c:v>42620</c:v>
                </c:pt>
                <c:pt idx="1043">
                  <c:v>42621</c:v>
                </c:pt>
                <c:pt idx="1044">
                  <c:v>42622</c:v>
                </c:pt>
                <c:pt idx="1045">
                  <c:v>42625</c:v>
                </c:pt>
                <c:pt idx="1046">
                  <c:v>42626</c:v>
                </c:pt>
                <c:pt idx="1047">
                  <c:v>42627</c:v>
                </c:pt>
                <c:pt idx="1048">
                  <c:v>42628</c:v>
                </c:pt>
                <c:pt idx="1049">
                  <c:v>42629</c:v>
                </c:pt>
                <c:pt idx="1050">
                  <c:v>42632</c:v>
                </c:pt>
                <c:pt idx="1051">
                  <c:v>42633</c:v>
                </c:pt>
                <c:pt idx="1052">
                  <c:v>42634</c:v>
                </c:pt>
                <c:pt idx="1053">
                  <c:v>42635</c:v>
                </c:pt>
                <c:pt idx="1054">
                  <c:v>42636</c:v>
                </c:pt>
                <c:pt idx="1055">
                  <c:v>42639</c:v>
                </c:pt>
                <c:pt idx="1056">
                  <c:v>42640</c:v>
                </c:pt>
                <c:pt idx="1057">
                  <c:v>42641</c:v>
                </c:pt>
                <c:pt idx="1058">
                  <c:v>42642</c:v>
                </c:pt>
                <c:pt idx="1059">
                  <c:v>42643</c:v>
                </c:pt>
                <c:pt idx="1060">
                  <c:v>42646</c:v>
                </c:pt>
                <c:pt idx="1061">
                  <c:v>42647</c:v>
                </c:pt>
                <c:pt idx="1062">
                  <c:v>42648</c:v>
                </c:pt>
                <c:pt idx="1063">
                  <c:v>42649</c:v>
                </c:pt>
                <c:pt idx="1064">
                  <c:v>42650</c:v>
                </c:pt>
                <c:pt idx="1065">
                  <c:v>42653</c:v>
                </c:pt>
                <c:pt idx="1066">
                  <c:v>42654</c:v>
                </c:pt>
                <c:pt idx="1067">
                  <c:v>42655</c:v>
                </c:pt>
                <c:pt idx="1068">
                  <c:v>42656</c:v>
                </c:pt>
                <c:pt idx="1069">
                  <c:v>42657</c:v>
                </c:pt>
                <c:pt idx="1070">
                  <c:v>42660</c:v>
                </c:pt>
                <c:pt idx="1071">
                  <c:v>42661</c:v>
                </c:pt>
                <c:pt idx="1072">
                  <c:v>42662</c:v>
                </c:pt>
                <c:pt idx="1073">
                  <c:v>42663</c:v>
                </c:pt>
                <c:pt idx="1074">
                  <c:v>42664</c:v>
                </c:pt>
                <c:pt idx="1075">
                  <c:v>42667</c:v>
                </c:pt>
                <c:pt idx="1076">
                  <c:v>42668</c:v>
                </c:pt>
                <c:pt idx="1077">
                  <c:v>42669</c:v>
                </c:pt>
                <c:pt idx="1078">
                  <c:v>42670</c:v>
                </c:pt>
                <c:pt idx="1079">
                  <c:v>42671</c:v>
                </c:pt>
                <c:pt idx="1080">
                  <c:v>42674</c:v>
                </c:pt>
                <c:pt idx="1081">
                  <c:v>42675</c:v>
                </c:pt>
                <c:pt idx="1082">
                  <c:v>42676</c:v>
                </c:pt>
                <c:pt idx="1083">
                  <c:v>42677</c:v>
                </c:pt>
                <c:pt idx="1084">
                  <c:v>42678</c:v>
                </c:pt>
                <c:pt idx="1085">
                  <c:v>42681</c:v>
                </c:pt>
                <c:pt idx="1086">
                  <c:v>42682</c:v>
                </c:pt>
                <c:pt idx="1087">
                  <c:v>42683</c:v>
                </c:pt>
                <c:pt idx="1088">
                  <c:v>42684</c:v>
                </c:pt>
                <c:pt idx="1089">
                  <c:v>42685</c:v>
                </c:pt>
                <c:pt idx="1090">
                  <c:v>42688</c:v>
                </c:pt>
                <c:pt idx="1091">
                  <c:v>42689</c:v>
                </c:pt>
                <c:pt idx="1092">
                  <c:v>42690</c:v>
                </c:pt>
                <c:pt idx="1093">
                  <c:v>42691</c:v>
                </c:pt>
                <c:pt idx="1094">
                  <c:v>42692</c:v>
                </c:pt>
                <c:pt idx="1095">
                  <c:v>42695</c:v>
                </c:pt>
                <c:pt idx="1096">
                  <c:v>42696</c:v>
                </c:pt>
                <c:pt idx="1097">
                  <c:v>42697</c:v>
                </c:pt>
                <c:pt idx="1098">
                  <c:v>42698</c:v>
                </c:pt>
                <c:pt idx="1099">
                  <c:v>42699</c:v>
                </c:pt>
                <c:pt idx="1100">
                  <c:v>42702</c:v>
                </c:pt>
                <c:pt idx="1101">
                  <c:v>42703</c:v>
                </c:pt>
                <c:pt idx="1102">
                  <c:v>42704</c:v>
                </c:pt>
                <c:pt idx="1103">
                  <c:v>42705</c:v>
                </c:pt>
                <c:pt idx="1104">
                  <c:v>42706</c:v>
                </c:pt>
                <c:pt idx="1105">
                  <c:v>42709</c:v>
                </c:pt>
                <c:pt idx="1106">
                  <c:v>42710</c:v>
                </c:pt>
                <c:pt idx="1107">
                  <c:v>42711</c:v>
                </c:pt>
                <c:pt idx="1108">
                  <c:v>42712</c:v>
                </c:pt>
                <c:pt idx="1109">
                  <c:v>42713</c:v>
                </c:pt>
                <c:pt idx="1110">
                  <c:v>42716</c:v>
                </c:pt>
                <c:pt idx="1111">
                  <c:v>42717</c:v>
                </c:pt>
                <c:pt idx="1112">
                  <c:v>42718</c:v>
                </c:pt>
                <c:pt idx="1113">
                  <c:v>42719</c:v>
                </c:pt>
                <c:pt idx="1114">
                  <c:v>42720</c:v>
                </c:pt>
                <c:pt idx="1115">
                  <c:v>42723</c:v>
                </c:pt>
                <c:pt idx="1116">
                  <c:v>42724</c:v>
                </c:pt>
                <c:pt idx="1117">
                  <c:v>42725</c:v>
                </c:pt>
                <c:pt idx="1118">
                  <c:v>42726</c:v>
                </c:pt>
                <c:pt idx="1119">
                  <c:v>42727</c:v>
                </c:pt>
                <c:pt idx="1120">
                  <c:v>42730</c:v>
                </c:pt>
                <c:pt idx="1121">
                  <c:v>42731</c:v>
                </c:pt>
                <c:pt idx="1122">
                  <c:v>42732</c:v>
                </c:pt>
                <c:pt idx="1123">
                  <c:v>42733</c:v>
                </c:pt>
                <c:pt idx="1124">
                  <c:v>42734</c:v>
                </c:pt>
                <c:pt idx="1125">
                  <c:v>42737</c:v>
                </c:pt>
                <c:pt idx="1126">
                  <c:v>42738</c:v>
                </c:pt>
                <c:pt idx="1127">
                  <c:v>42739</c:v>
                </c:pt>
                <c:pt idx="1128">
                  <c:v>42740</c:v>
                </c:pt>
                <c:pt idx="1129">
                  <c:v>42741</c:v>
                </c:pt>
                <c:pt idx="1130">
                  <c:v>42744</c:v>
                </c:pt>
                <c:pt idx="1131">
                  <c:v>42745</c:v>
                </c:pt>
                <c:pt idx="1132">
                  <c:v>42746</c:v>
                </c:pt>
                <c:pt idx="1133">
                  <c:v>42747</c:v>
                </c:pt>
                <c:pt idx="1134">
                  <c:v>42748</c:v>
                </c:pt>
                <c:pt idx="1135">
                  <c:v>42751</c:v>
                </c:pt>
                <c:pt idx="1136">
                  <c:v>42752</c:v>
                </c:pt>
                <c:pt idx="1137">
                  <c:v>42753</c:v>
                </c:pt>
                <c:pt idx="1138">
                  <c:v>42754</c:v>
                </c:pt>
                <c:pt idx="1139">
                  <c:v>42755</c:v>
                </c:pt>
                <c:pt idx="1140">
                  <c:v>42758</c:v>
                </c:pt>
                <c:pt idx="1141">
                  <c:v>42759</c:v>
                </c:pt>
                <c:pt idx="1142">
                  <c:v>42760</c:v>
                </c:pt>
                <c:pt idx="1143">
                  <c:v>42761</c:v>
                </c:pt>
                <c:pt idx="1144">
                  <c:v>42762</c:v>
                </c:pt>
                <c:pt idx="1145">
                  <c:v>42765</c:v>
                </c:pt>
                <c:pt idx="1146">
                  <c:v>42766</c:v>
                </c:pt>
                <c:pt idx="1147">
                  <c:v>42767</c:v>
                </c:pt>
                <c:pt idx="1148">
                  <c:v>42768</c:v>
                </c:pt>
                <c:pt idx="1149">
                  <c:v>42769</c:v>
                </c:pt>
                <c:pt idx="1150">
                  <c:v>42772</c:v>
                </c:pt>
                <c:pt idx="1151">
                  <c:v>42773</c:v>
                </c:pt>
                <c:pt idx="1152">
                  <c:v>42774</c:v>
                </c:pt>
                <c:pt idx="1153">
                  <c:v>42775</c:v>
                </c:pt>
                <c:pt idx="1154">
                  <c:v>42776</c:v>
                </c:pt>
                <c:pt idx="1155">
                  <c:v>42779</c:v>
                </c:pt>
                <c:pt idx="1156">
                  <c:v>42780</c:v>
                </c:pt>
                <c:pt idx="1157">
                  <c:v>42781</c:v>
                </c:pt>
                <c:pt idx="1158">
                  <c:v>42782</c:v>
                </c:pt>
                <c:pt idx="1159">
                  <c:v>42783</c:v>
                </c:pt>
                <c:pt idx="1160">
                  <c:v>42786</c:v>
                </c:pt>
                <c:pt idx="1161">
                  <c:v>42787</c:v>
                </c:pt>
                <c:pt idx="1162">
                  <c:v>42788</c:v>
                </c:pt>
                <c:pt idx="1163">
                  <c:v>42789</c:v>
                </c:pt>
                <c:pt idx="1164">
                  <c:v>42790</c:v>
                </c:pt>
                <c:pt idx="1165">
                  <c:v>42793</c:v>
                </c:pt>
                <c:pt idx="1166">
                  <c:v>42794</c:v>
                </c:pt>
                <c:pt idx="1167">
                  <c:v>42795</c:v>
                </c:pt>
                <c:pt idx="1168">
                  <c:v>42796</c:v>
                </c:pt>
                <c:pt idx="1169">
                  <c:v>42797</c:v>
                </c:pt>
                <c:pt idx="1170">
                  <c:v>42800</c:v>
                </c:pt>
                <c:pt idx="1171">
                  <c:v>42801</c:v>
                </c:pt>
                <c:pt idx="1172">
                  <c:v>42802</c:v>
                </c:pt>
                <c:pt idx="1173">
                  <c:v>42803</c:v>
                </c:pt>
                <c:pt idx="1174">
                  <c:v>42804</c:v>
                </c:pt>
                <c:pt idx="1175">
                  <c:v>42807</c:v>
                </c:pt>
                <c:pt idx="1176">
                  <c:v>42808</c:v>
                </c:pt>
                <c:pt idx="1177">
                  <c:v>42809</c:v>
                </c:pt>
                <c:pt idx="1178">
                  <c:v>42810</c:v>
                </c:pt>
                <c:pt idx="1179">
                  <c:v>42811</c:v>
                </c:pt>
                <c:pt idx="1180">
                  <c:v>42814</c:v>
                </c:pt>
                <c:pt idx="1181">
                  <c:v>42815</c:v>
                </c:pt>
                <c:pt idx="1182">
                  <c:v>42816</c:v>
                </c:pt>
                <c:pt idx="1183">
                  <c:v>42817</c:v>
                </c:pt>
                <c:pt idx="1184">
                  <c:v>42818</c:v>
                </c:pt>
                <c:pt idx="1185">
                  <c:v>42821</c:v>
                </c:pt>
                <c:pt idx="1186">
                  <c:v>42822</c:v>
                </c:pt>
                <c:pt idx="1187">
                  <c:v>42823</c:v>
                </c:pt>
                <c:pt idx="1188">
                  <c:v>42824</c:v>
                </c:pt>
                <c:pt idx="1189">
                  <c:v>42825</c:v>
                </c:pt>
                <c:pt idx="1190">
                  <c:v>42828</c:v>
                </c:pt>
                <c:pt idx="1191">
                  <c:v>42829</c:v>
                </c:pt>
                <c:pt idx="1192">
                  <c:v>42830</c:v>
                </c:pt>
                <c:pt idx="1193">
                  <c:v>42831</c:v>
                </c:pt>
                <c:pt idx="1194">
                  <c:v>42832</c:v>
                </c:pt>
                <c:pt idx="1195">
                  <c:v>42835</c:v>
                </c:pt>
                <c:pt idx="1196">
                  <c:v>42836</c:v>
                </c:pt>
                <c:pt idx="1197">
                  <c:v>42837</c:v>
                </c:pt>
                <c:pt idx="1198">
                  <c:v>42838</c:v>
                </c:pt>
                <c:pt idx="1199">
                  <c:v>42839</c:v>
                </c:pt>
                <c:pt idx="1200">
                  <c:v>42842</c:v>
                </c:pt>
                <c:pt idx="1201">
                  <c:v>42843</c:v>
                </c:pt>
                <c:pt idx="1202">
                  <c:v>42844</c:v>
                </c:pt>
                <c:pt idx="1203">
                  <c:v>42845</c:v>
                </c:pt>
                <c:pt idx="1204">
                  <c:v>42846</c:v>
                </c:pt>
                <c:pt idx="1205">
                  <c:v>42849</c:v>
                </c:pt>
                <c:pt idx="1206">
                  <c:v>42850</c:v>
                </c:pt>
                <c:pt idx="1207">
                  <c:v>42851</c:v>
                </c:pt>
                <c:pt idx="1208">
                  <c:v>42852</c:v>
                </c:pt>
                <c:pt idx="1209">
                  <c:v>42853</c:v>
                </c:pt>
                <c:pt idx="1210">
                  <c:v>42856</c:v>
                </c:pt>
                <c:pt idx="1211">
                  <c:v>42857</c:v>
                </c:pt>
                <c:pt idx="1212">
                  <c:v>42858</c:v>
                </c:pt>
                <c:pt idx="1213">
                  <c:v>42859</c:v>
                </c:pt>
                <c:pt idx="1214">
                  <c:v>42860</c:v>
                </c:pt>
                <c:pt idx="1215">
                  <c:v>42863</c:v>
                </c:pt>
                <c:pt idx="1216">
                  <c:v>42864</c:v>
                </c:pt>
                <c:pt idx="1217">
                  <c:v>42865</c:v>
                </c:pt>
                <c:pt idx="1218">
                  <c:v>42866</c:v>
                </c:pt>
                <c:pt idx="1219">
                  <c:v>42867</c:v>
                </c:pt>
                <c:pt idx="1220">
                  <c:v>42870</c:v>
                </c:pt>
                <c:pt idx="1221">
                  <c:v>42871</c:v>
                </c:pt>
                <c:pt idx="1222">
                  <c:v>42872</c:v>
                </c:pt>
                <c:pt idx="1223">
                  <c:v>42873</c:v>
                </c:pt>
                <c:pt idx="1224">
                  <c:v>42874</c:v>
                </c:pt>
                <c:pt idx="1225">
                  <c:v>42877</c:v>
                </c:pt>
                <c:pt idx="1226">
                  <c:v>42878</c:v>
                </c:pt>
                <c:pt idx="1227">
                  <c:v>42879</c:v>
                </c:pt>
                <c:pt idx="1228">
                  <c:v>42880</c:v>
                </c:pt>
                <c:pt idx="1229">
                  <c:v>42881</c:v>
                </c:pt>
                <c:pt idx="1230">
                  <c:v>42884</c:v>
                </c:pt>
                <c:pt idx="1231">
                  <c:v>42885</c:v>
                </c:pt>
                <c:pt idx="1232">
                  <c:v>42886</c:v>
                </c:pt>
                <c:pt idx="1233">
                  <c:v>42887</c:v>
                </c:pt>
                <c:pt idx="1234">
                  <c:v>42888</c:v>
                </c:pt>
                <c:pt idx="1235">
                  <c:v>42891</c:v>
                </c:pt>
                <c:pt idx="1236">
                  <c:v>42892</c:v>
                </c:pt>
                <c:pt idx="1237">
                  <c:v>42893</c:v>
                </c:pt>
                <c:pt idx="1238">
                  <c:v>42894</c:v>
                </c:pt>
                <c:pt idx="1239">
                  <c:v>42895</c:v>
                </c:pt>
                <c:pt idx="1240">
                  <c:v>42898</c:v>
                </c:pt>
                <c:pt idx="1241">
                  <c:v>42899</c:v>
                </c:pt>
                <c:pt idx="1242">
                  <c:v>42900</c:v>
                </c:pt>
                <c:pt idx="1243">
                  <c:v>42901</c:v>
                </c:pt>
                <c:pt idx="1244">
                  <c:v>42902</c:v>
                </c:pt>
                <c:pt idx="1245">
                  <c:v>42905</c:v>
                </c:pt>
                <c:pt idx="1246">
                  <c:v>42906</c:v>
                </c:pt>
                <c:pt idx="1247">
                  <c:v>42907</c:v>
                </c:pt>
                <c:pt idx="1248">
                  <c:v>42908</c:v>
                </c:pt>
                <c:pt idx="1249">
                  <c:v>42909</c:v>
                </c:pt>
                <c:pt idx="1250">
                  <c:v>42912</c:v>
                </c:pt>
                <c:pt idx="1251">
                  <c:v>42913</c:v>
                </c:pt>
                <c:pt idx="1252">
                  <c:v>42914</c:v>
                </c:pt>
                <c:pt idx="1253">
                  <c:v>42915</c:v>
                </c:pt>
                <c:pt idx="1254">
                  <c:v>42916</c:v>
                </c:pt>
                <c:pt idx="1255">
                  <c:v>42919</c:v>
                </c:pt>
                <c:pt idx="1256">
                  <c:v>42920</c:v>
                </c:pt>
                <c:pt idx="1257">
                  <c:v>42921</c:v>
                </c:pt>
                <c:pt idx="1258">
                  <c:v>42922</c:v>
                </c:pt>
                <c:pt idx="1259">
                  <c:v>42923</c:v>
                </c:pt>
                <c:pt idx="1260">
                  <c:v>42926</c:v>
                </c:pt>
                <c:pt idx="1261">
                  <c:v>42927</c:v>
                </c:pt>
                <c:pt idx="1262">
                  <c:v>42928</c:v>
                </c:pt>
                <c:pt idx="1263">
                  <c:v>42929</c:v>
                </c:pt>
                <c:pt idx="1264">
                  <c:v>42930</c:v>
                </c:pt>
                <c:pt idx="1265">
                  <c:v>42933</c:v>
                </c:pt>
                <c:pt idx="1266">
                  <c:v>42934</c:v>
                </c:pt>
                <c:pt idx="1267">
                  <c:v>42935</c:v>
                </c:pt>
                <c:pt idx="1268">
                  <c:v>42936</c:v>
                </c:pt>
                <c:pt idx="1269">
                  <c:v>42937</c:v>
                </c:pt>
                <c:pt idx="1270">
                  <c:v>42940</c:v>
                </c:pt>
                <c:pt idx="1271">
                  <c:v>42941</c:v>
                </c:pt>
                <c:pt idx="1272">
                  <c:v>42942</c:v>
                </c:pt>
                <c:pt idx="1273">
                  <c:v>42943</c:v>
                </c:pt>
                <c:pt idx="1274">
                  <c:v>42944</c:v>
                </c:pt>
                <c:pt idx="1275">
                  <c:v>42947</c:v>
                </c:pt>
                <c:pt idx="1276">
                  <c:v>42948</c:v>
                </c:pt>
                <c:pt idx="1277">
                  <c:v>42949</c:v>
                </c:pt>
                <c:pt idx="1278">
                  <c:v>42950</c:v>
                </c:pt>
                <c:pt idx="1279">
                  <c:v>42951</c:v>
                </c:pt>
                <c:pt idx="1280">
                  <c:v>42954</c:v>
                </c:pt>
                <c:pt idx="1281">
                  <c:v>42955</c:v>
                </c:pt>
                <c:pt idx="1282">
                  <c:v>42956</c:v>
                </c:pt>
                <c:pt idx="1283">
                  <c:v>42957</c:v>
                </c:pt>
                <c:pt idx="1284">
                  <c:v>42958</c:v>
                </c:pt>
                <c:pt idx="1285">
                  <c:v>42961</c:v>
                </c:pt>
                <c:pt idx="1286">
                  <c:v>42962</c:v>
                </c:pt>
                <c:pt idx="1287">
                  <c:v>42963</c:v>
                </c:pt>
                <c:pt idx="1288">
                  <c:v>42964</c:v>
                </c:pt>
                <c:pt idx="1289">
                  <c:v>42965</c:v>
                </c:pt>
                <c:pt idx="1290">
                  <c:v>42968</c:v>
                </c:pt>
                <c:pt idx="1291">
                  <c:v>42969</c:v>
                </c:pt>
                <c:pt idx="1292">
                  <c:v>42970</c:v>
                </c:pt>
                <c:pt idx="1293">
                  <c:v>42971</c:v>
                </c:pt>
                <c:pt idx="1294">
                  <c:v>42972</c:v>
                </c:pt>
                <c:pt idx="1295">
                  <c:v>42975</c:v>
                </c:pt>
                <c:pt idx="1296">
                  <c:v>42976</c:v>
                </c:pt>
                <c:pt idx="1297">
                  <c:v>42977</c:v>
                </c:pt>
                <c:pt idx="1298">
                  <c:v>42978</c:v>
                </c:pt>
                <c:pt idx="1299">
                  <c:v>42979</c:v>
                </c:pt>
                <c:pt idx="1300">
                  <c:v>42982</c:v>
                </c:pt>
                <c:pt idx="1301">
                  <c:v>42983</c:v>
                </c:pt>
                <c:pt idx="1302">
                  <c:v>42984</c:v>
                </c:pt>
                <c:pt idx="1303">
                  <c:v>42985</c:v>
                </c:pt>
                <c:pt idx="1304">
                  <c:v>42986</c:v>
                </c:pt>
                <c:pt idx="1305">
                  <c:v>42989</c:v>
                </c:pt>
                <c:pt idx="1306">
                  <c:v>42990</c:v>
                </c:pt>
                <c:pt idx="1307">
                  <c:v>42991</c:v>
                </c:pt>
                <c:pt idx="1308">
                  <c:v>42992</c:v>
                </c:pt>
                <c:pt idx="1309">
                  <c:v>42993</c:v>
                </c:pt>
                <c:pt idx="1310">
                  <c:v>42996</c:v>
                </c:pt>
                <c:pt idx="1311">
                  <c:v>42997</c:v>
                </c:pt>
                <c:pt idx="1312">
                  <c:v>42998</c:v>
                </c:pt>
                <c:pt idx="1313">
                  <c:v>42999</c:v>
                </c:pt>
                <c:pt idx="1314">
                  <c:v>43000</c:v>
                </c:pt>
                <c:pt idx="1315">
                  <c:v>43003</c:v>
                </c:pt>
                <c:pt idx="1316">
                  <c:v>43004</c:v>
                </c:pt>
                <c:pt idx="1317">
                  <c:v>43005</c:v>
                </c:pt>
                <c:pt idx="1318">
                  <c:v>43006</c:v>
                </c:pt>
                <c:pt idx="1319">
                  <c:v>43007</c:v>
                </c:pt>
                <c:pt idx="1320">
                  <c:v>43010</c:v>
                </c:pt>
                <c:pt idx="1321">
                  <c:v>43011</c:v>
                </c:pt>
                <c:pt idx="1322">
                  <c:v>43012</c:v>
                </c:pt>
                <c:pt idx="1323">
                  <c:v>43013</c:v>
                </c:pt>
                <c:pt idx="1324">
                  <c:v>43014</c:v>
                </c:pt>
                <c:pt idx="1325">
                  <c:v>43017</c:v>
                </c:pt>
                <c:pt idx="1326">
                  <c:v>43018</c:v>
                </c:pt>
                <c:pt idx="1327">
                  <c:v>43019</c:v>
                </c:pt>
                <c:pt idx="1328">
                  <c:v>43020</c:v>
                </c:pt>
                <c:pt idx="1329">
                  <c:v>43021</c:v>
                </c:pt>
                <c:pt idx="1330">
                  <c:v>43024</c:v>
                </c:pt>
                <c:pt idx="1331">
                  <c:v>43025</c:v>
                </c:pt>
                <c:pt idx="1332">
                  <c:v>43026</c:v>
                </c:pt>
                <c:pt idx="1333">
                  <c:v>43027</c:v>
                </c:pt>
                <c:pt idx="1334">
                  <c:v>43028</c:v>
                </c:pt>
                <c:pt idx="1335">
                  <c:v>43031</c:v>
                </c:pt>
                <c:pt idx="1336">
                  <c:v>43032</c:v>
                </c:pt>
                <c:pt idx="1337">
                  <c:v>43033</c:v>
                </c:pt>
                <c:pt idx="1338">
                  <c:v>43034</c:v>
                </c:pt>
                <c:pt idx="1339">
                  <c:v>43035</c:v>
                </c:pt>
                <c:pt idx="1340">
                  <c:v>43038</c:v>
                </c:pt>
                <c:pt idx="1341">
                  <c:v>43039</c:v>
                </c:pt>
                <c:pt idx="1342">
                  <c:v>43040</c:v>
                </c:pt>
                <c:pt idx="1343">
                  <c:v>43041</c:v>
                </c:pt>
                <c:pt idx="1344">
                  <c:v>43042</c:v>
                </c:pt>
                <c:pt idx="1345">
                  <c:v>43045</c:v>
                </c:pt>
                <c:pt idx="1346">
                  <c:v>43046</c:v>
                </c:pt>
                <c:pt idx="1347">
                  <c:v>43047</c:v>
                </c:pt>
                <c:pt idx="1348">
                  <c:v>43048</c:v>
                </c:pt>
                <c:pt idx="1349">
                  <c:v>43049</c:v>
                </c:pt>
                <c:pt idx="1350">
                  <c:v>43052</c:v>
                </c:pt>
                <c:pt idx="1351">
                  <c:v>43053</c:v>
                </c:pt>
                <c:pt idx="1352">
                  <c:v>43054</c:v>
                </c:pt>
                <c:pt idx="1353">
                  <c:v>43055</c:v>
                </c:pt>
                <c:pt idx="1354">
                  <c:v>43056</c:v>
                </c:pt>
                <c:pt idx="1355">
                  <c:v>43059</c:v>
                </c:pt>
                <c:pt idx="1356">
                  <c:v>43060</c:v>
                </c:pt>
                <c:pt idx="1357">
                  <c:v>43061</c:v>
                </c:pt>
                <c:pt idx="1358">
                  <c:v>43062</c:v>
                </c:pt>
                <c:pt idx="1359">
                  <c:v>43063</c:v>
                </c:pt>
                <c:pt idx="1360">
                  <c:v>43066</c:v>
                </c:pt>
                <c:pt idx="1361">
                  <c:v>43067</c:v>
                </c:pt>
                <c:pt idx="1362">
                  <c:v>43068</c:v>
                </c:pt>
                <c:pt idx="1363">
                  <c:v>43069</c:v>
                </c:pt>
                <c:pt idx="1364">
                  <c:v>43070</c:v>
                </c:pt>
                <c:pt idx="1365">
                  <c:v>43073</c:v>
                </c:pt>
                <c:pt idx="1366">
                  <c:v>43074</c:v>
                </c:pt>
                <c:pt idx="1367">
                  <c:v>43075</c:v>
                </c:pt>
                <c:pt idx="1368">
                  <c:v>43076</c:v>
                </c:pt>
                <c:pt idx="1369">
                  <c:v>43077</c:v>
                </c:pt>
                <c:pt idx="1370">
                  <c:v>43080</c:v>
                </c:pt>
                <c:pt idx="1371">
                  <c:v>43081</c:v>
                </c:pt>
                <c:pt idx="1372">
                  <c:v>43082</c:v>
                </c:pt>
                <c:pt idx="1373">
                  <c:v>43083</c:v>
                </c:pt>
                <c:pt idx="1374">
                  <c:v>43084</c:v>
                </c:pt>
                <c:pt idx="1375">
                  <c:v>43087</c:v>
                </c:pt>
                <c:pt idx="1376">
                  <c:v>43088</c:v>
                </c:pt>
                <c:pt idx="1377">
                  <c:v>43089</c:v>
                </c:pt>
                <c:pt idx="1378">
                  <c:v>43090</c:v>
                </c:pt>
                <c:pt idx="1379">
                  <c:v>43091</c:v>
                </c:pt>
                <c:pt idx="1380">
                  <c:v>43094</c:v>
                </c:pt>
                <c:pt idx="1381">
                  <c:v>43095</c:v>
                </c:pt>
                <c:pt idx="1382">
                  <c:v>43096</c:v>
                </c:pt>
                <c:pt idx="1383">
                  <c:v>43097</c:v>
                </c:pt>
                <c:pt idx="1384">
                  <c:v>43098</c:v>
                </c:pt>
                <c:pt idx="1385">
                  <c:v>43102</c:v>
                </c:pt>
                <c:pt idx="1386">
                  <c:v>43103</c:v>
                </c:pt>
                <c:pt idx="1387">
                  <c:v>43104</c:v>
                </c:pt>
                <c:pt idx="1388">
                  <c:v>43105</c:v>
                </c:pt>
                <c:pt idx="1389">
                  <c:v>43108</c:v>
                </c:pt>
                <c:pt idx="1390">
                  <c:v>43109</c:v>
                </c:pt>
                <c:pt idx="1391">
                  <c:v>43110</c:v>
                </c:pt>
                <c:pt idx="1392">
                  <c:v>43111</c:v>
                </c:pt>
                <c:pt idx="1393">
                  <c:v>43112</c:v>
                </c:pt>
                <c:pt idx="1394">
                  <c:v>43115</c:v>
                </c:pt>
                <c:pt idx="1395">
                  <c:v>43116</c:v>
                </c:pt>
                <c:pt idx="1396">
                  <c:v>43117</c:v>
                </c:pt>
                <c:pt idx="1397">
                  <c:v>43118</c:v>
                </c:pt>
                <c:pt idx="1398">
                  <c:v>43119</c:v>
                </c:pt>
                <c:pt idx="1399">
                  <c:v>43122</c:v>
                </c:pt>
                <c:pt idx="1400">
                  <c:v>43123</c:v>
                </c:pt>
                <c:pt idx="1401">
                  <c:v>43124</c:v>
                </c:pt>
                <c:pt idx="1402">
                  <c:v>43125</c:v>
                </c:pt>
                <c:pt idx="1403">
                  <c:v>43126</c:v>
                </c:pt>
                <c:pt idx="1404">
                  <c:v>43129</c:v>
                </c:pt>
                <c:pt idx="1405">
                  <c:v>43130</c:v>
                </c:pt>
                <c:pt idx="1406">
                  <c:v>43131</c:v>
                </c:pt>
                <c:pt idx="1407">
                  <c:v>43132</c:v>
                </c:pt>
                <c:pt idx="1408">
                  <c:v>43133</c:v>
                </c:pt>
                <c:pt idx="1409">
                  <c:v>43136</c:v>
                </c:pt>
                <c:pt idx="1410">
                  <c:v>43137</c:v>
                </c:pt>
                <c:pt idx="1411">
                  <c:v>43138</c:v>
                </c:pt>
                <c:pt idx="1412">
                  <c:v>43139</c:v>
                </c:pt>
                <c:pt idx="1413">
                  <c:v>43140</c:v>
                </c:pt>
                <c:pt idx="1414">
                  <c:v>43143</c:v>
                </c:pt>
                <c:pt idx="1415">
                  <c:v>43144</c:v>
                </c:pt>
                <c:pt idx="1416">
                  <c:v>43145</c:v>
                </c:pt>
                <c:pt idx="1417">
                  <c:v>43146</c:v>
                </c:pt>
                <c:pt idx="1418">
                  <c:v>43147</c:v>
                </c:pt>
                <c:pt idx="1419">
                  <c:v>43150</c:v>
                </c:pt>
                <c:pt idx="1420">
                  <c:v>43151</c:v>
                </c:pt>
                <c:pt idx="1421">
                  <c:v>43152</c:v>
                </c:pt>
                <c:pt idx="1422">
                  <c:v>43153</c:v>
                </c:pt>
                <c:pt idx="1423">
                  <c:v>43154</c:v>
                </c:pt>
                <c:pt idx="1424">
                  <c:v>43157</c:v>
                </c:pt>
                <c:pt idx="1425">
                  <c:v>43158</c:v>
                </c:pt>
                <c:pt idx="1426">
                  <c:v>43159</c:v>
                </c:pt>
                <c:pt idx="1427">
                  <c:v>43160</c:v>
                </c:pt>
                <c:pt idx="1428">
                  <c:v>43161</c:v>
                </c:pt>
                <c:pt idx="1429">
                  <c:v>43164</c:v>
                </c:pt>
                <c:pt idx="1430">
                  <c:v>43165</c:v>
                </c:pt>
                <c:pt idx="1431">
                  <c:v>43166</c:v>
                </c:pt>
                <c:pt idx="1432">
                  <c:v>43167</c:v>
                </c:pt>
                <c:pt idx="1433">
                  <c:v>43168</c:v>
                </c:pt>
                <c:pt idx="1434">
                  <c:v>43171</c:v>
                </c:pt>
                <c:pt idx="1435">
                  <c:v>43172</c:v>
                </c:pt>
                <c:pt idx="1436">
                  <c:v>43173</c:v>
                </c:pt>
                <c:pt idx="1437">
                  <c:v>43174</c:v>
                </c:pt>
                <c:pt idx="1438">
                  <c:v>43175</c:v>
                </c:pt>
                <c:pt idx="1439">
                  <c:v>43178</c:v>
                </c:pt>
                <c:pt idx="1440">
                  <c:v>43179</c:v>
                </c:pt>
                <c:pt idx="1441">
                  <c:v>43180</c:v>
                </c:pt>
                <c:pt idx="1442">
                  <c:v>43181</c:v>
                </c:pt>
                <c:pt idx="1443">
                  <c:v>43182</c:v>
                </c:pt>
                <c:pt idx="1444">
                  <c:v>43185</c:v>
                </c:pt>
                <c:pt idx="1445">
                  <c:v>43186</c:v>
                </c:pt>
                <c:pt idx="1446">
                  <c:v>43187</c:v>
                </c:pt>
                <c:pt idx="1447">
                  <c:v>43188</c:v>
                </c:pt>
                <c:pt idx="1448">
                  <c:v>43189</c:v>
                </c:pt>
                <c:pt idx="1449">
                  <c:v>43192</c:v>
                </c:pt>
                <c:pt idx="1450">
                  <c:v>43193</c:v>
                </c:pt>
                <c:pt idx="1451">
                  <c:v>43194</c:v>
                </c:pt>
                <c:pt idx="1452">
                  <c:v>43195</c:v>
                </c:pt>
                <c:pt idx="1453">
                  <c:v>43196</c:v>
                </c:pt>
                <c:pt idx="1454">
                  <c:v>43199</c:v>
                </c:pt>
                <c:pt idx="1455">
                  <c:v>43200</c:v>
                </c:pt>
                <c:pt idx="1456">
                  <c:v>43201</c:v>
                </c:pt>
                <c:pt idx="1457">
                  <c:v>43202</c:v>
                </c:pt>
                <c:pt idx="1458">
                  <c:v>43203</c:v>
                </c:pt>
                <c:pt idx="1459">
                  <c:v>43206</c:v>
                </c:pt>
                <c:pt idx="1460">
                  <c:v>43207</c:v>
                </c:pt>
                <c:pt idx="1461">
                  <c:v>43208</c:v>
                </c:pt>
                <c:pt idx="1462">
                  <c:v>43209</c:v>
                </c:pt>
                <c:pt idx="1463">
                  <c:v>43210</c:v>
                </c:pt>
                <c:pt idx="1464">
                  <c:v>43213</c:v>
                </c:pt>
                <c:pt idx="1465">
                  <c:v>43214</c:v>
                </c:pt>
                <c:pt idx="1466">
                  <c:v>43215</c:v>
                </c:pt>
                <c:pt idx="1467">
                  <c:v>43216</c:v>
                </c:pt>
                <c:pt idx="1468">
                  <c:v>43217</c:v>
                </c:pt>
                <c:pt idx="1469">
                  <c:v>43220</c:v>
                </c:pt>
                <c:pt idx="1470">
                  <c:v>43221</c:v>
                </c:pt>
                <c:pt idx="1471">
                  <c:v>43222</c:v>
                </c:pt>
                <c:pt idx="1472">
                  <c:v>43223</c:v>
                </c:pt>
                <c:pt idx="1473">
                  <c:v>43224</c:v>
                </c:pt>
                <c:pt idx="1474">
                  <c:v>43227</c:v>
                </c:pt>
                <c:pt idx="1475">
                  <c:v>43228</c:v>
                </c:pt>
                <c:pt idx="1476">
                  <c:v>43229</c:v>
                </c:pt>
                <c:pt idx="1477">
                  <c:v>43230</c:v>
                </c:pt>
                <c:pt idx="1478">
                  <c:v>43231</c:v>
                </c:pt>
                <c:pt idx="1479">
                  <c:v>43234</c:v>
                </c:pt>
                <c:pt idx="1480">
                  <c:v>43235</c:v>
                </c:pt>
                <c:pt idx="1481">
                  <c:v>43236</c:v>
                </c:pt>
                <c:pt idx="1482">
                  <c:v>43237</c:v>
                </c:pt>
                <c:pt idx="1483">
                  <c:v>43238</c:v>
                </c:pt>
                <c:pt idx="1484">
                  <c:v>43241</c:v>
                </c:pt>
                <c:pt idx="1485">
                  <c:v>43242</c:v>
                </c:pt>
                <c:pt idx="1486">
                  <c:v>43243</c:v>
                </c:pt>
                <c:pt idx="1487">
                  <c:v>43244</c:v>
                </c:pt>
                <c:pt idx="1488">
                  <c:v>43245</c:v>
                </c:pt>
                <c:pt idx="1489">
                  <c:v>43248</c:v>
                </c:pt>
                <c:pt idx="1490">
                  <c:v>43249</c:v>
                </c:pt>
                <c:pt idx="1491">
                  <c:v>43250</c:v>
                </c:pt>
                <c:pt idx="1492">
                  <c:v>43251</c:v>
                </c:pt>
                <c:pt idx="1493">
                  <c:v>43252</c:v>
                </c:pt>
                <c:pt idx="1494">
                  <c:v>43255</c:v>
                </c:pt>
                <c:pt idx="1495">
                  <c:v>43256</c:v>
                </c:pt>
                <c:pt idx="1496">
                  <c:v>43257</c:v>
                </c:pt>
                <c:pt idx="1497">
                  <c:v>43258</c:v>
                </c:pt>
                <c:pt idx="1498">
                  <c:v>43259</c:v>
                </c:pt>
                <c:pt idx="1499">
                  <c:v>43262</c:v>
                </c:pt>
                <c:pt idx="1500">
                  <c:v>43263</c:v>
                </c:pt>
                <c:pt idx="1501">
                  <c:v>43264</c:v>
                </c:pt>
                <c:pt idx="1502">
                  <c:v>43265</c:v>
                </c:pt>
                <c:pt idx="1503">
                  <c:v>43266</c:v>
                </c:pt>
                <c:pt idx="1504">
                  <c:v>43269</c:v>
                </c:pt>
                <c:pt idx="1505">
                  <c:v>43270</c:v>
                </c:pt>
                <c:pt idx="1506">
                  <c:v>43271</c:v>
                </c:pt>
                <c:pt idx="1507">
                  <c:v>43272</c:v>
                </c:pt>
                <c:pt idx="1508">
                  <c:v>43273</c:v>
                </c:pt>
                <c:pt idx="1509">
                  <c:v>43276</c:v>
                </c:pt>
                <c:pt idx="1510">
                  <c:v>43277</c:v>
                </c:pt>
                <c:pt idx="1511">
                  <c:v>43278</c:v>
                </c:pt>
                <c:pt idx="1512">
                  <c:v>43279</c:v>
                </c:pt>
                <c:pt idx="1513">
                  <c:v>43280</c:v>
                </c:pt>
                <c:pt idx="1514">
                  <c:v>43283</c:v>
                </c:pt>
                <c:pt idx="1515">
                  <c:v>43284</c:v>
                </c:pt>
                <c:pt idx="1516">
                  <c:v>43285</c:v>
                </c:pt>
                <c:pt idx="1517">
                  <c:v>43286</c:v>
                </c:pt>
                <c:pt idx="1518">
                  <c:v>43287</c:v>
                </c:pt>
                <c:pt idx="1519">
                  <c:v>43290</c:v>
                </c:pt>
                <c:pt idx="1520">
                  <c:v>43291</c:v>
                </c:pt>
                <c:pt idx="1521">
                  <c:v>43292</c:v>
                </c:pt>
                <c:pt idx="1522">
                  <c:v>43293</c:v>
                </c:pt>
                <c:pt idx="1523">
                  <c:v>43294</c:v>
                </c:pt>
                <c:pt idx="1524">
                  <c:v>43297</c:v>
                </c:pt>
                <c:pt idx="1525">
                  <c:v>43298</c:v>
                </c:pt>
                <c:pt idx="1526">
                  <c:v>43299</c:v>
                </c:pt>
                <c:pt idx="1527">
                  <c:v>43300</c:v>
                </c:pt>
                <c:pt idx="1528">
                  <c:v>43301</c:v>
                </c:pt>
                <c:pt idx="1529">
                  <c:v>43304</c:v>
                </c:pt>
                <c:pt idx="1530">
                  <c:v>43305</c:v>
                </c:pt>
                <c:pt idx="1531">
                  <c:v>43306</c:v>
                </c:pt>
                <c:pt idx="1532">
                  <c:v>43307</c:v>
                </c:pt>
                <c:pt idx="1533">
                  <c:v>43308</c:v>
                </c:pt>
                <c:pt idx="1534">
                  <c:v>43311</c:v>
                </c:pt>
                <c:pt idx="1535">
                  <c:v>43312</c:v>
                </c:pt>
                <c:pt idx="1536">
                  <c:v>43313</c:v>
                </c:pt>
                <c:pt idx="1537">
                  <c:v>43314</c:v>
                </c:pt>
                <c:pt idx="1538">
                  <c:v>43315</c:v>
                </c:pt>
                <c:pt idx="1539">
                  <c:v>43318</c:v>
                </c:pt>
                <c:pt idx="1540">
                  <c:v>43319</c:v>
                </c:pt>
                <c:pt idx="1541">
                  <c:v>43320</c:v>
                </c:pt>
                <c:pt idx="1542">
                  <c:v>43321</c:v>
                </c:pt>
                <c:pt idx="1543">
                  <c:v>43322</c:v>
                </c:pt>
                <c:pt idx="1544">
                  <c:v>43325</c:v>
                </c:pt>
                <c:pt idx="1545">
                  <c:v>43326</c:v>
                </c:pt>
                <c:pt idx="1546">
                  <c:v>43327</c:v>
                </c:pt>
                <c:pt idx="1547">
                  <c:v>43328</c:v>
                </c:pt>
                <c:pt idx="1548">
                  <c:v>43329</c:v>
                </c:pt>
                <c:pt idx="1549">
                  <c:v>43332</c:v>
                </c:pt>
                <c:pt idx="1550">
                  <c:v>43333</c:v>
                </c:pt>
                <c:pt idx="1551">
                  <c:v>43334</c:v>
                </c:pt>
                <c:pt idx="1552">
                  <c:v>43335</c:v>
                </c:pt>
                <c:pt idx="1553">
                  <c:v>43336</c:v>
                </c:pt>
                <c:pt idx="1554">
                  <c:v>43339</c:v>
                </c:pt>
                <c:pt idx="1555">
                  <c:v>43340</c:v>
                </c:pt>
                <c:pt idx="1556">
                  <c:v>43341</c:v>
                </c:pt>
                <c:pt idx="1557">
                  <c:v>43342</c:v>
                </c:pt>
                <c:pt idx="1558">
                  <c:v>43343</c:v>
                </c:pt>
                <c:pt idx="1559">
                  <c:v>43346</c:v>
                </c:pt>
                <c:pt idx="1560">
                  <c:v>43347</c:v>
                </c:pt>
                <c:pt idx="1561">
                  <c:v>43348</c:v>
                </c:pt>
                <c:pt idx="1562">
                  <c:v>43349</c:v>
                </c:pt>
                <c:pt idx="1563">
                  <c:v>43350</c:v>
                </c:pt>
                <c:pt idx="1564">
                  <c:v>43353</c:v>
                </c:pt>
                <c:pt idx="1565">
                  <c:v>43354</c:v>
                </c:pt>
                <c:pt idx="1566">
                  <c:v>43355</c:v>
                </c:pt>
                <c:pt idx="1567">
                  <c:v>43356</c:v>
                </c:pt>
                <c:pt idx="1568">
                  <c:v>43357</c:v>
                </c:pt>
                <c:pt idx="1569">
                  <c:v>43360</c:v>
                </c:pt>
                <c:pt idx="1570">
                  <c:v>43361</c:v>
                </c:pt>
                <c:pt idx="1571">
                  <c:v>43362</c:v>
                </c:pt>
                <c:pt idx="1572">
                  <c:v>43363</c:v>
                </c:pt>
                <c:pt idx="1573">
                  <c:v>43364</c:v>
                </c:pt>
                <c:pt idx="1574">
                  <c:v>43367</c:v>
                </c:pt>
                <c:pt idx="1575">
                  <c:v>43368</c:v>
                </c:pt>
                <c:pt idx="1576">
                  <c:v>43369</c:v>
                </c:pt>
                <c:pt idx="1577">
                  <c:v>43370</c:v>
                </c:pt>
                <c:pt idx="1578">
                  <c:v>43371</c:v>
                </c:pt>
                <c:pt idx="1579">
                  <c:v>43374</c:v>
                </c:pt>
                <c:pt idx="1580">
                  <c:v>43375</c:v>
                </c:pt>
                <c:pt idx="1581">
                  <c:v>43376</c:v>
                </c:pt>
                <c:pt idx="1582">
                  <c:v>43377</c:v>
                </c:pt>
                <c:pt idx="1583">
                  <c:v>43378</c:v>
                </c:pt>
                <c:pt idx="1584">
                  <c:v>43381</c:v>
                </c:pt>
                <c:pt idx="1585">
                  <c:v>43382</c:v>
                </c:pt>
                <c:pt idx="1586">
                  <c:v>43383</c:v>
                </c:pt>
                <c:pt idx="1587">
                  <c:v>43384</c:v>
                </c:pt>
                <c:pt idx="1588">
                  <c:v>43385</c:v>
                </c:pt>
                <c:pt idx="1589">
                  <c:v>43388</c:v>
                </c:pt>
                <c:pt idx="1590">
                  <c:v>43389</c:v>
                </c:pt>
                <c:pt idx="1591">
                  <c:v>43390</c:v>
                </c:pt>
                <c:pt idx="1592">
                  <c:v>43391</c:v>
                </c:pt>
                <c:pt idx="1593">
                  <c:v>43392</c:v>
                </c:pt>
                <c:pt idx="1594">
                  <c:v>43395</c:v>
                </c:pt>
                <c:pt idx="1595">
                  <c:v>43396</c:v>
                </c:pt>
                <c:pt idx="1596">
                  <c:v>43397</c:v>
                </c:pt>
                <c:pt idx="1597">
                  <c:v>43398</c:v>
                </c:pt>
                <c:pt idx="1598">
                  <c:v>43399</c:v>
                </c:pt>
                <c:pt idx="1599">
                  <c:v>43402</c:v>
                </c:pt>
                <c:pt idx="1600">
                  <c:v>43403</c:v>
                </c:pt>
                <c:pt idx="1601">
                  <c:v>43404</c:v>
                </c:pt>
                <c:pt idx="1602">
                  <c:v>43405</c:v>
                </c:pt>
                <c:pt idx="1603">
                  <c:v>43406</c:v>
                </c:pt>
                <c:pt idx="1604">
                  <c:v>43409</c:v>
                </c:pt>
                <c:pt idx="1605">
                  <c:v>43410</c:v>
                </c:pt>
                <c:pt idx="1606">
                  <c:v>43411</c:v>
                </c:pt>
                <c:pt idx="1607">
                  <c:v>43412</c:v>
                </c:pt>
                <c:pt idx="1608">
                  <c:v>43413</c:v>
                </c:pt>
                <c:pt idx="1609">
                  <c:v>43416</c:v>
                </c:pt>
                <c:pt idx="1610">
                  <c:v>43417</c:v>
                </c:pt>
                <c:pt idx="1611">
                  <c:v>43418</c:v>
                </c:pt>
                <c:pt idx="1612">
                  <c:v>43419</c:v>
                </c:pt>
                <c:pt idx="1613">
                  <c:v>43420</c:v>
                </c:pt>
                <c:pt idx="1614">
                  <c:v>43423</c:v>
                </c:pt>
                <c:pt idx="1615">
                  <c:v>43424</c:v>
                </c:pt>
                <c:pt idx="1616">
                  <c:v>43425</c:v>
                </c:pt>
                <c:pt idx="1617">
                  <c:v>43426</c:v>
                </c:pt>
                <c:pt idx="1618">
                  <c:v>43427</c:v>
                </c:pt>
                <c:pt idx="1619">
                  <c:v>43430</c:v>
                </c:pt>
                <c:pt idx="1620">
                  <c:v>43431</c:v>
                </c:pt>
                <c:pt idx="1621">
                  <c:v>43432</c:v>
                </c:pt>
                <c:pt idx="1622">
                  <c:v>43433</c:v>
                </c:pt>
                <c:pt idx="1623">
                  <c:v>43434</c:v>
                </c:pt>
                <c:pt idx="1624">
                  <c:v>43437</c:v>
                </c:pt>
                <c:pt idx="1625">
                  <c:v>43438</c:v>
                </c:pt>
                <c:pt idx="1626">
                  <c:v>43439</c:v>
                </c:pt>
                <c:pt idx="1627">
                  <c:v>43440</c:v>
                </c:pt>
                <c:pt idx="1628">
                  <c:v>43441</c:v>
                </c:pt>
                <c:pt idx="1629">
                  <c:v>43444</c:v>
                </c:pt>
                <c:pt idx="1630">
                  <c:v>43445</c:v>
                </c:pt>
                <c:pt idx="1631">
                  <c:v>43446</c:v>
                </c:pt>
                <c:pt idx="1632">
                  <c:v>43447</c:v>
                </c:pt>
                <c:pt idx="1633">
                  <c:v>43448</c:v>
                </c:pt>
                <c:pt idx="1634">
                  <c:v>43451</c:v>
                </c:pt>
                <c:pt idx="1635">
                  <c:v>43452</c:v>
                </c:pt>
                <c:pt idx="1636">
                  <c:v>43453</c:v>
                </c:pt>
                <c:pt idx="1637">
                  <c:v>43454</c:v>
                </c:pt>
                <c:pt idx="1638">
                  <c:v>43455</c:v>
                </c:pt>
                <c:pt idx="1639">
                  <c:v>43458</c:v>
                </c:pt>
                <c:pt idx="1640">
                  <c:v>43459</c:v>
                </c:pt>
                <c:pt idx="1641">
                  <c:v>43460</c:v>
                </c:pt>
                <c:pt idx="1642">
                  <c:v>43461</c:v>
                </c:pt>
                <c:pt idx="1643">
                  <c:v>43462</c:v>
                </c:pt>
                <c:pt idx="1644">
                  <c:v>43465</c:v>
                </c:pt>
                <c:pt idx="1645">
                  <c:v>43467</c:v>
                </c:pt>
                <c:pt idx="1646">
                  <c:v>43468</c:v>
                </c:pt>
                <c:pt idx="1647">
                  <c:v>43469</c:v>
                </c:pt>
                <c:pt idx="1648">
                  <c:v>43472</c:v>
                </c:pt>
                <c:pt idx="1649">
                  <c:v>43473</c:v>
                </c:pt>
                <c:pt idx="1650">
                  <c:v>43474</c:v>
                </c:pt>
                <c:pt idx="1651">
                  <c:v>43475</c:v>
                </c:pt>
                <c:pt idx="1652">
                  <c:v>43476</c:v>
                </c:pt>
                <c:pt idx="1653">
                  <c:v>43479</c:v>
                </c:pt>
                <c:pt idx="1654">
                  <c:v>43480</c:v>
                </c:pt>
                <c:pt idx="1655">
                  <c:v>43481</c:v>
                </c:pt>
                <c:pt idx="1656">
                  <c:v>43482</c:v>
                </c:pt>
                <c:pt idx="1657">
                  <c:v>43483</c:v>
                </c:pt>
                <c:pt idx="1658">
                  <c:v>43486</c:v>
                </c:pt>
                <c:pt idx="1659">
                  <c:v>43487</c:v>
                </c:pt>
                <c:pt idx="1660">
                  <c:v>43488</c:v>
                </c:pt>
                <c:pt idx="1661">
                  <c:v>43489</c:v>
                </c:pt>
                <c:pt idx="1662">
                  <c:v>43490</c:v>
                </c:pt>
                <c:pt idx="1663">
                  <c:v>43493</c:v>
                </c:pt>
                <c:pt idx="1664">
                  <c:v>43494</c:v>
                </c:pt>
                <c:pt idx="1665">
                  <c:v>43495</c:v>
                </c:pt>
                <c:pt idx="1666">
                  <c:v>43496</c:v>
                </c:pt>
                <c:pt idx="1667">
                  <c:v>43497</c:v>
                </c:pt>
                <c:pt idx="1668">
                  <c:v>43500</c:v>
                </c:pt>
                <c:pt idx="1669">
                  <c:v>43501</c:v>
                </c:pt>
                <c:pt idx="1670">
                  <c:v>43502</c:v>
                </c:pt>
                <c:pt idx="1671">
                  <c:v>43503</c:v>
                </c:pt>
                <c:pt idx="1672">
                  <c:v>43504</c:v>
                </c:pt>
                <c:pt idx="1673">
                  <c:v>43507</c:v>
                </c:pt>
                <c:pt idx="1674">
                  <c:v>43508</c:v>
                </c:pt>
                <c:pt idx="1675">
                  <c:v>43509</c:v>
                </c:pt>
                <c:pt idx="1676">
                  <c:v>43510</c:v>
                </c:pt>
                <c:pt idx="1677">
                  <c:v>43511</c:v>
                </c:pt>
                <c:pt idx="1678">
                  <c:v>43514</c:v>
                </c:pt>
                <c:pt idx="1679">
                  <c:v>43515</c:v>
                </c:pt>
                <c:pt idx="1680">
                  <c:v>43516</c:v>
                </c:pt>
                <c:pt idx="1681">
                  <c:v>43517</c:v>
                </c:pt>
                <c:pt idx="1682">
                  <c:v>43518</c:v>
                </c:pt>
                <c:pt idx="1683">
                  <c:v>43521</c:v>
                </c:pt>
                <c:pt idx="1684">
                  <c:v>43522</c:v>
                </c:pt>
                <c:pt idx="1685">
                  <c:v>43523</c:v>
                </c:pt>
                <c:pt idx="1686">
                  <c:v>43524</c:v>
                </c:pt>
                <c:pt idx="1687">
                  <c:v>43525</c:v>
                </c:pt>
                <c:pt idx="1688">
                  <c:v>43528</c:v>
                </c:pt>
                <c:pt idx="1689">
                  <c:v>43529</c:v>
                </c:pt>
                <c:pt idx="1690">
                  <c:v>43530</c:v>
                </c:pt>
                <c:pt idx="1691">
                  <c:v>43531</c:v>
                </c:pt>
                <c:pt idx="1692">
                  <c:v>43532</c:v>
                </c:pt>
                <c:pt idx="1693">
                  <c:v>43535</c:v>
                </c:pt>
                <c:pt idx="1694">
                  <c:v>43536</c:v>
                </c:pt>
                <c:pt idx="1695">
                  <c:v>43537</c:v>
                </c:pt>
                <c:pt idx="1696">
                  <c:v>43538</c:v>
                </c:pt>
                <c:pt idx="1697">
                  <c:v>43539</c:v>
                </c:pt>
                <c:pt idx="1698">
                  <c:v>43542</c:v>
                </c:pt>
                <c:pt idx="1699">
                  <c:v>43543</c:v>
                </c:pt>
                <c:pt idx="1700">
                  <c:v>43544</c:v>
                </c:pt>
                <c:pt idx="1701">
                  <c:v>43545</c:v>
                </c:pt>
                <c:pt idx="1702">
                  <c:v>43546</c:v>
                </c:pt>
                <c:pt idx="1703">
                  <c:v>43549</c:v>
                </c:pt>
                <c:pt idx="1704">
                  <c:v>43550</c:v>
                </c:pt>
                <c:pt idx="1705">
                  <c:v>43551</c:v>
                </c:pt>
                <c:pt idx="1706">
                  <c:v>43552</c:v>
                </c:pt>
                <c:pt idx="1707">
                  <c:v>43553</c:v>
                </c:pt>
                <c:pt idx="1708">
                  <c:v>43556</c:v>
                </c:pt>
                <c:pt idx="1709">
                  <c:v>43557</c:v>
                </c:pt>
                <c:pt idx="1710">
                  <c:v>43558</c:v>
                </c:pt>
                <c:pt idx="1711">
                  <c:v>43559</c:v>
                </c:pt>
                <c:pt idx="1712">
                  <c:v>43560</c:v>
                </c:pt>
                <c:pt idx="1713">
                  <c:v>43563</c:v>
                </c:pt>
                <c:pt idx="1714">
                  <c:v>43564</c:v>
                </c:pt>
                <c:pt idx="1715">
                  <c:v>43565</c:v>
                </c:pt>
                <c:pt idx="1716">
                  <c:v>43566</c:v>
                </c:pt>
                <c:pt idx="1717">
                  <c:v>43567</c:v>
                </c:pt>
                <c:pt idx="1718">
                  <c:v>43570</c:v>
                </c:pt>
                <c:pt idx="1719">
                  <c:v>43571</c:v>
                </c:pt>
                <c:pt idx="1720">
                  <c:v>43572</c:v>
                </c:pt>
                <c:pt idx="1721">
                  <c:v>43573</c:v>
                </c:pt>
                <c:pt idx="1722">
                  <c:v>43574</c:v>
                </c:pt>
                <c:pt idx="1723">
                  <c:v>43577</c:v>
                </c:pt>
                <c:pt idx="1724">
                  <c:v>43578</c:v>
                </c:pt>
                <c:pt idx="1725">
                  <c:v>43579</c:v>
                </c:pt>
                <c:pt idx="1726">
                  <c:v>43580</c:v>
                </c:pt>
                <c:pt idx="1727">
                  <c:v>43581</c:v>
                </c:pt>
                <c:pt idx="1728">
                  <c:v>43584</c:v>
                </c:pt>
                <c:pt idx="1729">
                  <c:v>43585</c:v>
                </c:pt>
              </c:numCache>
            </c:numRef>
          </c:cat>
          <c:val>
            <c:numRef>
              <c:f>'AWALLE target'!$H$261:$H$1990</c:f>
              <c:numCache>
                <c:formatCode>0.00</c:formatCode>
                <c:ptCount val="1730"/>
                <c:pt idx="0">
                  <c:v>0.35101608216306784</c:v>
                </c:pt>
                <c:pt idx="1">
                  <c:v>0.35124431169534165</c:v>
                </c:pt>
                <c:pt idx="2">
                  <c:v>0.35136185962455396</c:v>
                </c:pt>
                <c:pt idx="3">
                  <c:v>0.35275893642005546</c:v>
                </c:pt>
                <c:pt idx="4">
                  <c:v>0.3529575341763827</c:v>
                </c:pt>
                <c:pt idx="5">
                  <c:v>0.3532471057473538</c:v>
                </c:pt>
                <c:pt idx="6">
                  <c:v>0.35603565040407797</c:v>
                </c:pt>
                <c:pt idx="7">
                  <c:v>0.35576299826049473</c:v>
                </c:pt>
                <c:pt idx="8">
                  <c:v>0.35709248768450452</c:v>
                </c:pt>
                <c:pt idx="9">
                  <c:v>0.36122538771375901</c:v>
                </c:pt>
                <c:pt idx="10">
                  <c:v>0.36149505155386108</c:v>
                </c:pt>
                <c:pt idx="11">
                  <c:v>0.3598512449076634</c:v>
                </c:pt>
                <c:pt idx="12">
                  <c:v>0.35977914012566309</c:v>
                </c:pt>
                <c:pt idx="13">
                  <c:v>0.35990190734098459</c:v>
                </c:pt>
                <c:pt idx="14">
                  <c:v>0.35980926120530549</c:v>
                </c:pt>
                <c:pt idx="15">
                  <c:v>0.36133869971285582</c:v>
                </c:pt>
                <c:pt idx="16">
                  <c:v>0.36143604365980708</c:v>
                </c:pt>
                <c:pt idx="17">
                  <c:v>0.36118283741659035</c:v>
                </c:pt>
                <c:pt idx="18">
                  <c:v>0.35277550157688986</c:v>
                </c:pt>
                <c:pt idx="19">
                  <c:v>0.35262467650977314</c:v>
                </c:pt>
                <c:pt idx="20">
                  <c:v>0.35207379566656227</c:v>
                </c:pt>
                <c:pt idx="21">
                  <c:v>0.35136785071719095</c:v>
                </c:pt>
                <c:pt idx="22">
                  <c:v>0.351976190135046</c:v>
                </c:pt>
                <c:pt idx="23">
                  <c:v>0.34931741190296062</c:v>
                </c:pt>
                <c:pt idx="24">
                  <c:v>0.350956320719437</c:v>
                </c:pt>
                <c:pt idx="25">
                  <c:v>0.35283799873147714</c:v>
                </c:pt>
                <c:pt idx="26">
                  <c:v>0.35270584448513331</c:v>
                </c:pt>
                <c:pt idx="27">
                  <c:v>0.35261950364860173</c:v>
                </c:pt>
                <c:pt idx="28">
                  <c:v>0.35128878671376457</c:v>
                </c:pt>
                <c:pt idx="29">
                  <c:v>0.34828754494723452</c:v>
                </c:pt>
                <c:pt idx="30">
                  <c:v>0.34830228739604752</c:v>
                </c:pt>
                <c:pt idx="31">
                  <c:v>0.3485653508093563</c:v>
                </c:pt>
                <c:pt idx="32">
                  <c:v>0.34616145003743376</c:v>
                </c:pt>
                <c:pt idx="33">
                  <c:v>0.34171461766632838</c:v>
                </c:pt>
                <c:pt idx="34">
                  <c:v>0.34165071965619437</c:v>
                </c:pt>
                <c:pt idx="35">
                  <c:v>0.34171193875192163</c:v>
                </c:pt>
                <c:pt idx="36">
                  <c:v>0.34267141061351292</c:v>
                </c:pt>
                <c:pt idx="37">
                  <c:v>0.34234364215528551</c:v>
                </c:pt>
                <c:pt idx="38">
                  <c:v>0.34237978883480513</c:v>
                </c:pt>
                <c:pt idx="39">
                  <c:v>0.34243962638844672</c:v>
                </c:pt>
                <c:pt idx="40">
                  <c:v>0.34362812628233091</c:v>
                </c:pt>
                <c:pt idx="41">
                  <c:v>0.34384070064748201</c:v>
                </c:pt>
                <c:pt idx="42">
                  <c:v>0.34277441669608633</c:v>
                </c:pt>
                <c:pt idx="43">
                  <c:v>0.34298812075528123</c:v>
                </c:pt>
                <c:pt idx="44">
                  <c:v>0.34299577585431695</c:v>
                </c:pt>
                <c:pt idx="45">
                  <c:v>0.34301697931354885</c:v>
                </c:pt>
                <c:pt idx="46">
                  <c:v>0.33963898330948061</c:v>
                </c:pt>
                <c:pt idx="47">
                  <c:v>0.34014791317088805</c:v>
                </c:pt>
                <c:pt idx="48">
                  <c:v>0.34019548490597579</c:v>
                </c:pt>
                <c:pt idx="49">
                  <c:v>0.34062532700255405</c:v>
                </c:pt>
                <c:pt idx="50">
                  <c:v>0.34051658549731989</c:v>
                </c:pt>
                <c:pt idx="51">
                  <c:v>0.34088760606759466</c:v>
                </c:pt>
                <c:pt idx="52">
                  <c:v>0.34146074434413859</c:v>
                </c:pt>
                <c:pt idx="53">
                  <c:v>0.34191212875357158</c:v>
                </c:pt>
                <c:pt idx="54">
                  <c:v>0.34096199992184262</c:v>
                </c:pt>
                <c:pt idx="55">
                  <c:v>0.34096018044555926</c:v>
                </c:pt>
                <c:pt idx="56">
                  <c:v>0.34201082439013147</c:v>
                </c:pt>
                <c:pt idx="57">
                  <c:v>0.34194001077456238</c:v>
                </c:pt>
                <c:pt idx="58">
                  <c:v>0.3418543642947291</c:v>
                </c:pt>
                <c:pt idx="59">
                  <c:v>0.34195154341326667</c:v>
                </c:pt>
                <c:pt idx="60">
                  <c:v>0.33905874552117637</c:v>
                </c:pt>
                <c:pt idx="61">
                  <c:v>0.33864577349304126</c:v>
                </c:pt>
                <c:pt idx="62">
                  <c:v>0.33770388835611265</c:v>
                </c:pt>
                <c:pt idx="63">
                  <c:v>0.33722815992342631</c:v>
                </c:pt>
                <c:pt idx="64">
                  <c:v>0.33415194112730839</c:v>
                </c:pt>
                <c:pt idx="65">
                  <c:v>0.3341251386584973</c:v>
                </c:pt>
                <c:pt idx="66">
                  <c:v>0.33375507945966981</c:v>
                </c:pt>
                <c:pt idx="67">
                  <c:v>0.33371935597454067</c:v>
                </c:pt>
                <c:pt idx="68">
                  <c:v>0.3337108021169562</c:v>
                </c:pt>
                <c:pt idx="69">
                  <c:v>0.33313278211321329</c:v>
                </c:pt>
                <c:pt idx="70">
                  <c:v>0.33312757920406688</c:v>
                </c:pt>
                <c:pt idx="71">
                  <c:v>0.33324295587023323</c:v>
                </c:pt>
                <c:pt idx="72">
                  <c:v>0.33383082894170674</c:v>
                </c:pt>
                <c:pt idx="73">
                  <c:v>0.33449253937984791</c:v>
                </c:pt>
                <c:pt idx="74">
                  <c:v>0.33591489768824256</c:v>
                </c:pt>
                <c:pt idx="75">
                  <c:v>0.33609878426226253</c:v>
                </c:pt>
                <c:pt idx="76">
                  <c:v>0.33624488118588547</c:v>
                </c:pt>
                <c:pt idx="77">
                  <c:v>0.33623114801263748</c:v>
                </c:pt>
                <c:pt idx="78">
                  <c:v>0.33334236500654596</c:v>
                </c:pt>
                <c:pt idx="79">
                  <c:v>0.33312020804805015</c:v>
                </c:pt>
                <c:pt idx="80">
                  <c:v>0.32656406838530072</c:v>
                </c:pt>
                <c:pt idx="81">
                  <c:v>0.32529170088790699</c:v>
                </c:pt>
                <c:pt idx="82">
                  <c:v>0.3250849156488132</c:v>
                </c:pt>
                <c:pt idx="83">
                  <c:v>0.32508414460044832</c:v>
                </c:pt>
                <c:pt idx="84">
                  <c:v>0.32466966410581882</c:v>
                </c:pt>
                <c:pt idx="85">
                  <c:v>0.32628013923120586</c:v>
                </c:pt>
                <c:pt idx="86">
                  <c:v>0.32573318270835716</c:v>
                </c:pt>
                <c:pt idx="87">
                  <c:v>0.32573432304149108</c:v>
                </c:pt>
                <c:pt idx="88">
                  <c:v>0.32902893795748572</c:v>
                </c:pt>
                <c:pt idx="89">
                  <c:v>0.32675210899577339</c:v>
                </c:pt>
                <c:pt idx="90">
                  <c:v>0.32665752085363664</c:v>
                </c:pt>
                <c:pt idx="91">
                  <c:v>0.3262057585924461</c:v>
                </c:pt>
                <c:pt idx="92">
                  <c:v>0.32623547098181133</c:v>
                </c:pt>
                <c:pt idx="93">
                  <c:v>0.32497339281197457</c:v>
                </c:pt>
                <c:pt idx="94">
                  <c:v>0.32538569885761165</c:v>
                </c:pt>
                <c:pt idx="95">
                  <c:v>0.32405359817041784</c:v>
                </c:pt>
                <c:pt idx="96">
                  <c:v>0.32360181989066034</c:v>
                </c:pt>
                <c:pt idx="97">
                  <c:v>0.32081882610052026</c:v>
                </c:pt>
                <c:pt idx="98">
                  <c:v>0.32031215911769689</c:v>
                </c:pt>
                <c:pt idx="99">
                  <c:v>0.32025612999186731</c:v>
                </c:pt>
                <c:pt idx="100">
                  <c:v>0.32026346847425691</c:v>
                </c:pt>
                <c:pt idx="101">
                  <c:v>0.31707177927236224</c:v>
                </c:pt>
                <c:pt idx="102">
                  <c:v>0.31811025609226601</c:v>
                </c:pt>
                <c:pt idx="103">
                  <c:v>0.31814552804154572</c:v>
                </c:pt>
                <c:pt idx="104">
                  <c:v>0.31791964766477182</c:v>
                </c:pt>
                <c:pt idx="105">
                  <c:v>0.3179521743001566</c:v>
                </c:pt>
                <c:pt idx="106">
                  <c:v>0.31774060736848525</c:v>
                </c:pt>
                <c:pt idx="107">
                  <c:v>0.31819950348393933</c:v>
                </c:pt>
                <c:pt idx="108">
                  <c:v>0.3182254489307304</c:v>
                </c:pt>
                <c:pt idx="109">
                  <c:v>0.31762125473471026</c:v>
                </c:pt>
                <c:pt idx="110">
                  <c:v>0.31761151728165848</c:v>
                </c:pt>
                <c:pt idx="111">
                  <c:v>0.31877208844914123</c:v>
                </c:pt>
                <c:pt idx="112">
                  <c:v>0.31996876041822936</c:v>
                </c:pt>
                <c:pt idx="113">
                  <c:v>0.31948129807354042</c:v>
                </c:pt>
                <c:pt idx="114">
                  <c:v>0.31813740433916471</c:v>
                </c:pt>
                <c:pt idx="115">
                  <c:v>0.3182158893269465</c:v>
                </c:pt>
                <c:pt idx="116">
                  <c:v>0.32032197458883227</c:v>
                </c:pt>
                <c:pt idx="117">
                  <c:v>0.3198229875923167</c:v>
                </c:pt>
                <c:pt idx="118">
                  <c:v>0.32038084064977757</c:v>
                </c:pt>
                <c:pt idx="119">
                  <c:v>0.3227479401228765</c:v>
                </c:pt>
                <c:pt idx="120">
                  <c:v>0.32445384535461497</c:v>
                </c:pt>
                <c:pt idx="121">
                  <c:v>0.32487387573335919</c:v>
                </c:pt>
                <c:pt idx="122">
                  <c:v>0.32506157185500423</c:v>
                </c:pt>
                <c:pt idx="123">
                  <c:v>0.3269435406609727</c:v>
                </c:pt>
                <c:pt idx="124">
                  <c:v>0.32706582188240418</c:v>
                </c:pt>
                <c:pt idx="125">
                  <c:v>0.3268660364024098</c:v>
                </c:pt>
                <c:pt idx="126">
                  <c:v>0.328546280318749</c:v>
                </c:pt>
                <c:pt idx="127">
                  <c:v>0.33521993739190287</c:v>
                </c:pt>
                <c:pt idx="128">
                  <c:v>0.33550497932100837</c:v>
                </c:pt>
                <c:pt idx="129">
                  <c:v>0.33672718176011179</c:v>
                </c:pt>
                <c:pt idx="130">
                  <c:v>0.33683490508695263</c:v>
                </c:pt>
                <c:pt idx="131">
                  <c:v>0.33840254940321435</c:v>
                </c:pt>
                <c:pt idx="132">
                  <c:v>0.33906339807255542</c:v>
                </c:pt>
                <c:pt idx="133">
                  <c:v>0.33886706700542357</c:v>
                </c:pt>
                <c:pt idx="134">
                  <c:v>0.33885078849368672</c:v>
                </c:pt>
                <c:pt idx="135">
                  <c:v>0.34033547553082927</c:v>
                </c:pt>
                <c:pt idx="136">
                  <c:v>0.34023956334514965</c:v>
                </c:pt>
                <c:pt idx="137">
                  <c:v>0.34020613337476369</c:v>
                </c:pt>
                <c:pt idx="138">
                  <c:v>0.33932492076141502</c:v>
                </c:pt>
                <c:pt idx="139">
                  <c:v>0.33902849035805549</c:v>
                </c:pt>
                <c:pt idx="140">
                  <c:v>0.33887099310529267</c:v>
                </c:pt>
                <c:pt idx="141">
                  <c:v>0.33866504384332113</c:v>
                </c:pt>
                <c:pt idx="142">
                  <c:v>0.33871025846122199</c:v>
                </c:pt>
                <c:pt idx="143">
                  <c:v>0.33906579782358975</c:v>
                </c:pt>
                <c:pt idx="144">
                  <c:v>0.34033684599956587</c:v>
                </c:pt>
                <c:pt idx="145">
                  <c:v>0.34132448051249265</c:v>
                </c:pt>
                <c:pt idx="146">
                  <c:v>0.34283705376448825</c:v>
                </c:pt>
                <c:pt idx="147">
                  <c:v>0.3423069886084083</c:v>
                </c:pt>
                <c:pt idx="148">
                  <c:v>0.3428813965534262</c:v>
                </c:pt>
                <c:pt idx="149">
                  <c:v>0.34278184016255747</c:v>
                </c:pt>
                <c:pt idx="150">
                  <c:v>0.34295032186980984</c:v>
                </c:pt>
                <c:pt idx="151">
                  <c:v>0.34254659849783131</c:v>
                </c:pt>
                <c:pt idx="152">
                  <c:v>0.34541117822872974</c:v>
                </c:pt>
                <c:pt idx="153">
                  <c:v>0.3458247629484526</c:v>
                </c:pt>
                <c:pt idx="154">
                  <c:v>0.34605503746336969</c:v>
                </c:pt>
                <c:pt idx="155">
                  <c:v>0.34625028610690767</c:v>
                </c:pt>
                <c:pt idx="156">
                  <c:v>0.34627831043723811</c:v>
                </c:pt>
                <c:pt idx="157">
                  <c:v>0.34644755717057646</c:v>
                </c:pt>
                <c:pt idx="158">
                  <c:v>0.34647638918493495</c:v>
                </c:pt>
                <c:pt idx="159">
                  <c:v>0.34641632266869482</c:v>
                </c:pt>
                <c:pt idx="160">
                  <c:v>0.34509813865155337</c:v>
                </c:pt>
                <c:pt idx="161">
                  <c:v>0.34532805817590351</c:v>
                </c:pt>
                <c:pt idx="162">
                  <c:v>0.34699698594701578</c:v>
                </c:pt>
                <c:pt idx="163">
                  <c:v>0.34745815616480841</c:v>
                </c:pt>
                <c:pt idx="164">
                  <c:v>0.34831391311218435</c:v>
                </c:pt>
                <c:pt idx="165">
                  <c:v>0.34861097241008349</c:v>
                </c:pt>
                <c:pt idx="166">
                  <c:v>0.34839857302510352</c:v>
                </c:pt>
                <c:pt idx="167">
                  <c:v>0.34839131965375647</c:v>
                </c:pt>
                <c:pt idx="168">
                  <c:v>0.347935563216349</c:v>
                </c:pt>
                <c:pt idx="169">
                  <c:v>0.34847090605964332</c:v>
                </c:pt>
                <c:pt idx="170">
                  <c:v>0.34849151226448627</c:v>
                </c:pt>
                <c:pt idx="171">
                  <c:v>0.34864898002371619</c:v>
                </c:pt>
                <c:pt idx="172">
                  <c:v>0.34827596230434532</c:v>
                </c:pt>
                <c:pt idx="173">
                  <c:v>0.34656117854683505</c:v>
                </c:pt>
                <c:pt idx="174">
                  <c:v>0.3468478229920765</c:v>
                </c:pt>
                <c:pt idx="175">
                  <c:v>0.3468319037924974</c:v>
                </c:pt>
                <c:pt idx="176">
                  <c:v>0.34614907637519293</c:v>
                </c:pt>
                <c:pt idx="177">
                  <c:v>0.34613545804641221</c:v>
                </c:pt>
                <c:pt idx="178">
                  <c:v>0.34582500218669437</c:v>
                </c:pt>
                <c:pt idx="179">
                  <c:v>0.34553585210564636</c:v>
                </c:pt>
                <c:pt idx="180">
                  <c:v>0.34570931099544716</c:v>
                </c:pt>
                <c:pt idx="181">
                  <c:v>0.34569434973962992</c:v>
                </c:pt>
                <c:pt idx="182">
                  <c:v>0.34589142680192042</c:v>
                </c:pt>
                <c:pt idx="183">
                  <c:v>0.34559880728261638</c:v>
                </c:pt>
                <c:pt idx="184">
                  <c:v>0.34588879616470847</c:v>
                </c:pt>
                <c:pt idx="185">
                  <c:v>0.34689918541112374</c:v>
                </c:pt>
                <c:pt idx="186">
                  <c:v>0.34001101272468032</c:v>
                </c:pt>
                <c:pt idx="187">
                  <c:v>0.34041889502580441</c:v>
                </c:pt>
                <c:pt idx="188">
                  <c:v>0.33918632584449798</c:v>
                </c:pt>
                <c:pt idx="189">
                  <c:v>0.33869636047776269</c:v>
                </c:pt>
                <c:pt idx="190">
                  <c:v>0.33951916086265216</c:v>
                </c:pt>
                <c:pt idx="191">
                  <c:v>0.33952340628812366</c:v>
                </c:pt>
                <c:pt idx="192">
                  <c:v>0.3421349291380103</c:v>
                </c:pt>
                <c:pt idx="193">
                  <c:v>0.34418153688915093</c:v>
                </c:pt>
                <c:pt idx="194">
                  <c:v>0.34444744155825896</c:v>
                </c:pt>
                <c:pt idx="195">
                  <c:v>0.3435434748331524</c:v>
                </c:pt>
                <c:pt idx="196">
                  <c:v>0.34346964566668242</c:v>
                </c:pt>
                <c:pt idx="197">
                  <c:v>0.3438766047998571</c:v>
                </c:pt>
                <c:pt idx="198">
                  <c:v>0.34423053946846432</c:v>
                </c:pt>
                <c:pt idx="199">
                  <c:v>0.34446612693983991</c:v>
                </c:pt>
                <c:pt idx="200">
                  <c:v>0.34401018955808371</c:v>
                </c:pt>
                <c:pt idx="201">
                  <c:v>0.34336725272428037</c:v>
                </c:pt>
                <c:pt idx="202">
                  <c:v>0.34330137499722113</c:v>
                </c:pt>
                <c:pt idx="203">
                  <c:v>0.3455391587712634</c:v>
                </c:pt>
                <c:pt idx="204">
                  <c:v>0.34538587380488411</c:v>
                </c:pt>
                <c:pt idx="205">
                  <c:v>0.3453768822445491</c:v>
                </c:pt>
                <c:pt idx="206">
                  <c:v>0.34600514835401353</c:v>
                </c:pt>
                <c:pt idx="207">
                  <c:v>0.34842085017513619</c:v>
                </c:pt>
                <c:pt idx="208">
                  <c:v>0.3499946810851956</c:v>
                </c:pt>
                <c:pt idx="209">
                  <c:v>0.34913160096529972</c:v>
                </c:pt>
                <c:pt idx="210">
                  <c:v>0.34869958844537507</c:v>
                </c:pt>
                <c:pt idx="211">
                  <c:v>0.35093384165190483</c:v>
                </c:pt>
                <c:pt idx="212">
                  <c:v>0.35067498671904596</c:v>
                </c:pt>
                <c:pt idx="213">
                  <c:v>0.35086355416808546</c:v>
                </c:pt>
                <c:pt idx="214">
                  <c:v>0.34743910369789061</c:v>
                </c:pt>
                <c:pt idx="215">
                  <c:v>0.34688002108778437</c:v>
                </c:pt>
                <c:pt idx="216">
                  <c:v>0.34517470159558156</c:v>
                </c:pt>
                <c:pt idx="217">
                  <c:v>0.34568854040910979</c:v>
                </c:pt>
                <c:pt idx="218">
                  <c:v>0.3446358250556581</c:v>
                </c:pt>
                <c:pt idx="219">
                  <c:v>0.34488690521275778</c:v>
                </c:pt>
                <c:pt idx="220">
                  <c:v>0.34470342469827187</c:v>
                </c:pt>
                <c:pt idx="221">
                  <c:v>0.3447627357531387</c:v>
                </c:pt>
                <c:pt idx="222">
                  <c:v>0.33887509015575695</c:v>
                </c:pt>
                <c:pt idx="223">
                  <c:v>0.33629136597680576</c:v>
                </c:pt>
                <c:pt idx="224">
                  <c:v>0.32947383675326969</c:v>
                </c:pt>
                <c:pt idx="225">
                  <c:v>0.32860080835558664</c:v>
                </c:pt>
                <c:pt idx="226">
                  <c:v>0.32868036067077272</c:v>
                </c:pt>
                <c:pt idx="227">
                  <c:v>0.32926747978925242</c:v>
                </c:pt>
                <c:pt idx="228">
                  <c:v>0.32661510767979984</c:v>
                </c:pt>
                <c:pt idx="229">
                  <c:v>0.325726588464056</c:v>
                </c:pt>
                <c:pt idx="230">
                  <c:v>0.32533617751541005</c:v>
                </c:pt>
                <c:pt idx="231">
                  <c:v>0.32352361513348299</c:v>
                </c:pt>
                <c:pt idx="232">
                  <c:v>0.32346330174212184</c:v>
                </c:pt>
                <c:pt idx="233">
                  <c:v>0.32356060776159057</c:v>
                </c:pt>
                <c:pt idx="234">
                  <c:v>0.32097394419933512</c:v>
                </c:pt>
                <c:pt idx="235">
                  <c:v>0.32098065432574624</c:v>
                </c:pt>
                <c:pt idx="236">
                  <c:v>0.32213665764108795</c:v>
                </c:pt>
                <c:pt idx="237">
                  <c:v>0.32283762315613795</c:v>
                </c:pt>
                <c:pt idx="238">
                  <c:v>0.32321451852989774</c:v>
                </c:pt>
                <c:pt idx="239">
                  <c:v>0.32237835450448515</c:v>
                </c:pt>
                <c:pt idx="240">
                  <c:v>0.32254194260633295</c:v>
                </c:pt>
                <c:pt idx="241">
                  <c:v>0.32233302791008617</c:v>
                </c:pt>
                <c:pt idx="242">
                  <c:v>0.32237632946307954</c:v>
                </c:pt>
                <c:pt idx="243">
                  <c:v>0.32319154243849302</c:v>
                </c:pt>
                <c:pt idx="244">
                  <c:v>0.3229307852333505</c:v>
                </c:pt>
                <c:pt idx="245">
                  <c:v>0.32295747280910364</c:v>
                </c:pt>
                <c:pt idx="246">
                  <c:v>0.32311136246350164</c:v>
                </c:pt>
                <c:pt idx="247">
                  <c:v>0.32294267589245329</c:v>
                </c:pt>
                <c:pt idx="248">
                  <c:v>0.32263048143217221</c:v>
                </c:pt>
                <c:pt idx="249">
                  <c:v>0.32270460692431513</c:v>
                </c:pt>
                <c:pt idx="250">
                  <c:v>0.31616628120028384</c:v>
                </c:pt>
                <c:pt idx="251">
                  <c:v>0.31763305827971666</c:v>
                </c:pt>
                <c:pt idx="252">
                  <c:v>0.31682152597437335</c:v>
                </c:pt>
                <c:pt idx="253">
                  <c:v>0.31709245427177501</c:v>
                </c:pt>
                <c:pt idx="254">
                  <c:v>0.31826291568545284</c:v>
                </c:pt>
                <c:pt idx="255">
                  <c:v>0.31727934668621738</c:v>
                </c:pt>
                <c:pt idx="256">
                  <c:v>0.31709501425028241</c:v>
                </c:pt>
                <c:pt idx="257">
                  <c:v>0.31417153599052738</c:v>
                </c:pt>
                <c:pt idx="258">
                  <c:v>0.3101576783301897</c:v>
                </c:pt>
                <c:pt idx="259">
                  <c:v>0.31093866385865115</c:v>
                </c:pt>
                <c:pt idx="260">
                  <c:v>0.30917263022205221</c:v>
                </c:pt>
                <c:pt idx="261">
                  <c:v>0.3038918241529332</c:v>
                </c:pt>
                <c:pt idx="262">
                  <c:v>0.30281673802251724</c:v>
                </c:pt>
                <c:pt idx="263">
                  <c:v>0.30310660419115426</c:v>
                </c:pt>
                <c:pt idx="264">
                  <c:v>0.3032198211217576</c:v>
                </c:pt>
                <c:pt idx="265">
                  <c:v>0.30329325202248891</c:v>
                </c:pt>
                <c:pt idx="266">
                  <c:v>0.30349689288883502</c:v>
                </c:pt>
                <c:pt idx="267">
                  <c:v>0.30154098588604639</c:v>
                </c:pt>
                <c:pt idx="268">
                  <c:v>0.30272273738673694</c:v>
                </c:pt>
                <c:pt idx="269">
                  <c:v>0.3023868314565889</c:v>
                </c:pt>
                <c:pt idx="270">
                  <c:v>0.30504169385344332</c:v>
                </c:pt>
                <c:pt idx="271">
                  <c:v>0.3048879280680617</c:v>
                </c:pt>
                <c:pt idx="272">
                  <c:v>0.30550650800636742</c:v>
                </c:pt>
                <c:pt idx="273">
                  <c:v>0.30525643997595453</c:v>
                </c:pt>
                <c:pt idx="274">
                  <c:v>0.30500133283969599</c:v>
                </c:pt>
                <c:pt idx="275">
                  <c:v>0.304440346021633</c:v>
                </c:pt>
                <c:pt idx="276">
                  <c:v>0.30251600414123847</c:v>
                </c:pt>
                <c:pt idx="277">
                  <c:v>0.29983911090101623</c:v>
                </c:pt>
                <c:pt idx="278">
                  <c:v>0.29991178164735327</c:v>
                </c:pt>
                <c:pt idx="279">
                  <c:v>0.29992674447569789</c:v>
                </c:pt>
                <c:pt idx="280">
                  <c:v>0.29982117337606867</c:v>
                </c:pt>
                <c:pt idx="281">
                  <c:v>0.29984494352714658</c:v>
                </c:pt>
                <c:pt idx="282">
                  <c:v>0.30009654648173195</c:v>
                </c:pt>
                <c:pt idx="283">
                  <c:v>0.30042864068773234</c:v>
                </c:pt>
                <c:pt idx="284">
                  <c:v>0.29989831308729148</c:v>
                </c:pt>
                <c:pt idx="285">
                  <c:v>0.3002364848916686</c:v>
                </c:pt>
                <c:pt idx="286">
                  <c:v>0.30023816655876862</c:v>
                </c:pt>
                <c:pt idx="287">
                  <c:v>0.30056699793978681</c:v>
                </c:pt>
                <c:pt idx="288">
                  <c:v>0.29949710706077043</c:v>
                </c:pt>
                <c:pt idx="289">
                  <c:v>0.29949914939912858</c:v>
                </c:pt>
                <c:pt idx="290">
                  <c:v>0.29944574651143052</c:v>
                </c:pt>
                <c:pt idx="291">
                  <c:v>0.29965015466528183</c:v>
                </c:pt>
                <c:pt idx="292">
                  <c:v>0.29835999956818665</c:v>
                </c:pt>
                <c:pt idx="293">
                  <c:v>0.29807529252568699</c:v>
                </c:pt>
                <c:pt idx="294">
                  <c:v>0.29617221152018702</c:v>
                </c:pt>
                <c:pt idx="295">
                  <c:v>0.29576061279543442</c:v>
                </c:pt>
                <c:pt idx="296">
                  <c:v>0.29580794548889122</c:v>
                </c:pt>
                <c:pt idx="297">
                  <c:v>0.29604480151225793</c:v>
                </c:pt>
                <c:pt idx="298">
                  <c:v>0.29607660169420025</c:v>
                </c:pt>
                <c:pt idx="299">
                  <c:v>0.29548879653344634</c:v>
                </c:pt>
                <c:pt idx="300">
                  <c:v>0.2954704256813071</c:v>
                </c:pt>
                <c:pt idx="301">
                  <c:v>0.29439374523242856</c:v>
                </c:pt>
                <c:pt idx="302">
                  <c:v>0.29428836675461612</c:v>
                </c:pt>
                <c:pt idx="303">
                  <c:v>0.29390989726013805</c:v>
                </c:pt>
                <c:pt idx="304">
                  <c:v>0.29326080982418451</c:v>
                </c:pt>
                <c:pt idx="305">
                  <c:v>0.29274441428419667</c:v>
                </c:pt>
                <c:pt idx="306">
                  <c:v>0.29220374670180266</c:v>
                </c:pt>
                <c:pt idx="307">
                  <c:v>0.293490426818377</c:v>
                </c:pt>
                <c:pt idx="308">
                  <c:v>0.29255743508076637</c:v>
                </c:pt>
                <c:pt idx="309">
                  <c:v>0.29299753721360261</c:v>
                </c:pt>
                <c:pt idx="310">
                  <c:v>0.29479890799830571</c:v>
                </c:pt>
                <c:pt idx="311">
                  <c:v>0.29420255937356493</c:v>
                </c:pt>
                <c:pt idx="312">
                  <c:v>0.2941514864570024</c:v>
                </c:pt>
                <c:pt idx="313">
                  <c:v>0.29432706731228675</c:v>
                </c:pt>
                <c:pt idx="314">
                  <c:v>0.29422794188208151</c:v>
                </c:pt>
                <c:pt idx="315">
                  <c:v>0.29479980682110146</c:v>
                </c:pt>
                <c:pt idx="316">
                  <c:v>0.29482655740369929</c:v>
                </c:pt>
                <c:pt idx="317">
                  <c:v>0.29467759519922643</c:v>
                </c:pt>
                <c:pt idx="318">
                  <c:v>0.29472942098779881</c:v>
                </c:pt>
                <c:pt idx="319">
                  <c:v>0.29613565977898526</c:v>
                </c:pt>
                <c:pt idx="320">
                  <c:v>0.29687116761803212</c:v>
                </c:pt>
                <c:pt idx="321">
                  <c:v>0.29639630850907928</c:v>
                </c:pt>
                <c:pt idx="322">
                  <c:v>0.29660551911782868</c:v>
                </c:pt>
                <c:pt idx="323">
                  <c:v>0.29715538703497424</c:v>
                </c:pt>
                <c:pt idx="324">
                  <c:v>0.29632808147740336</c:v>
                </c:pt>
                <c:pt idx="325">
                  <c:v>0.29661733756882297</c:v>
                </c:pt>
                <c:pt idx="326">
                  <c:v>0.29470415201277883</c:v>
                </c:pt>
                <c:pt idx="327">
                  <c:v>0.2947886109036908</c:v>
                </c:pt>
                <c:pt idx="328">
                  <c:v>0.29518271264918083</c:v>
                </c:pt>
                <c:pt idx="329">
                  <c:v>0.29735498519856429</c:v>
                </c:pt>
                <c:pt idx="330">
                  <c:v>0.29744106871226639</c:v>
                </c:pt>
                <c:pt idx="331">
                  <c:v>0.2974887512106556</c:v>
                </c:pt>
                <c:pt idx="332">
                  <c:v>0.29755175327554029</c:v>
                </c:pt>
                <c:pt idx="333">
                  <c:v>0.30010263927763575</c:v>
                </c:pt>
                <c:pt idx="334">
                  <c:v>0.29997967685817972</c:v>
                </c:pt>
                <c:pt idx="335">
                  <c:v>0.30056154184592365</c:v>
                </c:pt>
                <c:pt idx="336">
                  <c:v>0.30032909145993258</c:v>
                </c:pt>
                <c:pt idx="337">
                  <c:v>0.29947915835433536</c:v>
                </c:pt>
                <c:pt idx="338">
                  <c:v>0.29979282087194165</c:v>
                </c:pt>
                <c:pt idx="339">
                  <c:v>0.29988139751670612</c:v>
                </c:pt>
                <c:pt idx="340">
                  <c:v>0.29630209240462629</c:v>
                </c:pt>
                <c:pt idx="341">
                  <c:v>0.29574902049054341</c:v>
                </c:pt>
                <c:pt idx="342">
                  <c:v>0.29537186603431292</c:v>
                </c:pt>
                <c:pt idx="343">
                  <c:v>0.29515551929962164</c:v>
                </c:pt>
                <c:pt idx="344">
                  <c:v>0.29459971994778911</c:v>
                </c:pt>
                <c:pt idx="345">
                  <c:v>0.2953782160545666</c:v>
                </c:pt>
                <c:pt idx="346">
                  <c:v>0.29515735524506642</c:v>
                </c:pt>
                <c:pt idx="347">
                  <c:v>0.29460402402785951</c:v>
                </c:pt>
                <c:pt idx="348">
                  <c:v>0.29829569417982305</c:v>
                </c:pt>
                <c:pt idx="349">
                  <c:v>0.29898212087677856</c:v>
                </c:pt>
                <c:pt idx="350">
                  <c:v>0.29928527625884777</c:v>
                </c:pt>
                <c:pt idx="351">
                  <c:v>0.29890027412709524</c:v>
                </c:pt>
                <c:pt idx="352">
                  <c:v>0.29877760823276672</c:v>
                </c:pt>
                <c:pt idx="353">
                  <c:v>0.29863630081545472</c:v>
                </c:pt>
                <c:pt idx="354">
                  <c:v>0.29869331162283175</c:v>
                </c:pt>
                <c:pt idx="355">
                  <c:v>0.29939731015379367</c:v>
                </c:pt>
                <c:pt idx="356">
                  <c:v>0.2994774290711133</c:v>
                </c:pt>
                <c:pt idx="357">
                  <c:v>0.29924949703527465</c:v>
                </c:pt>
                <c:pt idx="358">
                  <c:v>0.30140449758898913</c:v>
                </c:pt>
                <c:pt idx="359">
                  <c:v>0.30103353840448016</c:v>
                </c:pt>
                <c:pt idx="360">
                  <c:v>0.30117242694846691</c:v>
                </c:pt>
                <c:pt idx="361">
                  <c:v>0.30044889934010766</c:v>
                </c:pt>
                <c:pt idx="362">
                  <c:v>0.30224280943276771</c:v>
                </c:pt>
                <c:pt idx="363">
                  <c:v>0.30062188016408292</c:v>
                </c:pt>
                <c:pt idx="364">
                  <c:v>0.29937986066100819</c:v>
                </c:pt>
                <c:pt idx="365">
                  <c:v>0.29971806365730502</c:v>
                </c:pt>
                <c:pt idx="366">
                  <c:v>0.29941768206659375</c:v>
                </c:pt>
                <c:pt idx="367">
                  <c:v>0.30137351336128693</c:v>
                </c:pt>
                <c:pt idx="368">
                  <c:v>0.30101834771723629</c:v>
                </c:pt>
                <c:pt idx="369">
                  <c:v>0.30156464013972722</c:v>
                </c:pt>
                <c:pt idx="370">
                  <c:v>0.31337929861045521</c:v>
                </c:pt>
                <c:pt idx="371">
                  <c:v>0.31147638955521834</c:v>
                </c:pt>
                <c:pt idx="372">
                  <c:v>0.31161538042002357</c:v>
                </c:pt>
                <c:pt idx="373">
                  <c:v>0.31100446816662308</c:v>
                </c:pt>
                <c:pt idx="374">
                  <c:v>0.31536696150067117</c:v>
                </c:pt>
                <c:pt idx="375">
                  <c:v>0.31398059176154297</c:v>
                </c:pt>
                <c:pt idx="376">
                  <c:v>0.31380665133775343</c:v>
                </c:pt>
                <c:pt idx="377">
                  <c:v>0.31522495122318894</c:v>
                </c:pt>
                <c:pt idx="378">
                  <c:v>0.31355532673116687</c:v>
                </c:pt>
                <c:pt idx="379">
                  <c:v>0.30589945813469271</c:v>
                </c:pt>
                <c:pt idx="380">
                  <c:v>0.30627474304078994</c:v>
                </c:pt>
                <c:pt idx="381">
                  <c:v>0.3049307990307043</c:v>
                </c:pt>
                <c:pt idx="382">
                  <c:v>0.30522725870465572</c:v>
                </c:pt>
                <c:pt idx="383">
                  <c:v>0.3040312427198803</c:v>
                </c:pt>
                <c:pt idx="384">
                  <c:v>0.30314671764176748</c:v>
                </c:pt>
                <c:pt idx="385">
                  <c:v>0.30524630231679339</c:v>
                </c:pt>
                <c:pt idx="386">
                  <c:v>0.30532187560981278</c:v>
                </c:pt>
                <c:pt idx="387">
                  <c:v>0.30344736760102059</c:v>
                </c:pt>
                <c:pt idx="388">
                  <c:v>0.30309734694805429</c:v>
                </c:pt>
                <c:pt idx="389">
                  <c:v>0.30255079930648465</c:v>
                </c:pt>
                <c:pt idx="390">
                  <c:v>0.30288442299412771</c:v>
                </c:pt>
                <c:pt idx="391">
                  <c:v>0.3031258618509538</c:v>
                </c:pt>
                <c:pt idx="392">
                  <c:v>0.30284219817823177</c:v>
                </c:pt>
                <c:pt idx="393">
                  <c:v>0.30299825168366512</c:v>
                </c:pt>
                <c:pt idx="394">
                  <c:v>0.30387646030355192</c:v>
                </c:pt>
                <c:pt idx="395">
                  <c:v>0.30438723185971245</c:v>
                </c:pt>
                <c:pt idx="396">
                  <c:v>0.30300259950906994</c:v>
                </c:pt>
                <c:pt idx="397">
                  <c:v>0.30405126315546643</c:v>
                </c:pt>
                <c:pt idx="398">
                  <c:v>0.30284634924211107</c:v>
                </c:pt>
                <c:pt idx="399">
                  <c:v>0.30314049679058469</c:v>
                </c:pt>
                <c:pt idx="400">
                  <c:v>0.30238071445452375</c:v>
                </c:pt>
                <c:pt idx="401">
                  <c:v>0.30247217063866089</c:v>
                </c:pt>
                <c:pt idx="402">
                  <c:v>0.30242710918525217</c:v>
                </c:pt>
                <c:pt idx="403">
                  <c:v>0.30310770033944961</c:v>
                </c:pt>
                <c:pt idx="404">
                  <c:v>0.2998030958125345</c:v>
                </c:pt>
                <c:pt idx="405">
                  <c:v>0.29940994171951685</c:v>
                </c:pt>
                <c:pt idx="406">
                  <c:v>0.29929579960317904</c:v>
                </c:pt>
                <c:pt idx="407">
                  <c:v>0.29893343418068435</c:v>
                </c:pt>
                <c:pt idx="408">
                  <c:v>0.29907206532003905</c:v>
                </c:pt>
                <c:pt idx="409">
                  <c:v>0.29909356305974805</c:v>
                </c:pt>
                <c:pt idx="410">
                  <c:v>0.30012793354339923</c:v>
                </c:pt>
                <c:pt idx="411">
                  <c:v>0.30051731899086137</c:v>
                </c:pt>
                <c:pt idx="412">
                  <c:v>0.30050470339927332</c:v>
                </c:pt>
                <c:pt idx="413">
                  <c:v>0.30045487947752164</c:v>
                </c:pt>
                <c:pt idx="414">
                  <c:v>0.30014428415131855</c:v>
                </c:pt>
                <c:pt idx="415">
                  <c:v>0.29962884454979938</c:v>
                </c:pt>
                <c:pt idx="416">
                  <c:v>0.2989968160087848</c:v>
                </c:pt>
                <c:pt idx="417">
                  <c:v>0.29876979305080403</c:v>
                </c:pt>
                <c:pt idx="418">
                  <c:v>0.29901470443289208</c:v>
                </c:pt>
                <c:pt idx="419">
                  <c:v>0.29940148341568984</c:v>
                </c:pt>
                <c:pt idx="420">
                  <c:v>0.30003422887045494</c:v>
                </c:pt>
                <c:pt idx="421">
                  <c:v>0.29976884583741059</c:v>
                </c:pt>
                <c:pt idx="422">
                  <c:v>0.29977557914772979</c:v>
                </c:pt>
                <c:pt idx="423">
                  <c:v>0.30052693989786661</c:v>
                </c:pt>
                <c:pt idx="424">
                  <c:v>0.30009734535009763</c:v>
                </c:pt>
                <c:pt idx="425">
                  <c:v>0.30027573321315087</c:v>
                </c:pt>
                <c:pt idx="426">
                  <c:v>0.29995815497919492</c:v>
                </c:pt>
                <c:pt idx="427">
                  <c:v>0.29771326991469904</c:v>
                </c:pt>
                <c:pt idx="428">
                  <c:v>0.29741232650195371</c:v>
                </c:pt>
                <c:pt idx="429">
                  <c:v>0.29761373256398049</c:v>
                </c:pt>
                <c:pt idx="430">
                  <c:v>0.2976079683215771</c:v>
                </c:pt>
                <c:pt idx="431">
                  <c:v>0.29861554224827241</c:v>
                </c:pt>
                <c:pt idx="432">
                  <c:v>0.29820672123985675</c:v>
                </c:pt>
                <c:pt idx="433">
                  <c:v>0.29816725594197502</c:v>
                </c:pt>
                <c:pt idx="434">
                  <c:v>0.29812401022124485</c:v>
                </c:pt>
                <c:pt idx="435">
                  <c:v>0.29947446443966036</c:v>
                </c:pt>
                <c:pt idx="436">
                  <c:v>0.29894103092954788</c:v>
                </c:pt>
                <c:pt idx="437">
                  <c:v>0.29795080540639374</c:v>
                </c:pt>
                <c:pt idx="438">
                  <c:v>0.29787860606506689</c:v>
                </c:pt>
                <c:pt idx="439">
                  <c:v>0.29741081231909022</c:v>
                </c:pt>
                <c:pt idx="440">
                  <c:v>0.2967979060334961</c:v>
                </c:pt>
                <c:pt idx="441">
                  <c:v>0.29719012185271537</c:v>
                </c:pt>
                <c:pt idx="442">
                  <c:v>0.29690265069242455</c:v>
                </c:pt>
                <c:pt idx="443">
                  <c:v>0.29747502591184127</c:v>
                </c:pt>
                <c:pt idx="444">
                  <c:v>0.29454678390316075</c:v>
                </c:pt>
                <c:pt idx="445">
                  <c:v>0.29269016619734106</c:v>
                </c:pt>
                <c:pt idx="446">
                  <c:v>0.29256099943467462</c:v>
                </c:pt>
                <c:pt idx="447">
                  <c:v>0.29222486840609507</c:v>
                </c:pt>
                <c:pt idx="448">
                  <c:v>0.29232061145898142</c:v>
                </c:pt>
                <c:pt idx="449">
                  <c:v>0.29218902241746236</c:v>
                </c:pt>
                <c:pt idx="450">
                  <c:v>0.29180532542457327</c:v>
                </c:pt>
                <c:pt idx="451">
                  <c:v>0.29679357510333759</c:v>
                </c:pt>
                <c:pt idx="452">
                  <c:v>0.29694807777003795</c:v>
                </c:pt>
                <c:pt idx="453">
                  <c:v>0.29820673584855428</c:v>
                </c:pt>
                <c:pt idx="454">
                  <c:v>0.29776786808255906</c:v>
                </c:pt>
                <c:pt idx="455">
                  <c:v>0.29536104771730876</c:v>
                </c:pt>
                <c:pt idx="456">
                  <c:v>0.29577784033086069</c:v>
                </c:pt>
                <c:pt idx="457">
                  <c:v>0.29599588110538338</c:v>
                </c:pt>
                <c:pt idx="458">
                  <c:v>0.29511627079087893</c:v>
                </c:pt>
                <c:pt idx="459">
                  <c:v>0.29165659395728566</c:v>
                </c:pt>
                <c:pt idx="460">
                  <c:v>0.28976170917611421</c:v>
                </c:pt>
                <c:pt idx="461">
                  <c:v>0.28803862335014518</c:v>
                </c:pt>
                <c:pt idx="462">
                  <c:v>0.28795366371542813</c:v>
                </c:pt>
                <c:pt idx="463">
                  <c:v>0.2852967625356384</c:v>
                </c:pt>
                <c:pt idx="464">
                  <c:v>0.28504700428237217</c:v>
                </c:pt>
                <c:pt idx="465">
                  <c:v>0.28311667305472427</c:v>
                </c:pt>
                <c:pt idx="466">
                  <c:v>0.28311559279995074</c:v>
                </c:pt>
                <c:pt idx="467">
                  <c:v>0.28344991121407409</c:v>
                </c:pt>
                <c:pt idx="468">
                  <c:v>0.28344980933245123</c:v>
                </c:pt>
                <c:pt idx="469">
                  <c:v>0.28243414605718059</c:v>
                </c:pt>
                <c:pt idx="470">
                  <c:v>0.28254928553212344</c:v>
                </c:pt>
                <c:pt idx="471">
                  <c:v>0.28232325459832341</c:v>
                </c:pt>
                <c:pt idx="472">
                  <c:v>0.28209066216104123</c:v>
                </c:pt>
                <c:pt idx="473">
                  <c:v>0.28204657530707339</c:v>
                </c:pt>
                <c:pt idx="474">
                  <c:v>0.28218928001365728</c:v>
                </c:pt>
                <c:pt idx="475">
                  <c:v>0.28214170383454051</c:v>
                </c:pt>
                <c:pt idx="476">
                  <c:v>0.28168117508450108</c:v>
                </c:pt>
                <c:pt idx="477">
                  <c:v>0.28084356087841966</c:v>
                </c:pt>
                <c:pt idx="478">
                  <c:v>0.28070506623850855</c:v>
                </c:pt>
                <c:pt idx="479">
                  <c:v>0.27989020669894299</c:v>
                </c:pt>
                <c:pt idx="480">
                  <c:v>0.281194187275842</c:v>
                </c:pt>
                <c:pt idx="481">
                  <c:v>0.28118902313404937</c:v>
                </c:pt>
                <c:pt idx="482">
                  <c:v>0.28106131498346748</c:v>
                </c:pt>
                <c:pt idx="483">
                  <c:v>0.28136760764927343</c:v>
                </c:pt>
                <c:pt idx="484">
                  <c:v>0.28091619441131738</c:v>
                </c:pt>
                <c:pt idx="485">
                  <c:v>0.28081297108874598</c:v>
                </c:pt>
                <c:pt idx="486">
                  <c:v>0.28041646749315602</c:v>
                </c:pt>
                <c:pt idx="487">
                  <c:v>0.28046346315519549</c:v>
                </c:pt>
                <c:pt idx="488">
                  <c:v>0.27779107286744209</c:v>
                </c:pt>
                <c:pt idx="489">
                  <c:v>0.27704239305159234</c:v>
                </c:pt>
                <c:pt idx="490">
                  <c:v>0.27677208629631239</c:v>
                </c:pt>
                <c:pt idx="491">
                  <c:v>0.27709640308362604</c:v>
                </c:pt>
                <c:pt idx="492">
                  <c:v>0.27698627655585234</c:v>
                </c:pt>
                <c:pt idx="493">
                  <c:v>0.27813968410564432</c:v>
                </c:pt>
                <c:pt idx="494">
                  <c:v>0.27800881116617127</c:v>
                </c:pt>
                <c:pt idx="495">
                  <c:v>0.27710456853637944</c:v>
                </c:pt>
                <c:pt idx="496">
                  <c:v>0.27645698290353737</c:v>
                </c:pt>
                <c:pt idx="497">
                  <c:v>0.27646521480042241</c:v>
                </c:pt>
                <c:pt idx="498">
                  <c:v>0.27671596726005004</c:v>
                </c:pt>
                <c:pt idx="499">
                  <c:v>0.27716176017783456</c:v>
                </c:pt>
                <c:pt idx="500">
                  <c:v>0.27715997755812616</c:v>
                </c:pt>
                <c:pt idx="501">
                  <c:v>0.2790656715166176</c:v>
                </c:pt>
                <c:pt idx="502">
                  <c:v>0.28056653616161636</c:v>
                </c:pt>
                <c:pt idx="503">
                  <c:v>0.27828061116635711</c:v>
                </c:pt>
                <c:pt idx="504">
                  <c:v>0.27827380753365982</c:v>
                </c:pt>
                <c:pt idx="505">
                  <c:v>0.27812954137986906</c:v>
                </c:pt>
                <c:pt idx="506">
                  <c:v>0.27747160194284282</c:v>
                </c:pt>
                <c:pt idx="507">
                  <c:v>0.27594310046693621</c:v>
                </c:pt>
                <c:pt idx="508">
                  <c:v>0.2759139350814519</c:v>
                </c:pt>
                <c:pt idx="509">
                  <c:v>0.27594768606780645</c:v>
                </c:pt>
                <c:pt idx="510">
                  <c:v>0.27659438612250059</c:v>
                </c:pt>
                <c:pt idx="511">
                  <c:v>0.27458513303285026</c:v>
                </c:pt>
                <c:pt idx="512">
                  <c:v>0.27582542398884907</c:v>
                </c:pt>
                <c:pt idx="513">
                  <c:v>0.275859092458486</c:v>
                </c:pt>
                <c:pt idx="514">
                  <c:v>0.27566014668154576</c:v>
                </c:pt>
                <c:pt idx="515">
                  <c:v>0.27563790162152091</c:v>
                </c:pt>
                <c:pt idx="516">
                  <c:v>0.27587600875696422</c:v>
                </c:pt>
                <c:pt idx="517">
                  <c:v>0.27734948576575286</c:v>
                </c:pt>
                <c:pt idx="518">
                  <c:v>0.27712807831937564</c:v>
                </c:pt>
                <c:pt idx="519">
                  <c:v>0.27720692770170802</c:v>
                </c:pt>
                <c:pt idx="520">
                  <c:v>0.27590695931573983</c:v>
                </c:pt>
                <c:pt idx="521">
                  <c:v>0.27588908603139772</c:v>
                </c:pt>
                <c:pt idx="522">
                  <c:v>0.27286203764519962</c:v>
                </c:pt>
                <c:pt idx="523">
                  <c:v>0.27283571555078612</c:v>
                </c:pt>
                <c:pt idx="524">
                  <c:v>0.27251503820087203</c:v>
                </c:pt>
                <c:pt idx="525">
                  <c:v>0.27251606019584973</c:v>
                </c:pt>
                <c:pt idx="526">
                  <c:v>0.27202171550539467</c:v>
                </c:pt>
                <c:pt idx="527">
                  <c:v>0.27205541390919197</c:v>
                </c:pt>
                <c:pt idx="528">
                  <c:v>0.27299827905343049</c:v>
                </c:pt>
                <c:pt idx="529">
                  <c:v>0.27339867183578304</c:v>
                </c:pt>
                <c:pt idx="530">
                  <c:v>0.27336083729615263</c:v>
                </c:pt>
                <c:pt idx="531">
                  <c:v>0.27385907561084871</c:v>
                </c:pt>
                <c:pt idx="532">
                  <c:v>0.27387305665999762</c:v>
                </c:pt>
                <c:pt idx="533">
                  <c:v>0.27391763347540377</c:v>
                </c:pt>
                <c:pt idx="534">
                  <c:v>0.27478063551994097</c:v>
                </c:pt>
                <c:pt idx="535">
                  <c:v>0.27471806882121291</c:v>
                </c:pt>
                <c:pt idx="536">
                  <c:v>0.27441638207826963</c:v>
                </c:pt>
                <c:pt idx="537">
                  <c:v>0.27479085921038277</c:v>
                </c:pt>
                <c:pt idx="538">
                  <c:v>0.27509623161658697</c:v>
                </c:pt>
                <c:pt idx="539">
                  <c:v>0.27484016497463326</c:v>
                </c:pt>
                <c:pt idx="540">
                  <c:v>0.27485597320723643</c:v>
                </c:pt>
                <c:pt idx="541">
                  <c:v>0.2761924031017427</c:v>
                </c:pt>
                <c:pt idx="542">
                  <c:v>0.27627564046377795</c:v>
                </c:pt>
                <c:pt idx="543">
                  <c:v>0.27595876957109727</c:v>
                </c:pt>
                <c:pt idx="544">
                  <c:v>0.27544027993329079</c:v>
                </c:pt>
                <c:pt idx="545">
                  <c:v>0.27592383704291262</c:v>
                </c:pt>
                <c:pt idx="546">
                  <c:v>0.27897775792357571</c:v>
                </c:pt>
                <c:pt idx="547">
                  <c:v>0.27938006369768936</c:v>
                </c:pt>
                <c:pt idx="548">
                  <c:v>0.27931777164002586</c:v>
                </c:pt>
                <c:pt idx="549">
                  <c:v>0.27984293112575759</c:v>
                </c:pt>
                <c:pt idx="550">
                  <c:v>0.27984804779548295</c:v>
                </c:pt>
                <c:pt idx="551">
                  <c:v>0.2820853158547087</c:v>
                </c:pt>
                <c:pt idx="552">
                  <c:v>0.28205886937126923</c:v>
                </c:pt>
                <c:pt idx="553">
                  <c:v>0.28204689532697758</c:v>
                </c:pt>
                <c:pt idx="554">
                  <c:v>0.28231456729646209</c:v>
                </c:pt>
                <c:pt idx="555">
                  <c:v>0.28203882523369661</c:v>
                </c:pt>
                <c:pt idx="556">
                  <c:v>0.28204242814336306</c:v>
                </c:pt>
                <c:pt idx="557">
                  <c:v>0.28190279955689662</c:v>
                </c:pt>
                <c:pt idx="558">
                  <c:v>0.28190917265074822</c:v>
                </c:pt>
                <c:pt idx="559">
                  <c:v>0.2805902604095375</c:v>
                </c:pt>
                <c:pt idx="560">
                  <c:v>0.28268771818056482</c:v>
                </c:pt>
                <c:pt idx="561">
                  <c:v>0.28225968179905259</c:v>
                </c:pt>
                <c:pt idx="562">
                  <c:v>0.27985758359666835</c:v>
                </c:pt>
                <c:pt idx="563">
                  <c:v>0.27985838749010133</c:v>
                </c:pt>
                <c:pt idx="564">
                  <c:v>0.28058099061148778</c:v>
                </c:pt>
                <c:pt idx="565">
                  <c:v>0.28049669931235149</c:v>
                </c:pt>
                <c:pt idx="566">
                  <c:v>0.28045559265515879</c:v>
                </c:pt>
                <c:pt idx="567">
                  <c:v>0.27992970229256403</c:v>
                </c:pt>
                <c:pt idx="568">
                  <c:v>0.28000184392774974</c:v>
                </c:pt>
                <c:pt idx="569">
                  <c:v>0.27996919124378661</c:v>
                </c:pt>
                <c:pt idx="570">
                  <c:v>0.28062591708794937</c:v>
                </c:pt>
                <c:pt idx="571">
                  <c:v>0.27917369582445895</c:v>
                </c:pt>
                <c:pt idx="572">
                  <c:v>0.28185555324148664</c:v>
                </c:pt>
                <c:pt idx="573">
                  <c:v>0.28176710773218167</c:v>
                </c:pt>
                <c:pt idx="574">
                  <c:v>0.28171933653826181</c:v>
                </c:pt>
                <c:pt idx="575">
                  <c:v>0.28102454281974082</c:v>
                </c:pt>
                <c:pt idx="576">
                  <c:v>0.28112975996914941</c:v>
                </c:pt>
                <c:pt idx="577">
                  <c:v>0.28071809676544934</c:v>
                </c:pt>
                <c:pt idx="578">
                  <c:v>0.27967770340239456</c:v>
                </c:pt>
                <c:pt idx="579">
                  <c:v>0.27931466260262428</c:v>
                </c:pt>
                <c:pt idx="580">
                  <c:v>0.28031127528434274</c:v>
                </c:pt>
                <c:pt idx="581">
                  <c:v>0.27807454718159713</c:v>
                </c:pt>
                <c:pt idx="582">
                  <c:v>0.27806028100664426</c:v>
                </c:pt>
                <c:pt idx="583">
                  <c:v>0.278584802705304</c:v>
                </c:pt>
                <c:pt idx="584">
                  <c:v>0.27920807134346498</c:v>
                </c:pt>
                <c:pt idx="585">
                  <c:v>0.27740773016211207</c:v>
                </c:pt>
                <c:pt idx="586">
                  <c:v>0.27771750997068673</c:v>
                </c:pt>
                <c:pt idx="587">
                  <c:v>0.27758363771238803</c:v>
                </c:pt>
                <c:pt idx="588">
                  <c:v>0.27756888120499529</c:v>
                </c:pt>
                <c:pt idx="589">
                  <c:v>0.2764636208627041</c:v>
                </c:pt>
                <c:pt idx="590">
                  <c:v>0.27584449646243991</c:v>
                </c:pt>
                <c:pt idx="591">
                  <c:v>0.2758158292722544</c:v>
                </c:pt>
                <c:pt idx="592">
                  <c:v>0.2759006738226269</c:v>
                </c:pt>
                <c:pt idx="593">
                  <c:v>0.27621719650560284</c:v>
                </c:pt>
                <c:pt idx="594">
                  <c:v>0.27770327482839546</c:v>
                </c:pt>
                <c:pt idx="595">
                  <c:v>0.27793792214007557</c:v>
                </c:pt>
                <c:pt idx="596">
                  <c:v>0.27968357692635443</c:v>
                </c:pt>
                <c:pt idx="597">
                  <c:v>0.28107216811224456</c:v>
                </c:pt>
                <c:pt idx="598">
                  <c:v>0.28086058530872843</c:v>
                </c:pt>
                <c:pt idx="599">
                  <c:v>0.28138855156207071</c:v>
                </c:pt>
                <c:pt idx="600">
                  <c:v>0.2772601470268749</c:v>
                </c:pt>
                <c:pt idx="601">
                  <c:v>0.27667887360945309</c:v>
                </c:pt>
                <c:pt idx="602">
                  <c:v>0.27635950666838199</c:v>
                </c:pt>
                <c:pt idx="603">
                  <c:v>0.27648098407388155</c:v>
                </c:pt>
                <c:pt idx="604">
                  <c:v>0.27602441755531731</c:v>
                </c:pt>
                <c:pt idx="605">
                  <c:v>0.27642432817760576</c:v>
                </c:pt>
                <c:pt idx="606">
                  <c:v>0.27514675760267127</c:v>
                </c:pt>
                <c:pt idx="607">
                  <c:v>0.27571306775572169</c:v>
                </c:pt>
                <c:pt idx="608">
                  <c:v>0.27645697393722773</c:v>
                </c:pt>
                <c:pt idx="609">
                  <c:v>0.27853823513470999</c:v>
                </c:pt>
                <c:pt idx="610">
                  <c:v>0.27637228074979042</c:v>
                </c:pt>
                <c:pt idx="611">
                  <c:v>0.27636829530823448</c:v>
                </c:pt>
                <c:pt idx="612">
                  <c:v>0.27623359503037737</c:v>
                </c:pt>
                <c:pt idx="613">
                  <c:v>0.2762283557707933</c:v>
                </c:pt>
                <c:pt idx="614">
                  <c:v>0.27446553361775122</c:v>
                </c:pt>
                <c:pt idx="615">
                  <c:v>0.27555715976821216</c:v>
                </c:pt>
                <c:pt idx="616">
                  <c:v>0.27612114335753518</c:v>
                </c:pt>
                <c:pt idx="617">
                  <c:v>0.2759703087839816</c:v>
                </c:pt>
                <c:pt idx="618">
                  <c:v>0.27733762202510526</c:v>
                </c:pt>
                <c:pt idx="619">
                  <c:v>0.27646412248525865</c:v>
                </c:pt>
                <c:pt idx="620">
                  <c:v>0.27433525858792013</c:v>
                </c:pt>
                <c:pt idx="621">
                  <c:v>0.27384032122570584</c:v>
                </c:pt>
                <c:pt idx="622">
                  <c:v>0.2589116738372686</c:v>
                </c:pt>
                <c:pt idx="623">
                  <c:v>0.25846222161101673</c:v>
                </c:pt>
                <c:pt idx="624">
                  <c:v>0.25600929143561157</c:v>
                </c:pt>
                <c:pt idx="625">
                  <c:v>0.25859292560173497</c:v>
                </c:pt>
                <c:pt idx="626">
                  <c:v>0.25383881362591282</c:v>
                </c:pt>
                <c:pt idx="627">
                  <c:v>0.25289516118637567</c:v>
                </c:pt>
                <c:pt idx="628">
                  <c:v>0.25288926522772115</c:v>
                </c:pt>
                <c:pt idx="629">
                  <c:v>0.25192032547833798</c:v>
                </c:pt>
                <c:pt idx="630">
                  <c:v>0.25248173911384947</c:v>
                </c:pt>
                <c:pt idx="631">
                  <c:v>0.25101849636642309</c:v>
                </c:pt>
                <c:pt idx="632">
                  <c:v>0.25115804908088979</c:v>
                </c:pt>
                <c:pt idx="633">
                  <c:v>0.25247127609640524</c:v>
                </c:pt>
                <c:pt idx="634">
                  <c:v>0.25202700883143375</c:v>
                </c:pt>
                <c:pt idx="635">
                  <c:v>0.25166588121560185</c:v>
                </c:pt>
                <c:pt idx="636">
                  <c:v>0.25156442688688968</c:v>
                </c:pt>
                <c:pt idx="637">
                  <c:v>0.24933668678984419</c:v>
                </c:pt>
                <c:pt idx="638">
                  <c:v>0.25199594296535888</c:v>
                </c:pt>
                <c:pt idx="639">
                  <c:v>0.25192597924061799</c:v>
                </c:pt>
                <c:pt idx="640">
                  <c:v>0.2524063751569382</c:v>
                </c:pt>
                <c:pt idx="641">
                  <c:v>0.25257179984066697</c:v>
                </c:pt>
                <c:pt idx="642">
                  <c:v>0.25239643051820149</c:v>
                </c:pt>
                <c:pt idx="643">
                  <c:v>0.25195429555188786</c:v>
                </c:pt>
                <c:pt idx="644">
                  <c:v>0.25218448570149909</c:v>
                </c:pt>
                <c:pt idx="645">
                  <c:v>0.25209872384067916</c:v>
                </c:pt>
                <c:pt idx="646">
                  <c:v>0.25122021707125491</c:v>
                </c:pt>
                <c:pt idx="647">
                  <c:v>0.25017059898594701</c:v>
                </c:pt>
                <c:pt idx="648">
                  <c:v>0.25019149394586299</c:v>
                </c:pt>
                <c:pt idx="649">
                  <c:v>0.24971450434525855</c:v>
                </c:pt>
                <c:pt idx="650">
                  <c:v>0.25011730699262463</c:v>
                </c:pt>
                <c:pt idx="651">
                  <c:v>0.25007935871128872</c:v>
                </c:pt>
                <c:pt idx="652">
                  <c:v>0.25023241633025528</c:v>
                </c:pt>
                <c:pt idx="653">
                  <c:v>0.25032519375230167</c:v>
                </c:pt>
                <c:pt idx="654">
                  <c:v>0.25029416401068627</c:v>
                </c:pt>
                <c:pt idx="655">
                  <c:v>0.25180240077712701</c:v>
                </c:pt>
                <c:pt idx="656">
                  <c:v>0.2526154362445161</c:v>
                </c:pt>
                <c:pt idx="657">
                  <c:v>0.2531742092362369</c:v>
                </c:pt>
                <c:pt idx="658">
                  <c:v>0.25298176731909061</c:v>
                </c:pt>
                <c:pt idx="659">
                  <c:v>0.254608365456504</c:v>
                </c:pt>
                <c:pt idx="660">
                  <c:v>0.25507272366119116</c:v>
                </c:pt>
                <c:pt idx="661">
                  <c:v>0.25535484574197359</c:v>
                </c:pt>
                <c:pt idx="662">
                  <c:v>0.25425265511993089</c:v>
                </c:pt>
                <c:pt idx="663">
                  <c:v>0.25360906440271275</c:v>
                </c:pt>
                <c:pt idx="664">
                  <c:v>0.25407450198502585</c:v>
                </c:pt>
                <c:pt idx="665">
                  <c:v>0.25475577382747999</c:v>
                </c:pt>
                <c:pt idx="666">
                  <c:v>0.25303447619703529</c:v>
                </c:pt>
                <c:pt idx="667">
                  <c:v>0.25358110017509339</c:v>
                </c:pt>
                <c:pt idx="668">
                  <c:v>0.25329068049159897</c:v>
                </c:pt>
                <c:pt idx="669">
                  <c:v>0.25321388177614401</c:v>
                </c:pt>
                <c:pt idx="670">
                  <c:v>0.25288784348946991</c:v>
                </c:pt>
                <c:pt idx="671">
                  <c:v>0.25244671072965708</c:v>
                </c:pt>
                <c:pt idx="672">
                  <c:v>0.25258522147074769</c:v>
                </c:pt>
                <c:pt idx="673">
                  <c:v>0.25338357361482911</c:v>
                </c:pt>
                <c:pt idx="674">
                  <c:v>0.25432829469457596</c:v>
                </c:pt>
                <c:pt idx="675">
                  <c:v>0.2535260243635884</c:v>
                </c:pt>
                <c:pt idx="676">
                  <c:v>0.2542823879386874</c:v>
                </c:pt>
                <c:pt idx="677">
                  <c:v>0.25417105658937977</c:v>
                </c:pt>
                <c:pt idx="678">
                  <c:v>0.25478525136733021</c:v>
                </c:pt>
                <c:pt idx="679">
                  <c:v>0.25484362371542757</c:v>
                </c:pt>
                <c:pt idx="680">
                  <c:v>0.25485136327183389</c:v>
                </c:pt>
                <c:pt idx="681">
                  <c:v>0.25564562988162887</c:v>
                </c:pt>
                <c:pt idx="682">
                  <c:v>0.25676337947554612</c:v>
                </c:pt>
                <c:pt idx="683">
                  <c:v>0.25796261178854912</c:v>
                </c:pt>
                <c:pt idx="684">
                  <c:v>0.25851297402809764</c:v>
                </c:pt>
                <c:pt idx="685">
                  <c:v>0.25851822482989056</c:v>
                </c:pt>
                <c:pt idx="686">
                  <c:v>0.25817403695903984</c:v>
                </c:pt>
                <c:pt idx="687">
                  <c:v>0.25724701072772826</c:v>
                </c:pt>
                <c:pt idx="688">
                  <c:v>0.25710746479997704</c:v>
                </c:pt>
                <c:pt idx="689">
                  <c:v>0.25696681634615054</c:v>
                </c:pt>
                <c:pt idx="690">
                  <c:v>0.25697038862319316</c:v>
                </c:pt>
                <c:pt idx="691">
                  <c:v>0.25705085244211473</c:v>
                </c:pt>
                <c:pt idx="692">
                  <c:v>0.25974648869172434</c:v>
                </c:pt>
                <c:pt idx="693">
                  <c:v>0.26057085044728323</c:v>
                </c:pt>
                <c:pt idx="694">
                  <c:v>0.25983750665447219</c:v>
                </c:pt>
                <c:pt idx="695">
                  <c:v>0.2589860243035606</c:v>
                </c:pt>
                <c:pt idx="696">
                  <c:v>0.2590969778741789</c:v>
                </c:pt>
                <c:pt idx="697">
                  <c:v>0.25863096345565362</c:v>
                </c:pt>
                <c:pt idx="698">
                  <c:v>0.25856114908624228</c:v>
                </c:pt>
                <c:pt idx="699">
                  <c:v>0.25835904379405961</c:v>
                </c:pt>
                <c:pt idx="700">
                  <c:v>0.25791965576058545</c:v>
                </c:pt>
                <c:pt idx="701">
                  <c:v>0.2579347770320069</c:v>
                </c:pt>
                <c:pt idx="702">
                  <c:v>0.25886103043769354</c:v>
                </c:pt>
                <c:pt idx="703">
                  <c:v>0.25167053776732562</c:v>
                </c:pt>
                <c:pt idx="704">
                  <c:v>0.25299478572568318</c:v>
                </c:pt>
                <c:pt idx="705">
                  <c:v>0.25174804714688565</c:v>
                </c:pt>
                <c:pt idx="706">
                  <c:v>0.25170150324652057</c:v>
                </c:pt>
                <c:pt idx="707">
                  <c:v>0.25116564386120344</c:v>
                </c:pt>
                <c:pt idx="708">
                  <c:v>0.25209585463588047</c:v>
                </c:pt>
                <c:pt idx="709">
                  <c:v>0.25227039395150991</c:v>
                </c:pt>
                <c:pt idx="710">
                  <c:v>0.25215724268652717</c:v>
                </c:pt>
                <c:pt idx="711">
                  <c:v>0.25215158769819462</c:v>
                </c:pt>
                <c:pt idx="712">
                  <c:v>0.25220154428654262</c:v>
                </c:pt>
                <c:pt idx="713">
                  <c:v>0.25174197277784688</c:v>
                </c:pt>
                <c:pt idx="714">
                  <c:v>0.25173192416086149</c:v>
                </c:pt>
                <c:pt idx="715">
                  <c:v>0.2520492235891067</c:v>
                </c:pt>
                <c:pt idx="716">
                  <c:v>0.25172992560760793</c:v>
                </c:pt>
                <c:pt idx="717">
                  <c:v>0.25169240757462547</c:v>
                </c:pt>
                <c:pt idx="718">
                  <c:v>0.2516916537655115</c:v>
                </c:pt>
                <c:pt idx="719">
                  <c:v>0.25152162010382434</c:v>
                </c:pt>
                <c:pt idx="720">
                  <c:v>0.2515718890046123</c:v>
                </c:pt>
                <c:pt idx="721">
                  <c:v>0.2516243684596135</c:v>
                </c:pt>
                <c:pt idx="722">
                  <c:v>0.2518287854274921</c:v>
                </c:pt>
                <c:pt idx="723">
                  <c:v>0.25290591527692163</c:v>
                </c:pt>
                <c:pt idx="724">
                  <c:v>0.25351323481371563</c:v>
                </c:pt>
                <c:pt idx="725">
                  <c:v>0.25350730219058409</c:v>
                </c:pt>
                <c:pt idx="726">
                  <c:v>0.25485347876609049</c:v>
                </c:pt>
                <c:pt idx="727">
                  <c:v>0.26024877667614515</c:v>
                </c:pt>
                <c:pt idx="728">
                  <c:v>0.26046505926747182</c:v>
                </c:pt>
                <c:pt idx="729">
                  <c:v>0.26064917161026524</c:v>
                </c:pt>
                <c:pt idx="730">
                  <c:v>0.26354938814137263</c:v>
                </c:pt>
                <c:pt idx="731">
                  <c:v>0.26342800054484639</c:v>
                </c:pt>
                <c:pt idx="732">
                  <c:v>0.26474579898621642</c:v>
                </c:pt>
                <c:pt idx="733">
                  <c:v>0.26491242422222805</c:v>
                </c:pt>
                <c:pt idx="734">
                  <c:v>0.26586659947739788</c:v>
                </c:pt>
                <c:pt idx="735">
                  <c:v>0.26747367042005021</c:v>
                </c:pt>
                <c:pt idx="736">
                  <c:v>0.27387217708580308</c:v>
                </c:pt>
                <c:pt idx="737">
                  <c:v>0.27556100813775897</c:v>
                </c:pt>
                <c:pt idx="738">
                  <c:v>0.27884836284105319</c:v>
                </c:pt>
                <c:pt idx="739">
                  <c:v>0.28876106568935372</c:v>
                </c:pt>
                <c:pt idx="740">
                  <c:v>0.29129988655001043</c:v>
                </c:pt>
                <c:pt idx="741">
                  <c:v>0.29116916995721287</c:v>
                </c:pt>
                <c:pt idx="742">
                  <c:v>0.29128089659551903</c:v>
                </c:pt>
                <c:pt idx="743">
                  <c:v>0.29397317814492524</c:v>
                </c:pt>
                <c:pt idx="744">
                  <c:v>0.29403593754108059</c:v>
                </c:pt>
                <c:pt idx="745">
                  <c:v>0.29268753290175081</c:v>
                </c:pt>
                <c:pt idx="746">
                  <c:v>0.29279196037487759</c:v>
                </c:pt>
                <c:pt idx="747">
                  <c:v>0.29461628905103804</c:v>
                </c:pt>
                <c:pt idx="748">
                  <c:v>0.29447808353378863</c:v>
                </c:pt>
                <c:pt idx="749">
                  <c:v>0.2962757839722604</c:v>
                </c:pt>
                <c:pt idx="750">
                  <c:v>0.2960144368175246</c:v>
                </c:pt>
                <c:pt idx="751">
                  <c:v>0.30278528662104914</c:v>
                </c:pt>
                <c:pt idx="752">
                  <c:v>0.30268419968818944</c:v>
                </c:pt>
                <c:pt idx="753">
                  <c:v>0.30140109030769541</c:v>
                </c:pt>
                <c:pt idx="754">
                  <c:v>0.3006412950658634</c:v>
                </c:pt>
                <c:pt idx="755">
                  <c:v>0.30060622478113114</c:v>
                </c:pt>
                <c:pt idx="756">
                  <c:v>0.30176860582399034</c:v>
                </c:pt>
                <c:pt idx="757">
                  <c:v>0.30162329671189436</c:v>
                </c:pt>
                <c:pt idx="758">
                  <c:v>0.3006573053896025</c:v>
                </c:pt>
                <c:pt idx="759">
                  <c:v>0.30030218772321554</c:v>
                </c:pt>
                <c:pt idx="760">
                  <c:v>0.30220411902411692</c:v>
                </c:pt>
                <c:pt idx="761">
                  <c:v>0.30261138137774823</c:v>
                </c:pt>
                <c:pt idx="762">
                  <c:v>0.30214402104684168</c:v>
                </c:pt>
                <c:pt idx="763">
                  <c:v>0.30204824623783716</c:v>
                </c:pt>
                <c:pt idx="764">
                  <c:v>0.30108083516604417</c:v>
                </c:pt>
                <c:pt idx="765">
                  <c:v>0.30144483582836723</c:v>
                </c:pt>
                <c:pt idx="766">
                  <c:v>0.30152605148938644</c:v>
                </c:pt>
                <c:pt idx="767">
                  <c:v>0.30136324843073992</c:v>
                </c:pt>
                <c:pt idx="768">
                  <c:v>0.30074929993142241</c:v>
                </c:pt>
                <c:pt idx="769">
                  <c:v>0.29886504398919778</c:v>
                </c:pt>
                <c:pt idx="770">
                  <c:v>0.29890099185531033</c:v>
                </c:pt>
                <c:pt idx="771">
                  <c:v>0.29898849169518954</c:v>
                </c:pt>
                <c:pt idx="772">
                  <c:v>0.30553625389073058</c:v>
                </c:pt>
                <c:pt idx="773">
                  <c:v>0.30524866616797908</c:v>
                </c:pt>
                <c:pt idx="774">
                  <c:v>0.31068989480291365</c:v>
                </c:pt>
                <c:pt idx="775">
                  <c:v>0.31158963977286835</c:v>
                </c:pt>
                <c:pt idx="776">
                  <c:v>0.31263461778693502</c:v>
                </c:pt>
                <c:pt idx="777">
                  <c:v>0.31284071582025802</c:v>
                </c:pt>
                <c:pt idx="778">
                  <c:v>0.3131753085572494</c:v>
                </c:pt>
                <c:pt idx="779">
                  <c:v>0.31319417945116634</c:v>
                </c:pt>
                <c:pt idx="780">
                  <c:v>0.31212555987036317</c:v>
                </c:pt>
                <c:pt idx="781">
                  <c:v>0.311948099145885</c:v>
                </c:pt>
                <c:pt idx="782">
                  <c:v>0.31469556857863662</c:v>
                </c:pt>
                <c:pt idx="783">
                  <c:v>0.31527067887000298</c:v>
                </c:pt>
                <c:pt idx="784">
                  <c:v>0.31518772684697133</c:v>
                </c:pt>
                <c:pt idx="785">
                  <c:v>0.31598608709134218</c:v>
                </c:pt>
                <c:pt idx="786">
                  <c:v>0.31476229386330556</c:v>
                </c:pt>
                <c:pt idx="787">
                  <c:v>0.31430725765707718</c:v>
                </c:pt>
                <c:pt idx="788">
                  <c:v>0.31437386580077992</c:v>
                </c:pt>
                <c:pt idx="789">
                  <c:v>0.31410678322972274</c:v>
                </c:pt>
                <c:pt idx="790">
                  <c:v>0.31394947258811623</c:v>
                </c:pt>
                <c:pt idx="791">
                  <c:v>0.31401609870927288</c:v>
                </c:pt>
                <c:pt idx="792">
                  <c:v>0.31412452708109073</c:v>
                </c:pt>
                <c:pt idx="793">
                  <c:v>0.31279398450192708</c:v>
                </c:pt>
                <c:pt idx="794">
                  <c:v>0.31311644172199887</c:v>
                </c:pt>
                <c:pt idx="795">
                  <c:v>0.31312378796701801</c:v>
                </c:pt>
                <c:pt idx="796">
                  <c:v>0.31309558756205474</c:v>
                </c:pt>
                <c:pt idx="797">
                  <c:v>0.31270599741944727</c:v>
                </c:pt>
                <c:pt idx="798">
                  <c:v>0.31029852444417511</c:v>
                </c:pt>
                <c:pt idx="799">
                  <c:v>0.3100553431463503</c:v>
                </c:pt>
                <c:pt idx="800">
                  <c:v>0.31016239731645234</c:v>
                </c:pt>
                <c:pt idx="801">
                  <c:v>0.30992406714153931</c:v>
                </c:pt>
                <c:pt idx="802">
                  <c:v>0.3101637983325129</c:v>
                </c:pt>
                <c:pt idx="803">
                  <c:v>0.30785773734140554</c:v>
                </c:pt>
                <c:pt idx="804">
                  <c:v>0.30803041376978429</c:v>
                </c:pt>
                <c:pt idx="805">
                  <c:v>0.30803130909517895</c:v>
                </c:pt>
                <c:pt idx="806">
                  <c:v>0.3079174767374358</c:v>
                </c:pt>
                <c:pt idx="807">
                  <c:v>0.3082050079809503</c:v>
                </c:pt>
                <c:pt idx="808">
                  <c:v>0.30814747277776511</c:v>
                </c:pt>
                <c:pt idx="809">
                  <c:v>0.30837203514478861</c:v>
                </c:pt>
                <c:pt idx="810">
                  <c:v>0.30858226750788298</c:v>
                </c:pt>
                <c:pt idx="811">
                  <c:v>0.30863436509226622</c:v>
                </c:pt>
                <c:pt idx="812">
                  <c:v>0.30621471539983613</c:v>
                </c:pt>
                <c:pt idx="813">
                  <c:v>0.30653795019742036</c:v>
                </c:pt>
                <c:pt idx="814">
                  <c:v>0.30664001771335248</c:v>
                </c:pt>
                <c:pt idx="815">
                  <c:v>0.30675788839513668</c:v>
                </c:pt>
                <c:pt idx="816">
                  <c:v>0.30639801763104257</c:v>
                </c:pt>
                <c:pt idx="817">
                  <c:v>0.30750934171937527</c:v>
                </c:pt>
                <c:pt idx="818">
                  <c:v>0.30819412944793345</c:v>
                </c:pt>
                <c:pt idx="819">
                  <c:v>0.30835396342895455</c:v>
                </c:pt>
                <c:pt idx="820">
                  <c:v>0.30833081941413837</c:v>
                </c:pt>
                <c:pt idx="821">
                  <c:v>0.30820741654310724</c:v>
                </c:pt>
                <c:pt idx="822">
                  <c:v>0.30849355425335279</c:v>
                </c:pt>
                <c:pt idx="823">
                  <c:v>0.30846333760926409</c:v>
                </c:pt>
                <c:pt idx="824">
                  <c:v>0.3056972979033189</c:v>
                </c:pt>
                <c:pt idx="825">
                  <c:v>0.30570495366146211</c:v>
                </c:pt>
                <c:pt idx="826">
                  <c:v>0.3056805934909993</c:v>
                </c:pt>
                <c:pt idx="827">
                  <c:v>0.30572681130574286</c:v>
                </c:pt>
                <c:pt idx="828">
                  <c:v>0.30568125863575119</c:v>
                </c:pt>
                <c:pt idx="829">
                  <c:v>0.30508349853021272</c:v>
                </c:pt>
                <c:pt idx="830">
                  <c:v>0.30620220706093726</c:v>
                </c:pt>
                <c:pt idx="831">
                  <c:v>0.3068992508953331</c:v>
                </c:pt>
                <c:pt idx="832">
                  <c:v>0.30584488075810584</c:v>
                </c:pt>
                <c:pt idx="833">
                  <c:v>0.30565246243831795</c:v>
                </c:pt>
                <c:pt idx="834">
                  <c:v>0.30577676547283045</c:v>
                </c:pt>
                <c:pt idx="835">
                  <c:v>0.3051197039394053</c:v>
                </c:pt>
                <c:pt idx="836">
                  <c:v>0.30515303144059697</c:v>
                </c:pt>
                <c:pt idx="837">
                  <c:v>0.30416397299091735</c:v>
                </c:pt>
                <c:pt idx="838">
                  <c:v>0.30374672733236685</c:v>
                </c:pt>
                <c:pt idx="839">
                  <c:v>0.30310136722154751</c:v>
                </c:pt>
                <c:pt idx="840">
                  <c:v>0.30327766361378916</c:v>
                </c:pt>
                <c:pt idx="841">
                  <c:v>0.3032966786948707</c:v>
                </c:pt>
                <c:pt idx="842">
                  <c:v>0.30353577990035246</c:v>
                </c:pt>
                <c:pt idx="843">
                  <c:v>0.3035927062117168</c:v>
                </c:pt>
                <c:pt idx="844">
                  <c:v>0.30399319936020208</c:v>
                </c:pt>
                <c:pt idx="845">
                  <c:v>0.30383005403541741</c:v>
                </c:pt>
                <c:pt idx="846">
                  <c:v>0.30296665286024355</c:v>
                </c:pt>
                <c:pt idx="847">
                  <c:v>0.30293712181183524</c:v>
                </c:pt>
                <c:pt idx="848">
                  <c:v>0.30108706921515083</c:v>
                </c:pt>
                <c:pt idx="849">
                  <c:v>0.30259369509832185</c:v>
                </c:pt>
                <c:pt idx="850">
                  <c:v>0.30263074588523409</c:v>
                </c:pt>
                <c:pt idx="851">
                  <c:v>0.30249355721489762</c:v>
                </c:pt>
                <c:pt idx="852">
                  <c:v>0.30261623650995417</c:v>
                </c:pt>
                <c:pt idx="853">
                  <c:v>0.30259194056895855</c:v>
                </c:pt>
                <c:pt idx="854">
                  <c:v>0.30259200324324265</c:v>
                </c:pt>
                <c:pt idx="855">
                  <c:v>0.30284952961010453</c:v>
                </c:pt>
                <c:pt idx="856">
                  <c:v>0.30941473796859686</c:v>
                </c:pt>
                <c:pt idx="857">
                  <c:v>0.3087867680070725</c:v>
                </c:pt>
                <c:pt idx="858">
                  <c:v>0.30983428122490075</c:v>
                </c:pt>
                <c:pt idx="859">
                  <c:v>0.30930728881207969</c:v>
                </c:pt>
                <c:pt idx="860">
                  <c:v>0.30876583007993952</c:v>
                </c:pt>
                <c:pt idx="861">
                  <c:v>0.30747375922526599</c:v>
                </c:pt>
                <c:pt idx="862">
                  <c:v>0.30838209586852738</c:v>
                </c:pt>
                <c:pt idx="863">
                  <c:v>0.30822335690976171</c:v>
                </c:pt>
                <c:pt idx="864">
                  <c:v>0.30833134608868712</c:v>
                </c:pt>
                <c:pt idx="865">
                  <c:v>0.30885000604653656</c:v>
                </c:pt>
                <c:pt idx="866">
                  <c:v>0.30881429118982279</c:v>
                </c:pt>
                <c:pt idx="867">
                  <c:v>0.30831140735781198</c:v>
                </c:pt>
                <c:pt idx="868">
                  <c:v>0.30878158231161318</c:v>
                </c:pt>
                <c:pt idx="869">
                  <c:v>0.308548726723129</c:v>
                </c:pt>
                <c:pt idx="870">
                  <c:v>0.30776810634894258</c:v>
                </c:pt>
                <c:pt idx="871">
                  <c:v>0.3066268524382289</c:v>
                </c:pt>
                <c:pt idx="872">
                  <c:v>0.30810841022823787</c:v>
                </c:pt>
                <c:pt idx="873">
                  <c:v>0.30803165376367564</c:v>
                </c:pt>
                <c:pt idx="874">
                  <c:v>0.30798270599194877</c:v>
                </c:pt>
                <c:pt idx="875">
                  <c:v>0.30771272059568716</c:v>
                </c:pt>
                <c:pt idx="876">
                  <c:v>0.30784771801222649</c:v>
                </c:pt>
                <c:pt idx="877">
                  <c:v>0.30571287083927562</c:v>
                </c:pt>
                <c:pt idx="878">
                  <c:v>0.30782479535231116</c:v>
                </c:pt>
                <c:pt idx="879">
                  <c:v>0.30803115702654471</c:v>
                </c:pt>
                <c:pt idx="880">
                  <c:v>0.30874039560929234</c:v>
                </c:pt>
                <c:pt idx="881">
                  <c:v>0.3088335200355613</c:v>
                </c:pt>
                <c:pt idx="882">
                  <c:v>0.30845282112378586</c:v>
                </c:pt>
                <c:pt idx="883">
                  <c:v>0.30843153878572216</c:v>
                </c:pt>
                <c:pt idx="884">
                  <c:v>0.30739858990202412</c:v>
                </c:pt>
                <c:pt idx="885">
                  <c:v>0.30625380714750777</c:v>
                </c:pt>
                <c:pt idx="886">
                  <c:v>0.30745220743811258</c:v>
                </c:pt>
                <c:pt idx="887">
                  <c:v>0.30918006851370133</c:v>
                </c:pt>
                <c:pt idx="888">
                  <c:v>0.31070706896951567</c:v>
                </c:pt>
                <c:pt idx="889">
                  <c:v>0.31108342949433337</c:v>
                </c:pt>
                <c:pt idx="890">
                  <c:v>0.30902217670919285</c:v>
                </c:pt>
                <c:pt idx="891">
                  <c:v>0.30904320856212303</c:v>
                </c:pt>
                <c:pt idx="892">
                  <c:v>0.30884377508016236</c:v>
                </c:pt>
                <c:pt idx="893">
                  <c:v>0.30972718460610849</c:v>
                </c:pt>
                <c:pt idx="894">
                  <c:v>0.31039609794681022</c:v>
                </c:pt>
                <c:pt idx="895">
                  <c:v>0.31041239503057372</c:v>
                </c:pt>
                <c:pt idx="896">
                  <c:v>0.31029737731737805</c:v>
                </c:pt>
                <c:pt idx="897">
                  <c:v>0.31139176239046273</c:v>
                </c:pt>
                <c:pt idx="898">
                  <c:v>0.31173462321810946</c:v>
                </c:pt>
                <c:pt idx="899">
                  <c:v>0.31232460740731238</c:v>
                </c:pt>
                <c:pt idx="900">
                  <c:v>0.31289320294237122</c:v>
                </c:pt>
                <c:pt idx="901">
                  <c:v>0.3115922629822192</c:v>
                </c:pt>
                <c:pt idx="902">
                  <c:v>0.31083546532537704</c:v>
                </c:pt>
                <c:pt idx="903">
                  <c:v>0.31050464017301327</c:v>
                </c:pt>
                <c:pt idx="904">
                  <c:v>0.3104062237942255</c:v>
                </c:pt>
                <c:pt idx="905">
                  <c:v>0.31132575946747959</c:v>
                </c:pt>
                <c:pt idx="906">
                  <c:v>0.3112849570964597</c:v>
                </c:pt>
                <c:pt idx="907">
                  <c:v>0.30992657475498614</c:v>
                </c:pt>
                <c:pt idx="908">
                  <c:v>0.31259628881491375</c:v>
                </c:pt>
                <c:pt idx="909">
                  <c:v>0.31418576758305006</c:v>
                </c:pt>
                <c:pt idx="910">
                  <c:v>0.31420609413120132</c:v>
                </c:pt>
                <c:pt idx="911">
                  <c:v>0.31461010720700222</c:v>
                </c:pt>
                <c:pt idx="912">
                  <c:v>0.31543088547127102</c:v>
                </c:pt>
                <c:pt idx="913">
                  <c:v>0.31570307179309376</c:v>
                </c:pt>
                <c:pt idx="914">
                  <c:v>0.31546431697704658</c:v>
                </c:pt>
                <c:pt idx="915">
                  <c:v>0.31548431737484101</c:v>
                </c:pt>
                <c:pt idx="916">
                  <c:v>0.3152900372708296</c:v>
                </c:pt>
                <c:pt idx="917">
                  <c:v>0.31476046370875393</c:v>
                </c:pt>
                <c:pt idx="918">
                  <c:v>0.31722105460603522</c:v>
                </c:pt>
                <c:pt idx="919">
                  <c:v>0.31686726156574874</c:v>
                </c:pt>
                <c:pt idx="920">
                  <c:v>0.3168444731203971</c:v>
                </c:pt>
                <c:pt idx="921">
                  <c:v>0.31684652140378339</c:v>
                </c:pt>
                <c:pt idx="922">
                  <c:v>0.31758331019804598</c:v>
                </c:pt>
                <c:pt idx="923">
                  <c:v>0.31763389698143002</c:v>
                </c:pt>
                <c:pt idx="924">
                  <c:v>0.3172433953598639</c:v>
                </c:pt>
                <c:pt idx="925">
                  <c:v>0.31649580495577073</c:v>
                </c:pt>
                <c:pt idx="926">
                  <c:v>0.31636195173312487</c:v>
                </c:pt>
                <c:pt idx="927">
                  <c:v>0.31626179325616155</c:v>
                </c:pt>
                <c:pt idx="928">
                  <c:v>0.31566115255534721</c:v>
                </c:pt>
                <c:pt idx="929">
                  <c:v>0.31565632149888051</c:v>
                </c:pt>
                <c:pt idx="930">
                  <c:v>0.3153469892275792</c:v>
                </c:pt>
                <c:pt idx="931">
                  <c:v>0.31535687137467799</c:v>
                </c:pt>
                <c:pt idx="932">
                  <c:v>0.3153644136168946</c:v>
                </c:pt>
                <c:pt idx="933">
                  <c:v>0.31457796991647408</c:v>
                </c:pt>
                <c:pt idx="934">
                  <c:v>0.31452943345204892</c:v>
                </c:pt>
                <c:pt idx="935">
                  <c:v>0.31347783977135341</c:v>
                </c:pt>
                <c:pt idx="936">
                  <c:v>0.31346361629484037</c:v>
                </c:pt>
                <c:pt idx="937">
                  <c:v>0.31394420867629252</c:v>
                </c:pt>
                <c:pt idx="938">
                  <c:v>0.31393254947084709</c:v>
                </c:pt>
                <c:pt idx="939">
                  <c:v>0.31401610768590932</c:v>
                </c:pt>
                <c:pt idx="940">
                  <c:v>0.31421966485697339</c:v>
                </c:pt>
                <c:pt idx="941">
                  <c:v>0.31397712368282282</c:v>
                </c:pt>
                <c:pt idx="942">
                  <c:v>0.31577882047577971</c:v>
                </c:pt>
                <c:pt idx="943">
                  <c:v>0.32906359799402712</c:v>
                </c:pt>
                <c:pt idx="944">
                  <c:v>0.32693181841894575</c:v>
                </c:pt>
                <c:pt idx="945">
                  <c:v>0.32639142989140602</c:v>
                </c:pt>
                <c:pt idx="946">
                  <c:v>0.32643776093810506</c:v>
                </c:pt>
                <c:pt idx="947">
                  <c:v>0.32643307100181279</c:v>
                </c:pt>
                <c:pt idx="948">
                  <c:v>0.3267231456246919</c:v>
                </c:pt>
                <c:pt idx="949">
                  <c:v>0.32835687349552611</c:v>
                </c:pt>
                <c:pt idx="950">
                  <c:v>0.32830599716794234</c:v>
                </c:pt>
                <c:pt idx="951">
                  <c:v>0.32892141500641553</c:v>
                </c:pt>
                <c:pt idx="952">
                  <c:v>0.3291718617221524</c:v>
                </c:pt>
                <c:pt idx="953">
                  <c:v>0.32918251271315402</c:v>
                </c:pt>
                <c:pt idx="954">
                  <c:v>0.32840322669896932</c:v>
                </c:pt>
                <c:pt idx="955">
                  <c:v>0.32908348026101764</c:v>
                </c:pt>
                <c:pt idx="956">
                  <c:v>0.32812261661603603</c:v>
                </c:pt>
                <c:pt idx="957">
                  <c:v>0.32718914586407649</c:v>
                </c:pt>
                <c:pt idx="958">
                  <c:v>0.32720001096321266</c:v>
                </c:pt>
                <c:pt idx="959">
                  <c:v>0.32766604472865685</c:v>
                </c:pt>
                <c:pt idx="960">
                  <c:v>0.32669227214789948</c:v>
                </c:pt>
                <c:pt idx="961">
                  <c:v>0.32702854128533837</c:v>
                </c:pt>
                <c:pt idx="962">
                  <c:v>0.32702236397601714</c:v>
                </c:pt>
                <c:pt idx="963">
                  <c:v>0.32719605648179617</c:v>
                </c:pt>
                <c:pt idx="964">
                  <c:v>0.32730302992643201</c:v>
                </c:pt>
                <c:pt idx="965">
                  <c:v>0.32735279704321607</c:v>
                </c:pt>
                <c:pt idx="966">
                  <c:v>0.32736710929500923</c:v>
                </c:pt>
                <c:pt idx="967">
                  <c:v>0.32742309959927796</c:v>
                </c:pt>
                <c:pt idx="968">
                  <c:v>0.3276050645082465</c:v>
                </c:pt>
                <c:pt idx="969">
                  <c:v>0.32863607343986839</c:v>
                </c:pt>
                <c:pt idx="970">
                  <c:v>0.36340327606219847</c:v>
                </c:pt>
                <c:pt idx="971">
                  <c:v>0.36376927328191211</c:v>
                </c:pt>
                <c:pt idx="972">
                  <c:v>0.36376960703204186</c:v>
                </c:pt>
                <c:pt idx="973">
                  <c:v>0.36375266334009448</c:v>
                </c:pt>
                <c:pt idx="974">
                  <c:v>0.36369516583910838</c:v>
                </c:pt>
                <c:pt idx="975">
                  <c:v>0.3654556674121538</c:v>
                </c:pt>
                <c:pt idx="976">
                  <c:v>0.36502208480552956</c:v>
                </c:pt>
                <c:pt idx="977">
                  <c:v>0.36684354714090456</c:v>
                </c:pt>
                <c:pt idx="978">
                  <c:v>0.36560861929518484</c:v>
                </c:pt>
                <c:pt idx="979">
                  <c:v>0.36265253624995863</c:v>
                </c:pt>
                <c:pt idx="980">
                  <c:v>0.36247703542787119</c:v>
                </c:pt>
                <c:pt idx="981">
                  <c:v>0.36277192245810658</c:v>
                </c:pt>
                <c:pt idx="982">
                  <c:v>0.3606062594417162</c:v>
                </c:pt>
                <c:pt idx="983">
                  <c:v>0.36064668326681049</c:v>
                </c:pt>
                <c:pt idx="984">
                  <c:v>0.35905195815109581</c:v>
                </c:pt>
                <c:pt idx="985">
                  <c:v>0.35952536944857699</c:v>
                </c:pt>
                <c:pt idx="986">
                  <c:v>0.3587136896925508</c:v>
                </c:pt>
                <c:pt idx="987">
                  <c:v>0.35741584388014869</c:v>
                </c:pt>
                <c:pt idx="988">
                  <c:v>0.35199908318077172</c:v>
                </c:pt>
                <c:pt idx="989">
                  <c:v>0.35198649054522746</c:v>
                </c:pt>
                <c:pt idx="990">
                  <c:v>0.34889346049600722</c:v>
                </c:pt>
                <c:pt idx="991">
                  <c:v>0.34138000208418995</c:v>
                </c:pt>
                <c:pt idx="992">
                  <c:v>0.33977089004844591</c:v>
                </c:pt>
                <c:pt idx="993">
                  <c:v>0.33974703748266272</c:v>
                </c:pt>
                <c:pt idx="994">
                  <c:v>0.34036704796452311</c:v>
                </c:pt>
                <c:pt idx="995">
                  <c:v>0.33857220107825087</c:v>
                </c:pt>
                <c:pt idx="996">
                  <c:v>0.33890122750404245</c:v>
                </c:pt>
                <c:pt idx="997">
                  <c:v>0.33902297467293857</c:v>
                </c:pt>
                <c:pt idx="998">
                  <c:v>0.33901187356355966</c:v>
                </c:pt>
                <c:pt idx="999">
                  <c:v>0.33778059656462217</c:v>
                </c:pt>
                <c:pt idx="1000">
                  <c:v>0.33811805106284087</c:v>
                </c:pt>
                <c:pt idx="1001">
                  <c:v>0.33740283595864584</c:v>
                </c:pt>
                <c:pt idx="1002">
                  <c:v>0.33736344574722471</c:v>
                </c:pt>
                <c:pt idx="1003">
                  <c:v>0.33059928585349824</c:v>
                </c:pt>
                <c:pt idx="1004">
                  <c:v>0.33079136612885257</c:v>
                </c:pt>
                <c:pt idx="1005">
                  <c:v>0.3306014232181726</c:v>
                </c:pt>
                <c:pt idx="1006">
                  <c:v>0.33041984166107774</c:v>
                </c:pt>
                <c:pt idx="1007">
                  <c:v>0.33072751312410625</c:v>
                </c:pt>
                <c:pt idx="1008">
                  <c:v>0.32941849900559877</c:v>
                </c:pt>
                <c:pt idx="1009">
                  <c:v>0.32984823512861455</c:v>
                </c:pt>
                <c:pt idx="1010">
                  <c:v>0.32949742105383267</c:v>
                </c:pt>
                <c:pt idx="1011">
                  <c:v>0.32947759668647247</c:v>
                </c:pt>
                <c:pt idx="1012">
                  <c:v>0.32913458536921847</c:v>
                </c:pt>
                <c:pt idx="1013">
                  <c:v>0.32894349936036904</c:v>
                </c:pt>
                <c:pt idx="1014">
                  <c:v>0.32894673303961192</c:v>
                </c:pt>
                <c:pt idx="1015">
                  <c:v>0.32879203433907706</c:v>
                </c:pt>
                <c:pt idx="1016">
                  <c:v>0.32969070450854193</c:v>
                </c:pt>
                <c:pt idx="1017">
                  <c:v>0.32934551029880682</c:v>
                </c:pt>
                <c:pt idx="1018">
                  <c:v>0.32933197552885363</c:v>
                </c:pt>
                <c:pt idx="1019">
                  <c:v>0.32986386520746991</c:v>
                </c:pt>
                <c:pt idx="1020">
                  <c:v>0.32973290278654976</c:v>
                </c:pt>
                <c:pt idx="1021">
                  <c:v>0.33008466264472008</c:v>
                </c:pt>
                <c:pt idx="1022">
                  <c:v>0.33010613056060567</c:v>
                </c:pt>
                <c:pt idx="1023">
                  <c:v>0.33050983887541791</c:v>
                </c:pt>
                <c:pt idx="1024">
                  <c:v>0.32430370574172335</c:v>
                </c:pt>
                <c:pt idx="1025">
                  <c:v>0.32512290681665212</c:v>
                </c:pt>
                <c:pt idx="1026">
                  <c:v>0.32091639548697948</c:v>
                </c:pt>
                <c:pt idx="1027">
                  <c:v>0.31980980632582917</c:v>
                </c:pt>
                <c:pt idx="1028">
                  <c:v>0.31790799637397771</c:v>
                </c:pt>
                <c:pt idx="1029">
                  <c:v>0.31757132934892413</c:v>
                </c:pt>
                <c:pt idx="1030">
                  <c:v>0.31753577077266104</c:v>
                </c:pt>
                <c:pt idx="1031">
                  <c:v>0.31778935817475512</c:v>
                </c:pt>
                <c:pt idx="1032">
                  <c:v>0.31771136872283151</c:v>
                </c:pt>
                <c:pt idx="1033">
                  <c:v>0.31796680192981497</c:v>
                </c:pt>
                <c:pt idx="1034">
                  <c:v>0.3165239228622152</c:v>
                </c:pt>
                <c:pt idx="1035">
                  <c:v>0.31590213192389166</c:v>
                </c:pt>
                <c:pt idx="1036">
                  <c:v>0.31597805283024505</c:v>
                </c:pt>
                <c:pt idx="1037">
                  <c:v>0.31546950885745612</c:v>
                </c:pt>
                <c:pt idx="1038">
                  <c:v>0.31580392715455469</c:v>
                </c:pt>
                <c:pt idx="1039">
                  <c:v>0.31607255746449886</c:v>
                </c:pt>
                <c:pt idx="1040">
                  <c:v>0.31594710555357941</c:v>
                </c:pt>
                <c:pt idx="1041">
                  <c:v>0.31612541110932202</c:v>
                </c:pt>
                <c:pt idx="1042">
                  <c:v>0.31616462887959307</c:v>
                </c:pt>
                <c:pt idx="1043">
                  <c:v>0.31587028686369523</c:v>
                </c:pt>
                <c:pt idx="1044">
                  <c:v>0.31581906791667491</c:v>
                </c:pt>
                <c:pt idx="1045">
                  <c:v>0.31559505628528484</c:v>
                </c:pt>
                <c:pt idx="1046">
                  <c:v>0.31574039726845332</c:v>
                </c:pt>
                <c:pt idx="1047">
                  <c:v>0.31567665809526935</c:v>
                </c:pt>
                <c:pt idx="1048">
                  <c:v>0.31570365444747317</c:v>
                </c:pt>
                <c:pt idx="1049">
                  <c:v>0.31646471072790067</c:v>
                </c:pt>
                <c:pt idx="1050">
                  <c:v>0.31635198665378222</c:v>
                </c:pt>
                <c:pt idx="1051">
                  <c:v>0.31627232455728393</c:v>
                </c:pt>
                <c:pt idx="1052">
                  <c:v>0.31608023599385382</c:v>
                </c:pt>
                <c:pt idx="1053">
                  <c:v>0.3159585871594357</c:v>
                </c:pt>
                <c:pt idx="1054">
                  <c:v>0.31600803608880768</c:v>
                </c:pt>
                <c:pt idx="1055">
                  <c:v>0.31569411979775108</c:v>
                </c:pt>
                <c:pt idx="1056">
                  <c:v>0.31559593272108089</c:v>
                </c:pt>
                <c:pt idx="1057">
                  <c:v>0.31556818703019685</c:v>
                </c:pt>
                <c:pt idx="1058">
                  <c:v>0.31596935322598096</c:v>
                </c:pt>
                <c:pt idx="1059">
                  <c:v>0.3172373334411025</c:v>
                </c:pt>
                <c:pt idx="1060">
                  <c:v>0.31801923573009699</c:v>
                </c:pt>
                <c:pt idx="1061">
                  <c:v>0.31759389388138209</c:v>
                </c:pt>
                <c:pt idx="1062">
                  <c:v>0.3170325034753057</c:v>
                </c:pt>
                <c:pt idx="1063">
                  <c:v>0.31785175939838045</c:v>
                </c:pt>
                <c:pt idx="1064">
                  <c:v>0.31773382911285009</c:v>
                </c:pt>
                <c:pt idx="1065">
                  <c:v>0.31755171548665428</c:v>
                </c:pt>
                <c:pt idx="1066">
                  <c:v>0.31739187288102988</c:v>
                </c:pt>
                <c:pt idx="1067">
                  <c:v>0.31737849419144759</c:v>
                </c:pt>
                <c:pt idx="1068">
                  <c:v>0.31754491934372536</c:v>
                </c:pt>
                <c:pt idx="1069">
                  <c:v>0.31567525735946833</c:v>
                </c:pt>
                <c:pt idx="1070">
                  <c:v>0.31533803101760305</c:v>
                </c:pt>
                <c:pt idx="1071">
                  <c:v>0.31524698061806816</c:v>
                </c:pt>
                <c:pt idx="1072">
                  <c:v>0.31531923566351161</c:v>
                </c:pt>
                <c:pt idx="1073">
                  <c:v>0.31544047827969529</c:v>
                </c:pt>
                <c:pt idx="1074">
                  <c:v>0.31564617313182819</c:v>
                </c:pt>
                <c:pt idx="1075">
                  <c:v>0.31569162562420122</c:v>
                </c:pt>
                <c:pt idx="1076">
                  <c:v>0.31621360652278929</c:v>
                </c:pt>
                <c:pt idx="1077">
                  <c:v>0.31605948403726264</c:v>
                </c:pt>
                <c:pt idx="1078">
                  <c:v>0.31607021063023449</c:v>
                </c:pt>
                <c:pt idx="1079">
                  <c:v>0.31621182326791403</c:v>
                </c:pt>
                <c:pt idx="1080">
                  <c:v>0.31621989899882547</c:v>
                </c:pt>
                <c:pt idx="1081">
                  <c:v>0.31644782854716447</c:v>
                </c:pt>
                <c:pt idx="1082">
                  <c:v>0.31491077907544668</c:v>
                </c:pt>
                <c:pt idx="1083">
                  <c:v>0.31459415739635987</c:v>
                </c:pt>
                <c:pt idx="1084">
                  <c:v>0.31468655735091416</c:v>
                </c:pt>
                <c:pt idx="1085">
                  <c:v>0.31533101466694574</c:v>
                </c:pt>
                <c:pt idx="1086">
                  <c:v>0.3160339853802111</c:v>
                </c:pt>
                <c:pt idx="1087">
                  <c:v>0.31607488486762642</c:v>
                </c:pt>
                <c:pt idx="1088">
                  <c:v>0.31655570088411289</c:v>
                </c:pt>
                <c:pt idx="1089">
                  <c:v>0.31843267577887607</c:v>
                </c:pt>
                <c:pt idx="1090">
                  <c:v>0.31833328794577537</c:v>
                </c:pt>
                <c:pt idx="1091">
                  <c:v>0.31909184840358767</c:v>
                </c:pt>
                <c:pt idx="1092">
                  <c:v>0.31944086618803336</c:v>
                </c:pt>
                <c:pt idx="1093">
                  <c:v>0.31945023486804225</c:v>
                </c:pt>
                <c:pt idx="1094">
                  <c:v>0.3195219865916929</c:v>
                </c:pt>
                <c:pt idx="1095">
                  <c:v>0.31984842329252922</c:v>
                </c:pt>
                <c:pt idx="1096">
                  <c:v>0.31956563306582697</c:v>
                </c:pt>
                <c:pt idx="1097">
                  <c:v>0.31960997608756353</c:v>
                </c:pt>
                <c:pt idx="1098">
                  <c:v>0.31842082126367699</c:v>
                </c:pt>
                <c:pt idx="1099">
                  <c:v>0.31766434064673471</c:v>
                </c:pt>
                <c:pt idx="1100">
                  <c:v>0.3179685554237302</c:v>
                </c:pt>
                <c:pt idx="1101">
                  <c:v>0.3166827775034261</c:v>
                </c:pt>
                <c:pt idx="1102">
                  <c:v>0.3169287969738761</c:v>
                </c:pt>
                <c:pt idx="1103">
                  <c:v>0.31741601381165802</c:v>
                </c:pt>
                <c:pt idx="1104">
                  <c:v>0.31694514497673348</c:v>
                </c:pt>
                <c:pt idx="1105">
                  <c:v>0.31702536056016817</c:v>
                </c:pt>
                <c:pt idx="1106">
                  <c:v>0.31760421349215651</c:v>
                </c:pt>
                <c:pt idx="1107">
                  <c:v>0.31694050812843771</c:v>
                </c:pt>
                <c:pt idx="1108">
                  <c:v>0.31156803491001278</c:v>
                </c:pt>
                <c:pt idx="1109">
                  <c:v>0.31155883195935641</c:v>
                </c:pt>
                <c:pt idx="1110">
                  <c:v>0.31178610025800751</c:v>
                </c:pt>
                <c:pt idx="1111">
                  <c:v>0.31156826228864487</c:v>
                </c:pt>
                <c:pt idx="1112">
                  <c:v>0.31271035526841484</c:v>
                </c:pt>
                <c:pt idx="1113">
                  <c:v>0.31216745147674291</c:v>
                </c:pt>
                <c:pt idx="1114">
                  <c:v>0.31159550130115349</c:v>
                </c:pt>
                <c:pt idx="1115">
                  <c:v>0.3125185121116088</c:v>
                </c:pt>
                <c:pt idx="1116">
                  <c:v>0.31252387420821304</c:v>
                </c:pt>
                <c:pt idx="1117">
                  <c:v>0.31223420355147247</c:v>
                </c:pt>
                <c:pt idx="1118">
                  <c:v>0.31284113440864481</c:v>
                </c:pt>
                <c:pt idx="1119">
                  <c:v>0.31241724520177244</c:v>
                </c:pt>
                <c:pt idx="1120">
                  <c:v>0.31129247293771239</c:v>
                </c:pt>
                <c:pt idx="1121">
                  <c:v>0.31130641317826901</c:v>
                </c:pt>
                <c:pt idx="1122">
                  <c:v>0.31089100694556748</c:v>
                </c:pt>
                <c:pt idx="1123">
                  <c:v>0.31073998349142601</c:v>
                </c:pt>
                <c:pt idx="1124">
                  <c:v>0.3091305026613988</c:v>
                </c:pt>
                <c:pt idx="1125">
                  <c:v>0.3091080938710325</c:v>
                </c:pt>
                <c:pt idx="1126">
                  <c:v>0.30927919026416001</c:v>
                </c:pt>
                <c:pt idx="1127">
                  <c:v>0.30938076361255173</c:v>
                </c:pt>
                <c:pt idx="1128">
                  <c:v>0.30904187094926272</c:v>
                </c:pt>
                <c:pt idx="1129">
                  <c:v>0.30841777393621533</c:v>
                </c:pt>
                <c:pt idx="1130">
                  <c:v>0.30741676896681042</c:v>
                </c:pt>
                <c:pt idx="1131">
                  <c:v>0.30795209070951113</c:v>
                </c:pt>
                <c:pt idx="1132">
                  <c:v>0.30876665658471941</c:v>
                </c:pt>
                <c:pt idx="1133">
                  <c:v>0.30854215182043326</c:v>
                </c:pt>
                <c:pt idx="1134">
                  <c:v>0.30904943978137156</c:v>
                </c:pt>
                <c:pt idx="1135">
                  <c:v>0.30923536143288222</c:v>
                </c:pt>
                <c:pt idx="1136">
                  <c:v>0.30933517962768287</c:v>
                </c:pt>
                <c:pt idx="1137">
                  <c:v>0.30934938095136832</c:v>
                </c:pt>
                <c:pt idx="1138">
                  <c:v>0.3078695087229687</c:v>
                </c:pt>
                <c:pt idx="1139">
                  <c:v>0.30638117954078703</c:v>
                </c:pt>
                <c:pt idx="1140">
                  <c:v>0.30521619866911159</c:v>
                </c:pt>
                <c:pt idx="1141">
                  <c:v>0.30463005027518725</c:v>
                </c:pt>
                <c:pt idx="1142">
                  <c:v>0.30477536193303412</c:v>
                </c:pt>
                <c:pt idx="1143">
                  <c:v>0.30511444564445772</c:v>
                </c:pt>
                <c:pt idx="1144">
                  <c:v>0.30462309839736673</c:v>
                </c:pt>
                <c:pt idx="1145">
                  <c:v>0.30403737964263144</c:v>
                </c:pt>
                <c:pt idx="1146">
                  <c:v>0.30330867837545078</c:v>
                </c:pt>
                <c:pt idx="1147">
                  <c:v>0.30335463283020614</c:v>
                </c:pt>
                <c:pt idx="1148">
                  <c:v>0.30342601307461253</c:v>
                </c:pt>
                <c:pt idx="1149">
                  <c:v>0.30263216699985401</c:v>
                </c:pt>
                <c:pt idx="1150">
                  <c:v>0.3030081834225487</c:v>
                </c:pt>
                <c:pt idx="1151">
                  <c:v>0.30380186629653061</c:v>
                </c:pt>
                <c:pt idx="1152">
                  <c:v>0.30357316621260394</c:v>
                </c:pt>
                <c:pt idx="1153">
                  <c:v>0.30304527852468599</c:v>
                </c:pt>
                <c:pt idx="1154">
                  <c:v>0.30308817841204566</c:v>
                </c:pt>
                <c:pt idx="1155">
                  <c:v>0.30325494804437209</c:v>
                </c:pt>
                <c:pt idx="1156">
                  <c:v>0.30324232844578258</c:v>
                </c:pt>
                <c:pt idx="1157">
                  <c:v>0.30256040566153647</c:v>
                </c:pt>
                <c:pt idx="1158">
                  <c:v>0.30252148248158894</c:v>
                </c:pt>
                <c:pt idx="1159">
                  <c:v>0.30174990028853471</c:v>
                </c:pt>
                <c:pt idx="1160">
                  <c:v>0.29865423934928897</c:v>
                </c:pt>
                <c:pt idx="1161">
                  <c:v>0.29689809078762885</c:v>
                </c:pt>
                <c:pt idx="1162">
                  <c:v>0.29690933577117545</c:v>
                </c:pt>
                <c:pt idx="1163">
                  <c:v>0.29537954087751228</c:v>
                </c:pt>
                <c:pt idx="1164">
                  <c:v>0.29380391988579013</c:v>
                </c:pt>
                <c:pt idx="1165">
                  <c:v>0.29390347201512368</c:v>
                </c:pt>
                <c:pt idx="1166">
                  <c:v>0.29428636016574733</c:v>
                </c:pt>
                <c:pt idx="1167">
                  <c:v>0.2942715411052983</c:v>
                </c:pt>
                <c:pt idx="1168">
                  <c:v>0.29444649996595523</c:v>
                </c:pt>
                <c:pt idx="1169">
                  <c:v>0.29455679700199749</c:v>
                </c:pt>
                <c:pt idx="1170">
                  <c:v>0.29214814843357301</c:v>
                </c:pt>
                <c:pt idx="1171">
                  <c:v>0.29259103379524787</c:v>
                </c:pt>
                <c:pt idx="1172">
                  <c:v>0.29251604219626215</c:v>
                </c:pt>
                <c:pt idx="1173">
                  <c:v>0.29248493280603982</c:v>
                </c:pt>
                <c:pt idx="1174">
                  <c:v>0.2921029746508445</c:v>
                </c:pt>
                <c:pt idx="1175">
                  <c:v>0.2920336918090945</c:v>
                </c:pt>
                <c:pt idx="1176">
                  <c:v>0.29309292515601693</c:v>
                </c:pt>
                <c:pt idx="1177">
                  <c:v>0.29288772046739936</c:v>
                </c:pt>
                <c:pt idx="1178">
                  <c:v>0.29211223192161284</c:v>
                </c:pt>
                <c:pt idx="1179">
                  <c:v>0.29264393168105302</c:v>
                </c:pt>
                <c:pt idx="1180">
                  <c:v>0.29423062087027635</c:v>
                </c:pt>
                <c:pt idx="1181">
                  <c:v>0.29437425089928876</c:v>
                </c:pt>
                <c:pt idx="1182">
                  <c:v>0.29423593465618764</c:v>
                </c:pt>
                <c:pt idx="1183">
                  <c:v>0.29550748538212568</c:v>
                </c:pt>
                <c:pt idx="1184">
                  <c:v>0.29583819554136737</c:v>
                </c:pt>
                <c:pt idx="1185">
                  <c:v>0.29589248338901891</c:v>
                </c:pt>
                <c:pt idx="1186">
                  <c:v>0.29544220337750438</c:v>
                </c:pt>
                <c:pt idx="1187">
                  <c:v>0.29490089900993238</c:v>
                </c:pt>
                <c:pt idx="1188">
                  <c:v>0.29495140937384062</c:v>
                </c:pt>
                <c:pt idx="1189">
                  <c:v>0.29584103193419969</c:v>
                </c:pt>
                <c:pt idx="1190">
                  <c:v>0.29603760850421634</c:v>
                </c:pt>
                <c:pt idx="1191">
                  <c:v>0.29530200106936511</c:v>
                </c:pt>
                <c:pt idx="1192">
                  <c:v>0.29500250080329976</c:v>
                </c:pt>
                <c:pt idx="1193">
                  <c:v>0.2951509209274184</c:v>
                </c:pt>
                <c:pt idx="1194">
                  <c:v>0.29342612427913911</c:v>
                </c:pt>
                <c:pt idx="1195">
                  <c:v>0.27913620065371175</c:v>
                </c:pt>
                <c:pt idx="1196">
                  <c:v>0.28021858850111853</c:v>
                </c:pt>
                <c:pt idx="1197">
                  <c:v>0.27948104526348222</c:v>
                </c:pt>
                <c:pt idx="1198">
                  <c:v>0.28073123173434883</c:v>
                </c:pt>
                <c:pt idx="1199">
                  <c:v>0.28073047305193738</c:v>
                </c:pt>
                <c:pt idx="1200">
                  <c:v>0.28069486306983732</c:v>
                </c:pt>
                <c:pt idx="1201">
                  <c:v>0.27884597742660461</c:v>
                </c:pt>
                <c:pt idx="1202">
                  <c:v>0.27882411610801344</c:v>
                </c:pt>
                <c:pt idx="1203">
                  <c:v>0.27948698657559268</c:v>
                </c:pt>
                <c:pt idx="1204">
                  <c:v>0.27916610704466976</c:v>
                </c:pt>
                <c:pt idx="1205">
                  <c:v>0.2789831339753252</c:v>
                </c:pt>
                <c:pt idx="1206">
                  <c:v>0.27894621858727459</c:v>
                </c:pt>
                <c:pt idx="1207">
                  <c:v>0.27841021753108042</c:v>
                </c:pt>
                <c:pt idx="1208">
                  <c:v>0.27907816468463748</c:v>
                </c:pt>
                <c:pt idx="1209">
                  <c:v>0.27910334662156217</c:v>
                </c:pt>
                <c:pt idx="1210">
                  <c:v>0.27913481463275819</c:v>
                </c:pt>
                <c:pt idx="1211">
                  <c:v>0.27928952333645318</c:v>
                </c:pt>
                <c:pt idx="1212">
                  <c:v>0.27935212251016101</c:v>
                </c:pt>
                <c:pt idx="1213">
                  <c:v>0.27847612043412961</c:v>
                </c:pt>
                <c:pt idx="1214">
                  <c:v>0.27849571830330755</c:v>
                </c:pt>
                <c:pt idx="1215">
                  <c:v>0.2785407223027771</c:v>
                </c:pt>
                <c:pt idx="1216">
                  <c:v>0.27871159054494793</c:v>
                </c:pt>
                <c:pt idx="1217">
                  <c:v>0.27850383200222506</c:v>
                </c:pt>
                <c:pt idx="1218">
                  <c:v>0.27883135847442003</c:v>
                </c:pt>
                <c:pt idx="1219">
                  <c:v>0.27853807276051668</c:v>
                </c:pt>
                <c:pt idx="1220">
                  <c:v>0.27881112924412327</c:v>
                </c:pt>
                <c:pt idx="1221">
                  <c:v>0.27755040045431767</c:v>
                </c:pt>
                <c:pt idx="1222">
                  <c:v>0.2301780506567935</c:v>
                </c:pt>
                <c:pt idx="1223">
                  <c:v>0.23975867543953278</c:v>
                </c:pt>
                <c:pt idx="1224">
                  <c:v>0.2399198409553098</c:v>
                </c:pt>
                <c:pt idx="1225">
                  <c:v>0.24315914604590255</c:v>
                </c:pt>
                <c:pt idx="1226">
                  <c:v>0.24282438664125125</c:v>
                </c:pt>
                <c:pt idx="1227">
                  <c:v>0.23970425510930451</c:v>
                </c:pt>
                <c:pt idx="1228">
                  <c:v>0.2406539413147564</c:v>
                </c:pt>
                <c:pt idx="1229">
                  <c:v>0.23767690347648857</c:v>
                </c:pt>
                <c:pt idx="1230">
                  <c:v>0.23767101695318238</c:v>
                </c:pt>
                <c:pt idx="1231">
                  <c:v>0.23677681718579791</c:v>
                </c:pt>
                <c:pt idx="1232">
                  <c:v>0.2366983092463503</c:v>
                </c:pt>
                <c:pt idx="1233">
                  <c:v>0.23656341876191825</c:v>
                </c:pt>
                <c:pt idx="1234">
                  <c:v>0.23623360159365658</c:v>
                </c:pt>
                <c:pt idx="1235">
                  <c:v>0.23619316356618528</c:v>
                </c:pt>
                <c:pt idx="1236">
                  <c:v>0.23594207777439899</c:v>
                </c:pt>
                <c:pt idx="1237">
                  <c:v>0.23595341508914369</c:v>
                </c:pt>
                <c:pt idx="1238">
                  <c:v>0.23682474504628312</c:v>
                </c:pt>
                <c:pt idx="1239">
                  <c:v>0.23668571076611555</c:v>
                </c:pt>
                <c:pt idx="1240">
                  <c:v>0.23911255722577829</c:v>
                </c:pt>
                <c:pt idx="1241">
                  <c:v>0.23697413836402462</c:v>
                </c:pt>
                <c:pt idx="1242">
                  <c:v>0.23733736649763998</c:v>
                </c:pt>
                <c:pt idx="1243">
                  <c:v>0.23756900559611027</c:v>
                </c:pt>
                <c:pt idx="1244">
                  <c:v>0.23708056262665833</c:v>
                </c:pt>
                <c:pt idx="1245">
                  <c:v>0.23764679785215539</c:v>
                </c:pt>
                <c:pt idx="1246">
                  <c:v>0.23795445933812881</c:v>
                </c:pt>
                <c:pt idx="1247">
                  <c:v>0.23666092408324368</c:v>
                </c:pt>
                <c:pt idx="1248">
                  <c:v>0.2362636468083873</c:v>
                </c:pt>
                <c:pt idx="1249">
                  <c:v>0.23632605845495991</c:v>
                </c:pt>
                <c:pt idx="1250">
                  <c:v>0.23633144710166251</c:v>
                </c:pt>
                <c:pt idx="1251">
                  <c:v>0.23556390662964194</c:v>
                </c:pt>
                <c:pt idx="1252">
                  <c:v>0.23744470105305451</c:v>
                </c:pt>
                <c:pt idx="1253">
                  <c:v>0.23645383849702278</c:v>
                </c:pt>
                <c:pt idx="1254">
                  <c:v>0.2372332265510344</c:v>
                </c:pt>
                <c:pt idx="1255">
                  <c:v>0.23695622572118077</c:v>
                </c:pt>
                <c:pt idx="1256">
                  <c:v>0.23884717073885237</c:v>
                </c:pt>
                <c:pt idx="1257">
                  <c:v>0.23901410034764681</c:v>
                </c:pt>
                <c:pt idx="1258">
                  <c:v>0.23906409105227053</c:v>
                </c:pt>
                <c:pt idx="1259">
                  <c:v>0.23853064126417683</c:v>
                </c:pt>
                <c:pt idx="1260">
                  <c:v>0.23866832940438587</c:v>
                </c:pt>
                <c:pt idx="1261">
                  <c:v>0.23982573481012995</c:v>
                </c:pt>
                <c:pt idx="1262">
                  <c:v>0.23981980137022357</c:v>
                </c:pt>
                <c:pt idx="1263">
                  <c:v>0.24017192644978</c:v>
                </c:pt>
                <c:pt idx="1264">
                  <c:v>0.23904800754691391</c:v>
                </c:pt>
                <c:pt idx="1265">
                  <c:v>0.23881662793937777</c:v>
                </c:pt>
                <c:pt idx="1266">
                  <c:v>0.23882744376036952</c:v>
                </c:pt>
                <c:pt idx="1267">
                  <c:v>0.23893958185843867</c:v>
                </c:pt>
                <c:pt idx="1268">
                  <c:v>0.23746851820414364</c:v>
                </c:pt>
                <c:pt idx="1269">
                  <c:v>0.23719803900710468</c:v>
                </c:pt>
                <c:pt idx="1270">
                  <c:v>0.23801715543293744</c:v>
                </c:pt>
                <c:pt idx="1271">
                  <c:v>0.23761794094825134</c:v>
                </c:pt>
                <c:pt idx="1272">
                  <c:v>0.2376171226392095</c:v>
                </c:pt>
                <c:pt idx="1273">
                  <c:v>0.23779678134476434</c:v>
                </c:pt>
                <c:pt idx="1274">
                  <c:v>0.23773000098044669</c:v>
                </c:pt>
                <c:pt idx="1275">
                  <c:v>0.23720409305445961</c:v>
                </c:pt>
                <c:pt idx="1276">
                  <c:v>0.23594292996847108</c:v>
                </c:pt>
                <c:pt idx="1277">
                  <c:v>0.23883515666966848</c:v>
                </c:pt>
                <c:pt idx="1278">
                  <c:v>0.23865257642626708</c:v>
                </c:pt>
                <c:pt idx="1279">
                  <c:v>0.23870949857024273</c:v>
                </c:pt>
                <c:pt idx="1280">
                  <c:v>0.2388108628185899</c:v>
                </c:pt>
                <c:pt idx="1281">
                  <c:v>0.23876506906451825</c:v>
                </c:pt>
                <c:pt idx="1282">
                  <c:v>0.2383051277070336</c:v>
                </c:pt>
                <c:pt idx="1283">
                  <c:v>0.23856737947450848</c:v>
                </c:pt>
                <c:pt idx="1284">
                  <c:v>0.23845807022539908</c:v>
                </c:pt>
                <c:pt idx="1285">
                  <c:v>0.23829898505047237</c:v>
                </c:pt>
                <c:pt idx="1286">
                  <c:v>0.23711233298976314</c:v>
                </c:pt>
                <c:pt idx="1287">
                  <c:v>0.2369120981606557</c:v>
                </c:pt>
                <c:pt idx="1288">
                  <c:v>0.23695316240999789</c:v>
                </c:pt>
                <c:pt idx="1289">
                  <c:v>0.23691710524939977</c:v>
                </c:pt>
                <c:pt idx="1290">
                  <c:v>0.23618028509355204</c:v>
                </c:pt>
                <c:pt idx="1291">
                  <c:v>0.23690472160100748</c:v>
                </c:pt>
                <c:pt idx="1292">
                  <c:v>0.23687566785528946</c:v>
                </c:pt>
                <c:pt idx="1293">
                  <c:v>0.23662960807877223</c:v>
                </c:pt>
                <c:pt idx="1294">
                  <c:v>0.2365790433843826</c:v>
                </c:pt>
                <c:pt idx="1295">
                  <c:v>0.2365203560177089</c:v>
                </c:pt>
                <c:pt idx="1296">
                  <c:v>0.2361633392041815</c:v>
                </c:pt>
                <c:pt idx="1297">
                  <c:v>0.23710514129236579</c:v>
                </c:pt>
                <c:pt idx="1298">
                  <c:v>0.23809439852412231</c:v>
                </c:pt>
                <c:pt idx="1299">
                  <c:v>0.23818916516771244</c:v>
                </c:pt>
                <c:pt idx="1300">
                  <c:v>0.23837937279847757</c:v>
                </c:pt>
                <c:pt idx="1301">
                  <c:v>0.23750004707280528</c:v>
                </c:pt>
                <c:pt idx="1302">
                  <c:v>0.2377283686056299</c:v>
                </c:pt>
                <c:pt idx="1303">
                  <c:v>0.23756513007748667</c:v>
                </c:pt>
                <c:pt idx="1304">
                  <c:v>0.23835043970484021</c:v>
                </c:pt>
                <c:pt idx="1305">
                  <c:v>0.23774968521832088</c:v>
                </c:pt>
                <c:pt idx="1306">
                  <c:v>0.23756014615939755</c:v>
                </c:pt>
                <c:pt idx="1307">
                  <c:v>0.23856863313444962</c:v>
                </c:pt>
                <c:pt idx="1308">
                  <c:v>0.23857701173972756</c:v>
                </c:pt>
                <c:pt idx="1309">
                  <c:v>0.23872420698630598</c:v>
                </c:pt>
                <c:pt idx="1310">
                  <c:v>0.23839898319562985</c:v>
                </c:pt>
                <c:pt idx="1311">
                  <c:v>0.23634108152124686</c:v>
                </c:pt>
                <c:pt idx="1312">
                  <c:v>0.23584156988759741</c:v>
                </c:pt>
                <c:pt idx="1313">
                  <c:v>0.23609517441360905</c:v>
                </c:pt>
                <c:pt idx="1314">
                  <c:v>0.2363861373111458</c:v>
                </c:pt>
                <c:pt idx="1315">
                  <c:v>0.23574138241022799</c:v>
                </c:pt>
                <c:pt idx="1316">
                  <c:v>0.23707905235900156</c:v>
                </c:pt>
                <c:pt idx="1317">
                  <c:v>0.23666127762698219</c:v>
                </c:pt>
                <c:pt idx="1318">
                  <c:v>0.23655038588064653</c:v>
                </c:pt>
                <c:pt idx="1319">
                  <c:v>0.23668840856635567</c:v>
                </c:pt>
                <c:pt idx="1320">
                  <c:v>0.23596080904265984</c:v>
                </c:pt>
                <c:pt idx="1321">
                  <c:v>0.23627314848578468</c:v>
                </c:pt>
                <c:pt idx="1322">
                  <c:v>0.23615980735814146</c:v>
                </c:pt>
                <c:pt idx="1323">
                  <c:v>0.23651586174879666</c:v>
                </c:pt>
                <c:pt idx="1324">
                  <c:v>0.23629686070265371</c:v>
                </c:pt>
                <c:pt idx="1325">
                  <c:v>0.23682802060525934</c:v>
                </c:pt>
                <c:pt idx="1326">
                  <c:v>0.23626570689432713</c:v>
                </c:pt>
                <c:pt idx="1327">
                  <c:v>0.23651923110489531</c:v>
                </c:pt>
                <c:pt idx="1328">
                  <c:v>0.23606509325476838</c:v>
                </c:pt>
                <c:pt idx="1329">
                  <c:v>0.23606513025612916</c:v>
                </c:pt>
                <c:pt idx="1330">
                  <c:v>0.23614818826333295</c:v>
                </c:pt>
                <c:pt idx="1331">
                  <c:v>0.23590023877250207</c:v>
                </c:pt>
                <c:pt idx="1332">
                  <c:v>0.23586498013880461</c:v>
                </c:pt>
                <c:pt idx="1333">
                  <c:v>0.23508939098573883</c:v>
                </c:pt>
                <c:pt idx="1334">
                  <c:v>0.23588100390646263</c:v>
                </c:pt>
                <c:pt idx="1335">
                  <c:v>0.23882099915026397</c:v>
                </c:pt>
                <c:pt idx="1336">
                  <c:v>0.23879695938712786</c:v>
                </c:pt>
                <c:pt idx="1337">
                  <c:v>0.23775273802205199</c:v>
                </c:pt>
                <c:pt idx="1338">
                  <c:v>0.23702290270622858</c:v>
                </c:pt>
                <c:pt idx="1339">
                  <c:v>0.23711805757291946</c:v>
                </c:pt>
                <c:pt idx="1340">
                  <c:v>0.23697020326744317</c:v>
                </c:pt>
                <c:pt idx="1341">
                  <c:v>0.23404023025444901</c:v>
                </c:pt>
                <c:pt idx="1342">
                  <c:v>0.23403400194706844</c:v>
                </c:pt>
                <c:pt idx="1343">
                  <c:v>0.23336270499328618</c:v>
                </c:pt>
                <c:pt idx="1344">
                  <c:v>0.2325875060616846</c:v>
                </c:pt>
                <c:pt idx="1345">
                  <c:v>0.23263108439386138</c:v>
                </c:pt>
                <c:pt idx="1346">
                  <c:v>0.23253493764451277</c:v>
                </c:pt>
                <c:pt idx="1347">
                  <c:v>0.23198620475536189</c:v>
                </c:pt>
                <c:pt idx="1348">
                  <c:v>0.23321608416673728</c:v>
                </c:pt>
                <c:pt idx="1349">
                  <c:v>0.23509746201551357</c:v>
                </c:pt>
                <c:pt idx="1350">
                  <c:v>0.23571908256314766</c:v>
                </c:pt>
                <c:pt idx="1351">
                  <c:v>0.23572041234317634</c:v>
                </c:pt>
                <c:pt idx="1352">
                  <c:v>0.23581942762406702</c:v>
                </c:pt>
                <c:pt idx="1353">
                  <c:v>0.23482108480358246</c:v>
                </c:pt>
                <c:pt idx="1354">
                  <c:v>0.23373248057759152</c:v>
                </c:pt>
                <c:pt idx="1355">
                  <c:v>0.23295290105371522</c:v>
                </c:pt>
                <c:pt idx="1356">
                  <c:v>0.23424895467964701</c:v>
                </c:pt>
                <c:pt idx="1357">
                  <c:v>0.23464236448726841</c:v>
                </c:pt>
                <c:pt idx="1358">
                  <c:v>0.23357878354969358</c:v>
                </c:pt>
                <c:pt idx="1359">
                  <c:v>0.23360349847934481</c:v>
                </c:pt>
                <c:pt idx="1360">
                  <c:v>0.23357782170496644</c:v>
                </c:pt>
                <c:pt idx="1361">
                  <c:v>0.23346352309935856</c:v>
                </c:pt>
                <c:pt idx="1362">
                  <c:v>0.23197550844186776</c:v>
                </c:pt>
                <c:pt idx="1363">
                  <c:v>0.23732171187490814</c:v>
                </c:pt>
                <c:pt idx="1364">
                  <c:v>0.23720649068596891</c:v>
                </c:pt>
                <c:pt idx="1365">
                  <c:v>0.23781488573771456</c:v>
                </c:pt>
                <c:pt idx="1366">
                  <c:v>0.23770177361943276</c:v>
                </c:pt>
                <c:pt idx="1367">
                  <c:v>0.23860396010177259</c:v>
                </c:pt>
                <c:pt idx="1368">
                  <c:v>0.23854755141985343</c:v>
                </c:pt>
                <c:pt idx="1369">
                  <c:v>0.23868778321441114</c:v>
                </c:pt>
                <c:pt idx="1370">
                  <c:v>0.23803690631880448</c:v>
                </c:pt>
                <c:pt idx="1371">
                  <c:v>0.23865841360731435</c:v>
                </c:pt>
                <c:pt idx="1372">
                  <c:v>0.23848145641233642</c:v>
                </c:pt>
                <c:pt idx="1373">
                  <c:v>0.23844900361015747</c:v>
                </c:pt>
                <c:pt idx="1374">
                  <c:v>0.23895191182183945</c:v>
                </c:pt>
                <c:pt idx="1375">
                  <c:v>0.23891810269378957</c:v>
                </c:pt>
                <c:pt idx="1376">
                  <c:v>0.24227119815633696</c:v>
                </c:pt>
                <c:pt idx="1377">
                  <c:v>0.2423949961231458</c:v>
                </c:pt>
                <c:pt idx="1378">
                  <c:v>0.24455583582380439</c:v>
                </c:pt>
                <c:pt idx="1379">
                  <c:v>0.2446987553961564</c:v>
                </c:pt>
                <c:pt idx="1380">
                  <c:v>0.24469889609612736</c:v>
                </c:pt>
                <c:pt idx="1381">
                  <c:v>0.24687635310862616</c:v>
                </c:pt>
                <c:pt idx="1382">
                  <c:v>0.24652828108760982</c:v>
                </c:pt>
                <c:pt idx="1383">
                  <c:v>0.24619859084053106</c:v>
                </c:pt>
                <c:pt idx="1384">
                  <c:v>0.24354005464917713</c:v>
                </c:pt>
                <c:pt idx="1385">
                  <c:v>0.25372751049743475</c:v>
                </c:pt>
                <c:pt idx="1386">
                  <c:v>0.25413485470277519</c:v>
                </c:pt>
                <c:pt idx="1387">
                  <c:v>0.25429416580008329</c:v>
                </c:pt>
                <c:pt idx="1388">
                  <c:v>0.25920933789258904</c:v>
                </c:pt>
                <c:pt idx="1389">
                  <c:v>0.26300582484621077</c:v>
                </c:pt>
                <c:pt idx="1390">
                  <c:v>0.26368117656738044</c:v>
                </c:pt>
                <c:pt idx="1391">
                  <c:v>0.26392323681986057</c:v>
                </c:pt>
                <c:pt idx="1392">
                  <c:v>0.26598693422336206</c:v>
                </c:pt>
                <c:pt idx="1393">
                  <c:v>0.26643695989442528</c:v>
                </c:pt>
                <c:pt idx="1394">
                  <c:v>0.26643314096941012</c:v>
                </c:pt>
                <c:pt idx="1395">
                  <c:v>0.27385626271749042</c:v>
                </c:pt>
                <c:pt idx="1396">
                  <c:v>0.27401009618703914</c:v>
                </c:pt>
                <c:pt idx="1397">
                  <c:v>0.2767464909032506</c:v>
                </c:pt>
                <c:pt idx="1398">
                  <c:v>0.27681441193785322</c:v>
                </c:pt>
                <c:pt idx="1399">
                  <c:v>0.2785197392927537</c:v>
                </c:pt>
                <c:pt idx="1400">
                  <c:v>0.27893625972992725</c:v>
                </c:pt>
                <c:pt idx="1401">
                  <c:v>0.27869890485007165</c:v>
                </c:pt>
                <c:pt idx="1402">
                  <c:v>0.28337728686736013</c:v>
                </c:pt>
                <c:pt idx="1403">
                  <c:v>0.28904320790439481</c:v>
                </c:pt>
                <c:pt idx="1404">
                  <c:v>0.28884794995514523</c:v>
                </c:pt>
                <c:pt idx="1405">
                  <c:v>0.29022198820313194</c:v>
                </c:pt>
                <c:pt idx="1406">
                  <c:v>0.29054228208455019</c:v>
                </c:pt>
                <c:pt idx="1407">
                  <c:v>0.29729893959175419</c:v>
                </c:pt>
                <c:pt idx="1408">
                  <c:v>0.29848428545164346</c:v>
                </c:pt>
                <c:pt idx="1409">
                  <c:v>0.30035157508324944</c:v>
                </c:pt>
                <c:pt idx="1410">
                  <c:v>0.31407030875815367</c:v>
                </c:pt>
                <c:pt idx="1411">
                  <c:v>0.32609214159650562</c:v>
                </c:pt>
                <c:pt idx="1412">
                  <c:v>0.33628490281425799</c:v>
                </c:pt>
                <c:pt idx="1413">
                  <c:v>0.34074405424991633</c:v>
                </c:pt>
                <c:pt idx="1414">
                  <c:v>0.34089420698030809</c:v>
                </c:pt>
                <c:pt idx="1415">
                  <c:v>0.34084828825615726</c:v>
                </c:pt>
                <c:pt idx="1416">
                  <c:v>0.34642379905560799</c:v>
                </c:pt>
                <c:pt idx="1417">
                  <c:v>0.34636864382995108</c:v>
                </c:pt>
                <c:pt idx="1418">
                  <c:v>0.34645147296400264</c:v>
                </c:pt>
                <c:pt idx="1419">
                  <c:v>0.34671895405630332</c:v>
                </c:pt>
                <c:pt idx="1420">
                  <c:v>0.35129036215175113</c:v>
                </c:pt>
                <c:pt idx="1421">
                  <c:v>0.35446571912495212</c:v>
                </c:pt>
                <c:pt idx="1422">
                  <c:v>0.35708426638522489</c:v>
                </c:pt>
                <c:pt idx="1423">
                  <c:v>0.35894984808541308</c:v>
                </c:pt>
                <c:pt idx="1424">
                  <c:v>0.35934646750898902</c:v>
                </c:pt>
                <c:pt idx="1425">
                  <c:v>0.36558512581486874</c:v>
                </c:pt>
                <c:pt idx="1426">
                  <c:v>0.36634472748891528</c:v>
                </c:pt>
                <c:pt idx="1427">
                  <c:v>0.36845068033694761</c:v>
                </c:pt>
                <c:pt idx="1428">
                  <c:v>0.36751546990290279</c:v>
                </c:pt>
                <c:pt idx="1429">
                  <c:v>0.36792084660593455</c:v>
                </c:pt>
                <c:pt idx="1430">
                  <c:v>0.36910757171347719</c:v>
                </c:pt>
                <c:pt idx="1431">
                  <c:v>0.36886618317599884</c:v>
                </c:pt>
                <c:pt idx="1432">
                  <c:v>0.36750909770661372</c:v>
                </c:pt>
                <c:pt idx="1433">
                  <c:v>0.36806683015042624</c:v>
                </c:pt>
                <c:pt idx="1434">
                  <c:v>0.36809154558020324</c:v>
                </c:pt>
                <c:pt idx="1435">
                  <c:v>0.37194280655794787</c:v>
                </c:pt>
                <c:pt idx="1436">
                  <c:v>0.37699658657188845</c:v>
                </c:pt>
                <c:pt idx="1437">
                  <c:v>0.38140568232587529</c:v>
                </c:pt>
                <c:pt idx="1438">
                  <c:v>0.3811489526709021</c:v>
                </c:pt>
                <c:pt idx="1439">
                  <c:v>0.38143611403224481</c:v>
                </c:pt>
                <c:pt idx="1440">
                  <c:v>0.38129630408939269</c:v>
                </c:pt>
                <c:pt idx="1441">
                  <c:v>0.38073246837910274</c:v>
                </c:pt>
                <c:pt idx="1442">
                  <c:v>0.38101724718971569</c:v>
                </c:pt>
                <c:pt idx="1443">
                  <c:v>0.38088791987601239</c:v>
                </c:pt>
                <c:pt idx="1444">
                  <c:v>0.38141539282402953</c:v>
                </c:pt>
                <c:pt idx="1445">
                  <c:v>0.3820293532574156</c:v>
                </c:pt>
                <c:pt idx="1446">
                  <c:v>0.38204065599200643</c:v>
                </c:pt>
                <c:pt idx="1447">
                  <c:v>0.38331115809344235</c:v>
                </c:pt>
                <c:pt idx="1448">
                  <c:v>0.3824523458647503</c:v>
                </c:pt>
                <c:pt idx="1449">
                  <c:v>0.38254635279369403</c:v>
                </c:pt>
                <c:pt idx="1450">
                  <c:v>0.38161632219884722</c:v>
                </c:pt>
                <c:pt idx="1451">
                  <c:v>0.38197363930226519</c:v>
                </c:pt>
                <c:pt idx="1452">
                  <c:v>0.3815923200795836</c:v>
                </c:pt>
                <c:pt idx="1453">
                  <c:v>0.38361939947419088</c:v>
                </c:pt>
                <c:pt idx="1454">
                  <c:v>0.38397736167794988</c:v>
                </c:pt>
                <c:pt idx="1455">
                  <c:v>0.3829460957966902</c:v>
                </c:pt>
                <c:pt idx="1456">
                  <c:v>0.38323040995294111</c:v>
                </c:pt>
                <c:pt idx="1457">
                  <c:v>0.38515327760041829</c:v>
                </c:pt>
                <c:pt idx="1458">
                  <c:v>0.3852152319324687</c:v>
                </c:pt>
                <c:pt idx="1459">
                  <c:v>0.38682537240983061</c:v>
                </c:pt>
                <c:pt idx="1460">
                  <c:v>0.38636113884467266</c:v>
                </c:pt>
                <c:pt idx="1461">
                  <c:v>0.38687856125886766</c:v>
                </c:pt>
                <c:pt idx="1462">
                  <c:v>0.3870433385553062</c:v>
                </c:pt>
                <c:pt idx="1463">
                  <c:v>0.38762993412853164</c:v>
                </c:pt>
                <c:pt idx="1464">
                  <c:v>0.38829009418231697</c:v>
                </c:pt>
                <c:pt idx="1465">
                  <c:v>0.39115268283580751</c:v>
                </c:pt>
                <c:pt idx="1466">
                  <c:v>0.39134588404290327</c:v>
                </c:pt>
                <c:pt idx="1467">
                  <c:v>0.39111679472754241</c:v>
                </c:pt>
                <c:pt idx="1468">
                  <c:v>0.39128441558527088</c:v>
                </c:pt>
                <c:pt idx="1469">
                  <c:v>0.39128446166914405</c:v>
                </c:pt>
                <c:pt idx="1470">
                  <c:v>0.391076891140761</c:v>
                </c:pt>
                <c:pt idx="1471">
                  <c:v>0.39274736846721281</c:v>
                </c:pt>
                <c:pt idx="1472">
                  <c:v>0.39245119612724344</c:v>
                </c:pt>
                <c:pt idx="1473">
                  <c:v>0.39304245737021432</c:v>
                </c:pt>
                <c:pt idx="1474">
                  <c:v>0.39298930780713237</c:v>
                </c:pt>
                <c:pt idx="1475">
                  <c:v>0.38713799284925599</c:v>
                </c:pt>
                <c:pt idx="1476">
                  <c:v>0.3874022191912716</c:v>
                </c:pt>
                <c:pt idx="1477">
                  <c:v>0.38521372208035082</c:v>
                </c:pt>
                <c:pt idx="1478">
                  <c:v>0.38539437481980976</c:v>
                </c:pt>
                <c:pt idx="1479">
                  <c:v>0.38517872291627425</c:v>
                </c:pt>
                <c:pt idx="1480">
                  <c:v>0.38543185719208412</c:v>
                </c:pt>
                <c:pt idx="1481">
                  <c:v>0.38535630445716584</c:v>
                </c:pt>
                <c:pt idx="1482">
                  <c:v>0.3853778279695283</c:v>
                </c:pt>
                <c:pt idx="1483">
                  <c:v>0.38540626782276388</c:v>
                </c:pt>
                <c:pt idx="1484">
                  <c:v>0.3854815986977993</c:v>
                </c:pt>
                <c:pt idx="1485">
                  <c:v>0.38502193979871757</c:v>
                </c:pt>
                <c:pt idx="1486">
                  <c:v>0.38706978245512813</c:v>
                </c:pt>
                <c:pt idx="1487">
                  <c:v>0.3892692140716621</c:v>
                </c:pt>
                <c:pt idx="1488">
                  <c:v>0.38919543292777231</c:v>
                </c:pt>
                <c:pt idx="1489">
                  <c:v>0.39156819806713522</c:v>
                </c:pt>
                <c:pt idx="1490">
                  <c:v>0.39302922834353093</c:v>
                </c:pt>
                <c:pt idx="1491">
                  <c:v>0.39290539765478055</c:v>
                </c:pt>
                <c:pt idx="1492">
                  <c:v>0.39311272737663339</c:v>
                </c:pt>
                <c:pt idx="1493">
                  <c:v>0.39481819807246754</c:v>
                </c:pt>
                <c:pt idx="1494">
                  <c:v>0.39507461823542545</c:v>
                </c:pt>
                <c:pt idx="1495">
                  <c:v>0.3955633425126428</c:v>
                </c:pt>
                <c:pt idx="1496">
                  <c:v>0.39631991549435336</c:v>
                </c:pt>
                <c:pt idx="1497">
                  <c:v>0.39589985015932322</c:v>
                </c:pt>
                <c:pt idx="1498">
                  <c:v>0.39533872933586423</c:v>
                </c:pt>
                <c:pt idx="1499">
                  <c:v>0.39552495970388135</c:v>
                </c:pt>
                <c:pt idx="1500">
                  <c:v>0.39591210980215918</c:v>
                </c:pt>
                <c:pt idx="1501">
                  <c:v>0.39595859149542961</c:v>
                </c:pt>
                <c:pt idx="1502">
                  <c:v>0.39567030975906359</c:v>
                </c:pt>
                <c:pt idx="1503">
                  <c:v>0.39595339463459656</c:v>
                </c:pt>
                <c:pt idx="1504">
                  <c:v>0.39457795107778054</c:v>
                </c:pt>
                <c:pt idx="1505">
                  <c:v>0.39651320128910084</c:v>
                </c:pt>
                <c:pt idx="1506">
                  <c:v>0.39644983456966393</c:v>
                </c:pt>
                <c:pt idx="1507">
                  <c:v>0.39652601651807529</c:v>
                </c:pt>
                <c:pt idx="1508">
                  <c:v>0.39682359441351606</c:v>
                </c:pt>
                <c:pt idx="1509">
                  <c:v>0.40348920049965276</c:v>
                </c:pt>
                <c:pt idx="1510">
                  <c:v>0.40350396983588116</c:v>
                </c:pt>
                <c:pt idx="1511">
                  <c:v>0.40606007260454313</c:v>
                </c:pt>
                <c:pt idx="1512">
                  <c:v>0.4072513551192829</c:v>
                </c:pt>
                <c:pt idx="1513">
                  <c:v>0.41195819359661995</c:v>
                </c:pt>
                <c:pt idx="1514">
                  <c:v>0.41342880130366799</c:v>
                </c:pt>
                <c:pt idx="1515">
                  <c:v>0.4133782549720878</c:v>
                </c:pt>
                <c:pt idx="1516">
                  <c:v>0.41332689578576653</c:v>
                </c:pt>
                <c:pt idx="1517">
                  <c:v>0.41332787289560496</c:v>
                </c:pt>
                <c:pt idx="1518">
                  <c:v>0.41522204357208614</c:v>
                </c:pt>
                <c:pt idx="1519">
                  <c:v>0.41570518330522421</c:v>
                </c:pt>
                <c:pt idx="1520">
                  <c:v>0.41570449466001086</c:v>
                </c:pt>
                <c:pt idx="1521">
                  <c:v>0.41675598850783024</c:v>
                </c:pt>
                <c:pt idx="1522">
                  <c:v>0.41691768013686414</c:v>
                </c:pt>
                <c:pt idx="1523">
                  <c:v>0.4169870924407052</c:v>
                </c:pt>
                <c:pt idx="1524">
                  <c:v>0.41733669567771481</c:v>
                </c:pt>
                <c:pt idx="1525">
                  <c:v>0.41677794669266299</c:v>
                </c:pt>
                <c:pt idx="1526">
                  <c:v>0.41751470442529448</c:v>
                </c:pt>
                <c:pt idx="1527">
                  <c:v>0.41762873859122845</c:v>
                </c:pt>
                <c:pt idx="1528">
                  <c:v>0.41761539601235115</c:v>
                </c:pt>
                <c:pt idx="1529">
                  <c:v>0.41594260567078095</c:v>
                </c:pt>
                <c:pt idx="1530">
                  <c:v>0.41604675276721836</c:v>
                </c:pt>
                <c:pt idx="1531">
                  <c:v>0.42072108119523227</c:v>
                </c:pt>
                <c:pt idx="1532">
                  <c:v>0.42182329854506384</c:v>
                </c:pt>
                <c:pt idx="1533">
                  <c:v>0.42213361213890127</c:v>
                </c:pt>
                <c:pt idx="1534">
                  <c:v>0.42380035684144873</c:v>
                </c:pt>
                <c:pt idx="1535">
                  <c:v>0.42367146890251939</c:v>
                </c:pt>
                <c:pt idx="1536">
                  <c:v>0.42587072412470756</c:v>
                </c:pt>
                <c:pt idx="1537">
                  <c:v>0.42736610713610063</c:v>
                </c:pt>
                <c:pt idx="1538">
                  <c:v>0.42741338805871965</c:v>
                </c:pt>
                <c:pt idx="1539">
                  <c:v>0.42741027192614828</c:v>
                </c:pt>
                <c:pt idx="1540">
                  <c:v>0.42751357926309852</c:v>
                </c:pt>
                <c:pt idx="1541">
                  <c:v>0.42965893432607505</c:v>
                </c:pt>
                <c:pt idx="1542">
                  <c:v>0.42989196511464239</c:v>
                </c:pt>
                <c:pt idx="1543">
                  <c:v>0.42976901752398167</c:v>
                </c:pt>
                <c:pt idx="1544">
                  <c:v>0.43026557181106734</c:v>
                </c:pt>
                <c:pt idx="1545">
                  <c:v>0.43095286194053067</c:v>
                </c:pt>
                <c:pt idx="1546">
                  <c:v>0.43095301590726082</c:v>
                </c:pt>
                <c:pt idx="1547">
                  <c:v>0.43094012791357494</c:v>
                </c:pt>
                <c:pt idx="1548">
                  <c:v>0.43113875115748579</c:v>
                </c:pt>
                <c:pt idx="1549">
                  <c:v>0.43213240159016331</c:v>
                </c:pt>
                <c:pt idx="1550">
                  <c:v>0.43132733205924412</c:v>
                </c:pt>
                <c:pt idx="1551">
                  <c:v>0.43157476373163262</c:v>
                </c:pt>
                <c:pt idx="1552">
                  <c:v>0.43228227544605841</c:v>
                </c:pt>
                <c:pt idx="1553">
                  <c:v>0.43228665568611568</c:v>
                </c:pt>
                <c:pt idx="1554">
                  <c:v>0.43423501317779567</c:v>
                </c:pt>
                <c:pt idx="1555">
                  <c:v>0.43463988187261482</c:v>
                </c:pt>
                <c:pt idx="1556">
                  <c:v>0.43490957847718648</c:v>
                </c:pt>
                <c:pt idx="1557">
                  <c:v>0.43505669860443563</c:v>
                </c:pt>
                <c:pt idx="1558">
                  <c:v>0.43546960449524452</c:v>
                </c:pt>
                <c:pt idx="1559">
                  <c:v>0.43503084212565746</c:v>
                </c:pt>
                <c:pt idx="1560">
                  <c:v>0.43566477728894365</c:v>
                </c:pt>
                <c:pt idx="1561">
                  <c:v>0.43688083938714067</c:v>
                </c:pt>
                <c:pt idx="1562">
                  <c:v>0.43735295603103808</c:v>
                </c:pt>
                <c:pt idx="1563">
                  <c:v>0.43767538753845875</c:v>
                </c:pt>
                <c:pt idx="1564">
                  <c:v>0.44029043778764604</c:v>
                </c:pt>
                <c:pt idx="1565">
                  <c:v>0.44020016438969245</c:v>
                </c:pt>
                <c:pt idx="1566">
                  <c:v>0.44083140653772618</c:v>
                </c:pt>
                <c:pt idx="1567">
                  <c:v>0.44095485073681995</c:v>
                </c:pt>
                <c:pt idx="1568">
                  <c:v>0.44207855444022448</c:v>
                </c:pt>
                <c:pt idx="1569">
                  <c:v>0.4440772945588381</c:v>
                </c:pt>
                <c:pt idx="1570">
                  <c:v>0.44420540698957584</c:v>
                </c:pt>
                <c:pt idx="1571">
                  <c:v>0.44842870808543139</c:v>
                </c:pt>
                <c:pt idx="1572">
                  <c:v>0.45072774284674105</c:v>
                </c:pt>
                <c:pt idx="1573">
                  <c:v>0.45059199376940495</c:v>
                </c:pt>
                <c:pt idx="1574">
                  <c:v>0.45063605970741877</c:v>
                </c:pt>
                <c:pt idx="1575">
                  <c:v>0.45041188091906453</c:v>
                </c:pt>
                <c:pt idx="1576">
                  <c:v>0.451669446868735</c:v>
                </c:pt>
                <c:pt idx="1577">
                  <c:v>0.45217355289991873</c:v>
                </c:pt>
                <c:pt idx="1578">
                  <c:v>0.45253544238090315</c:v>
                </c:pt>
                <c:pt idx="1579">
                  <c:v>0.45250327281080532</c:v>
                </c:pt>
                <c:pt idx="1580">
                  <c:v>0.45462829622042994</c:v>
                </c:pt>
                <c:pt idx="1581">
                  <c:v>0.45659940062589444</c:v>
                </c:pt>
                <c:pt idx="1582">
                  <c:v>0.45672925091125671</c:v>
                </c:pt>
                <c:pt idx="1583">
                  <c:v>0.45670677454931657</c:v>
                </c:pt>
                <c:pt idx="1584">
                  <c:v>0.45929588803186777</c:v>
                </c:pt>
                <c:pt idx="1585">
                  <c:v>0.45983905650406193</c:v>
                </c:pt>
                <c:pt idx="1586">
                  <c:v>0.45952287859016283</c:v>
                </c:pt>
                <c:pt idx="1587">
                  <c:v>0.46098367505792054</c:v>
                </c:pt>
                <c:pt idx="1588">
                  <c:v>0.46099153869325271</c:v>
                </c:pt>
                <c:pt idx="1589">
                  <c:v>0.46110770623975489</c:v>
                </c:pt>
                <c:pt idx="1590">
                  <c:v>0.46110590459658152</c:v>
                </c:pt>
                <c:pt idx="1591">
                  <c:v>0.46115439762421551</c:v>
                </c:pt>
                <c:pt idx="1592">
                  <c:v>0.4609944899063515</c:v>
                </c:pt>
                <c:pt idx="1593">
                  <c:v>0.46098780031503034</c:v>
                </c:pt>
                <c:pt idx="1594">
                  <c:v>0.46120374283235427</c:v>
                </c:pt>
                <c:pt idx="1595">
                  <c:v>0.46141737004074085</c:v>
                </c:pt>
                <c:pt idx="1596">
                  <c:v>0.46234818214281959</c:v>
                </c:pt>
                <c:pt idx="1597">
                  <c:v>0.46258094386158388</c:v>
                </c:pt>
                <c:pt idx="1598">
                  <c:v>0.46364696984024495</c:v>
                </c:pt>
                <c:pt idx="1599">
                  <c:v>0.46372261518432795</c:v>
                </c:pt>
                <c:pt idx="1600">
                  <c:v>0.46399366139729775</c:v>
                </c:pt>
                <c:pt idx="1601">
                  <c:v>0.46429393010737324</c:v>
                </c:pt>
                <c:pt idx="1602">
                  <c:v>0.46391981504958457</c:v>
                </c:pt>
                <c:pt idx="1603">
                  <c:v>0.46392847407521071</c:v>
                </c:pt>
                <c:pt idx="1604">
                  <c:v>0.46370806562973643</c:v>
                </c:pt>
                <c:pt idx="1605">
                  <c:v>0.46372396024041468</c:v>
                </c:pt>
                <c:pt idx="1606">
                  <c:v>0.46430641275964207</c:v>
                </c:pt>
                <c:pt idx="1607">
                  <c:v>0.46444981012757947</c:v>
                </c:pt>
                <c:pt idx="1608">
                  <c:v>0.46374996836082549</c:v>
                </c:pt>
                <c:pt idx="1609">
                  <c:v>0.46398843075651758</c:v>
                </c:pt>
                <c:pt idx="1610">
                  <c:v>0.46446860856942757</c:v>
                </c:pt>
                <c:pt idx="1611">
                  <c:v>0.46532629538448989</c:v>
                </c:pt>
                <c:pt idx="1612">
                  <c:v>0.46545947973840068</c:v>
                </c:pt>
                <c:pt idx="1613">
                  <c:v>0.46544557399924164</c:v>
                </c:pt>
                <c:pt idx="1614">
                  <c:v>0.4654870018617947</c:v>
                </c:pt>
                <c:pt idx="1615">
                  <c:v>0.46352483464084243</c:v>
                </c:pt>
                <c:pt idx="1616">
                  <c:v>0.4630476588910723</c:v>
                </c:pt>
                <c:pt idx="1617">
                  <c:v>0.46274650772798698</c:v>
                </c:pt>
                <c:pt idx="1618">
                  <c:v>0.46281621612202678</c:v>
                </c:pt>
                <c:pt idx="1619">
                  <c:v>0.46220812750092316</c:v>
                </c:pt>
                <c:pt idx="1620">
                  <c:v>0.46204342552269184</c:v>
                </c:pt>
                <c:pt idx="1621">
                  <c:v>0.4629505379118824</c:v>
                </c:pt>
                <c:pt idx="1622">
                  <c:v>0.46301178008579674</c:v>
                </c:pt>
                <c:pt idx="1623">
                  <c:v>0.46271068324494963</c:v>
                </c:pt>
                <c:pt idx="1624">
                  <c:v>0.46272417112167852</c:v>
                </c:pt>
                <c:pt idx="1625">
                  <c:v>0.46423215370911575</c:v>
                </c:pt>
                <c:pt idx="1626">
                  <c:v>0.46435526061138271</c:v>
                </c:pt>
                <c:pt idx="1627">
                  <c:v>0.46444296705984045</c:v>
                </c:pt>
                <c:pt idx="1628">
                  <c:v>0.46276469755317057</c:v>
                </c:pt>
                <c:pt idx="1629">
                  <c:v>0.46348658518083929</c:v>
                </c:pt>
                <c:pt idx="1630">
                  <c:v>0.46233193623189395</c:v>
                </c:pt>
                <c:pt idx="1631">
                  <c:v>0.46241315451341669</c:v>
                </c:pt>
                <c:pt idx="1632">
                  <c:v>0.46245118431829257</c:v>
                </c:pt>
                <c:pt idx="1633">
                  <c:v>0.46136384376063616</c:v>
                </c:pt>
                <c:pt idx="1634">
                  <c:v>0.46137861938327607</c:v>
                </c:pt>
                <c:pt idx="1635">
                  <c:v>0.46222312982487834</c:v>
                </c:pt>
                <c:pt idx="1636">
                  <c:v>0.46350059465374976</c:v>
                </c:pt>
                <c:pt idx="1637">
                  <c:v>0.4593287262420821</c:v>
                </c:pt>
                <c:pt idx="1638">
                  <c:v>0.45892894865755463</c:v>
                </c:pt>
                <c:pt idx="1639">
                  <c:v>0.45899000468178858</c:v>
                </c:pt>
                <c:pt idx="1640">
                  <c:v>0.45614323886898711</c:v>
                </c:pt>
                <c:pt idx="1641">
                  <c:v>0.45387961656608172</c:v>
                </c:pt>
                <c:pt idx="1642">
                  <c:v>0.45379200991557844</c:v>
                </c:pt>
                <c:pt idx="1643">
                  <c:v>0.45371024419758355</c:v>
                </c:pt>
                <c:pt idx="1644">
                  <c:v>0.45255173771824042</c:v>
                </c:pt>
                <c:pt idx="1645">
                  <c:v>0.45217365405787618</c:v>
                </c:pt>
                <c:pt idx="1646">
                  <c:v>0.45292438254357448</c:v>
                </c:pt>
                <c:pt idx="1647">
                  <c:v>0.44832752263730447</c:v>
                </c:pt>
                <c:pt idx="1648">
                  <c:v>0.44889939616910501</c:v>
                </c:pt>
                <c:pt idx="1649">
                  <c:v>0.44747381971477612</c:v>
                </c:pt>
                <c:pt idx="1650">
                  <c:v>0.44754024159258604</c:v>
                </c:pt>
                <c:pt idx="1651">
                  <c:v>0.44645734752939409</c:v>
                </c:pt>
                <c:pt idx="1652">
                  <c:v>0.44650321547146915</c:v>
                </c:pt>
                <c:pt idx="1653">
                  <c:v>0.44663596296365665</c:v>
                </c:pt>
                <c:pt idx="1654">
                  <c:v>0.44342049793690164</c:v>
                </c:pt>
                <c:pt idx="1655">
                  <c:v>0.43977254048632358</c:v>
                </c:pt>
                <c:pt idx="1656">
                  <c:v>0.44012439019231953</c:v>
                </c:pt>
                <c:pt idx="1657">
                  <c:v>0.43936135452149583</c:v>
                </c:pt>
                <c:pt idx="1658">
                  <c:v>0.43917741840099228</c:v>
                </c:pt>
                <c:pt idx="1659">
                  <c:v>0.43499289073346936</c:v>
                </c:pt>
                <c:pt idx="1660">
                  <c:v>0.43443294551488909</c:v>
                </c:pt>
                <c:pt idx="1661">
                  <c:v>0.43306444488897333</c:v>
                </c:pt>
                <c:pt idx="1662">
                  <c:v>0.42326842147283034</c:v>
                </c:pt>
                <c:pt idx="1663">
                  <c:v>0.42092766326498482</c:v>
                </c:pt>
                <c:pt idx="1664">
                  <c:v>0.41268389614402889</c:v>
                </c:pt>
                <c:pt idx="1665">
                  <c:v>0.40880421457438382</c:v>
                </c:pt>
                <c:pt idx="1666">
                  <c:v>0.4086526065026525</c:v>
                </c:pt>
                <c:pt idx="1667">
                  <c:v>0.40918223744395255</c:v>
                </c:pt>
                <c:pt idx="1668">
                  <c:v>0.40538222033046384</c:v>
                </c:pt>
                <c:pt idx="1669">
                  <c:v>0.4048033865760286</c:v>
                </c:pt>
                <c:pt idx="1670">
                  <c:v>0.40455115089838722</c:v>
                </c:pt>
                <c:pt idx="1671">
                  <c:v>0.40444152142079198</c:v>
                </c:pt>
                <c:pt idx="1672">
                  <c:v>0.40050829484382006</c:v>
                </c:pt>
                <c:pt idx="1673">
                  <c:v>0.3975717274988172</c:v>
                </c:pt>
                <c:pt idx="1674">
                  <c:v>0.39547964950249453</c:v>
                </c:pt>
                <c:pt idx="1675">
                  <c:v>0.39343522080038557</c:v>
                </c:pt>
                <c:pt idx="1676">
                  <c:v>0.39359967331783952</c:v>
                </c:pt>
                <c:pt idx="1677">
                  <c:v>0.38782520601671827</c:v>
                </c:pt>
                <c:pt idx="1678">
                  <c:v>0.38689170735516509</c:v>
                </c:pt>
                <c:pt idx="1679">
                  <c:v>0.38566175920766355</c:v>
                </c:pt>
                <c:pt idx="1680">
                  <c:v>0.38600832021590109</c:v>
                </c:pt>
                <c:pt idx="1681">
                  <c:v>0.38571141916794638</c:v>
                </c:pt>
                <c:pt idx="1682">
                  <c:v>0.3845803160495756</c:v>
                </c:pt>
                <c:pt idx="1683">
                  <c:v>0.384415995943303</c:v>
                </c:pt>
                <c:pt idx="1684">
                  <c:v>0.38441332187731708</c:v>
                </c:pt>
                <c:pt idx="1685">
                  <c:v>0.38532473198957595</c:v>
                </c:pt>
                <c:pt idx="1686">
                  <c:v>0.3860145624179625</c:v>
                </c:pt>
                <c:pt idx="1687">
                  <c:v>0.38136335576066172</c:v>
                </c:pt>
                <c:pt idx="1688">
                  <c:v>0.37604913421616976</c:v>
                </c:pt>
                <c:pt idx="1689">
                  <c:v>0.37135779424378723</c:v>
                </c:pt>
                <c:pt idx="1690">
                  <c:v>0.37139257459916697</c:v>
                </c:pt>
                <c:pt idx="1691">
                  <c:v>0.37106801466911121</c:v>
                </c:pt>
                <c:pt idx="1692">
                  <c:v>0.37090307829097918</c:v>
                </c:pt>
                <c:pt idx="1693">
                  <c:v>0.37150261679401542</c:v>
                </c:pt>
                <c:pt idx="1694">
                  <c:v>0.37197772919581318</c:v>
                </c:pt>
                <c:pt idx="1695">
                  <c:v>0.3722800909627636</c:v>
                </c:pt>
                <c:pt idx="1696">
                  <c:v>0.37173010457471112</c:v>
                </c:pt>
                <c:pt idx="1697">
                  <c:v>0.37109974166103055</c:v>
                </c:pt>
                <c:pt idx="1698">
                  <c:v>0.37151546406083141</c:v>
                </c:pt>
                <c:pt idx="1699">
                  <c:v>0.3700461006927579</c:v>
                </c:pt>
                <c:pt idx="1700">
                  <c:v>0.37011238572896832</c:v>
                </c:pt>
                <c:pt idx="1701">
                  <c:v>0.37001217580784618</c:v>
                </c:pt>
                <c:pt idx="1702">
                  <c:v>0.36996172044010295</c:v>
                </c:pt>
                <c:pt idx="1703">
                  <c:v>0.36976952564941379</c:v>
                </c:pt>
                <c:pt idx="1704">
                  <c:v>0.369959644878667</c:v>
                </c:pt>
                <c:pt idx="1705">
                  <c:v>0.36769466213880042</c:v>
                </c:pt>
                <c:pt idx="1706">
                  <c:v>0.36762430480542019</c:v>
                </c:pt>
                <c:pt idx="1707">
                  <c:v>0.36756323778888894</c:v>
                </c:pt>
                <c:pt idx="1708">
                  <c:v>0.36738342609233599</c:v>
                </c:pt>
                <c:pt idx="1709">
                  <c:v>0.36529846278694111</c:v>
                </c:pt>
                <c:pt idx="1710">
                  <c:v>0.36551198581904309</c:v>
                </c:pt>
                <c:pt idx="1711">
                  <c:v>0.36472916318319032</c:v>
                </c:pt>
                <c:pt idx="1712">
                  <c:v>0.3647483831367252</c:v>
                </c:pt>
                <c:pt idx="1713">
                  <c:v>0.36413037853584762</c:v>
                </c:pt>
                <c:pt idx="1714">
                  <c:v>0.36419825494827729</c:v>
                </c:pt>
                <c:pt idx="1715">
                  <c:v>0.36352398736862956</c:v>
                </c:pt>
                <c:pt idx="1716">
                  <c:v>0.36411922255849111</c:v>
                </c:pt>
                <c:pt idx="1717">
                  <c:v>0.36096017218473236</c:v>
                </c:pt>
                <c:pt idx="1718">
                  <c:v>0.36095291199529456</c:v>
                </c:pt>
                <c:pt idx="1719">
                  <c:v>0.36110024296458804</c:v>
                </c:pt>
                <c:pt idx="1720">
                  <c:v>0.36066633627046046</c:v>
                </c:pt>
                <c:pt idx="1721">
                  <c:v>0.36064458392450521</c:v>
                </c:pt>
                <c:pt idx="1722">
                  <c:v>0.36082875613085452</c:v>
                </c:pt>
                <c:pt idx="1723">
                  <c:v>0.35904749649254764</c:v>
                </c:pt>
                <c:pt idx="1724">
                  <c:v>0.35888710120972644</c:v>
                </c:pt>
                <c:pt idx="1725">
                  <c:v>0.35850722524863898</c:v>
                </c:pt>
                <c:pt idx="1726">
                  <c:v>0.35837635423571673</c:v>
                </c:pt>
                <c:pt idx="1727">
                  <c:v>0.35758753000123478</c:v>
                </c:pt>
                <c:pt idx="1728">
                  <c:v>0.35772306250344593</c:v>
                </c:pt>
                <c:pt idx="1729">
                  <c:v>0.35780771694390184</c:v>
                </c:pt>
              </c:numCache>
            </c:numRef>
          </c:val>
          <c:smooth val="0"/>
        </c:ser>
        <c:dLbls>
          <c:showLegendKey val="0"/>
          <c:showVal val="0"/>
          <c:showCatName val="0"/>
          <c:showSerName val="0"/>
          <c:showPercent val="0"/>
          <c:showBubbleSize val="0"/>
        </c:dLbls>
        <c:marker val="1"/>
        <c:smooth val="0"/>
        <c:axId val="133556480"/>
        <c:axId val="134029312"/>
      </c:lineChart>
      <c:dateAx>
        <c:axId val="133556480"/>
        <c:scaling>
          <c:orientation val="minMax"/>
          <c:min val="41729"/>
        </c:scaling>
        <c:delete val="0"/>
        <c:axPos val="b"/>
        <c:majorGridlines/>
        <c:numFmt formatCode="mmm\-yy" sourceLinked="0"/>
        <c:majorTickMark val="out"/>
        <c:minorTickMark val="none"/>
        <c:tickLblPos val="nextTo"/>
        <c:txPr>
          <a:bodyPr rot="-5400000" vert="horz"/>
          <a:lstStyle/>
          <a:p>
            <a:pPr>
              <a:defRPr/>
            </a:pPr>
            <a:endParaRPr lang="en-US"/>
          </a:p>
        </c:txPr>
        <c:crossAx val="134029312"/>
        <c:crosses val="autoZero"/>
        <c:auto val="1"/>
        <c:lblOffset val="100"/>
        <c:baseTimeUnit val="days"/>
        <c:majorUnit val="6"/>
        <c:majorTimeUnit val="months"/>
      </c:dateAx>
      <c:valAx>
        <c:axId val="134029312"/>
        <c:scaling>
          <c:orientation val="minMax"/>
          <c:max val="0.60000000000000009"/>
          <c:min val="0.2"/>
        </c:scaling>
        <c:delete val="0"/>
        <c:axPos val="l"/>
        <c:majorGridlines/>
        <c:title>
          <c:tx>
            <c:rich>
              <a:bodyPr rot="-5400000" vert="horz"/>
              <a:lstStyle/>
              <a:p>
                <a:pPr>
                  <a:defRPr/>
                </a:pPr>
                <a:r>
                  <a:rPr lang="en-GB"/>
                  <a:t>Tracking</a:t>
                </a:r>
                <a:r>
                  <a:rPr lang="en-GB" baseline="0"/>
                  <a:t> Error (% p.a.)</a:t>
                </a:r>
                <a:endParaRPr lang="en-GB"/>
              </a:p>
            </c:rich>
          </c:tx>
          <c:overlay val="0"/>
        </c:title>
        <c:numFmt formatCode="0.00" sourceLinked="1"/>
        <c:majorTickMark val="out"/>
        <c:minorTickMark val="none"/>
        <c:tickLblPos val="nextTo"/>
        <c:crossAx val="133556480"/>
        <c:crosses val="autoZero"/>
        <c:crossBetween val="between"/>
      </c:valAx>
    </c:plotArea>
    <c:legend>
      <c:legendPos val="b"/>
      <c:overlay val="0"/>
    </c:legend>
    <c:plotVisOnly val="1"/>
    <c:dispBlanksAs val="gap"/>
    <c:showDLblsOverMax val="0"/>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marker>
            <c:symbol val="none"/>
          </c:marker>
          <c:cat>
            <c:numRef>
              <c:f>'[EM_predicted TE.xlsx]Sheet3'!$A$2:$A$62</c:f>
              <c:numCache>
                <c:formatCode>dd/mm/yyyy;@</c:formatCode>
                <c:ptCount val="61"/>
                <c:pt idx="0">
                  <c:v>41729</c:v>
                </c:pt>
                <c:pt idx="1">
                  <c:v>41759</c:v>
                </c:pt>
                <c:pt idx="2">
                  <c:v>41789</c:v>
                </c:pt>
                <c:pt idx="3">
                  <c:v>41820</c:v>
                </c:pt>
                <c:pt idx="4">
                  <c:v>41851</c:v>
                </c:pt>
                <c:pt idx="5">
                  <c:v>41880</c:v>
                </c:pt>
                <c:pt idx="6">
                  <c:v>41912</c:v>
                </c:pt>
                <c:pt idx="7">
                  <c:v>41943</c:v>
                </c:pt>
                <c:pt idx="8">
                  <c:v>41971</c:v>
                </c:pt>
                <c:pt idx="9">
                  <c:v>42004</c:v>
                </c:pt>
                <c:pt idx="10">
                  <c:v>42034</c:v>
                </c:pt>
                <c:pt idx="11">
                  <c:v>42062</c:v>
                </c:pt>
                <c:pt idx="12">
                  <c:v>42094</c:v>
                </c:pt>
                <c:pt idx="13">
                  <c:v>42124</c:v>
                </c:pt>
                <c:pt idx="14">
                  <c:v>42153</c:v>
                </c:pt>
                <c:pt idx="15">
                  <c:v>42185</c:v>
                </c:pt>
                <c:pt idx="16">
                  <c:v>42216</c:v>
                </c:pt>
                <c:pt idx="17">
                  <c:v>42247</c:v>
                </c:pt>
                <c:pt idx="18">
                  <c:v>42277</c:v>
                </c:pt>
                <c:pt idx="19">
                  <c:v>42307</c:v>
                </c:pt>
                <c:pt idx="20">
                  <c:v>42338</c:v>
                </c:pt>
                <c:pt idx="21">
                  <c:v>42369</c:v>
                </c:pt>
                <c:pt idx="22">
                  <c:v>42398</c:v>
                </c:pt>
                <c:pt idx="23">
                  <c:v>42429</c:v>
                </c:pt>
                <c:pt idx="24">
                  <c:v>42460</c:v>
                </c:pt>
                <c:pt idx="25">
                  <c:v>42489</c:v>
                </c:pt>
                <c:pt idx="26">
                  <c:v>42521</c:v>
                </c:pt>
                <c:pt idx="27">
                  <c:v>42551</c:v>
                </c:pt>
                <c:pt idx="28">
                  <c:v>42580</c:v>
                </c:pt>
                <c:pt idx="29">
                  <c:v>42613</c:v>
                </c:pt>
                <c:pt idx="30">
                  <c:v>42643</c:v>
                </c:pt>
                <c:pt idx="31">
                  <c:v>42674</c:v>
                </c:pt>
                <c:pt idx="32">
                  <c:v>42704</c:v>
                </c:pt>
                <c:pt idx="33">
                  <c:v>42734</c:v>
                </c:pt>
                <c:pt idx="34">
                  <c:v>42766</c:v>
                </c:pt>
                <c:pt idx="35">
                  <c:v>42794</c:v>
                </c:pt>
                <c:pt idx="36">
                  <c:v>42825</c:v>
                </c:pt>
                <c:pt idx="37">
                  <c:v>42853</c:v>
                </c:pt>
                <c:pt idx="38">
                  <c:v>42886</c:v>
                </c:pt>
                <c:pt idx="39">
                  <c:v>42916</c:v>
                </c:pt>
                <c:pt idx="40">
                  <c:v>42947</c:v>
                </c:pt>
                <c:pt idx="41">
                  <c:v>42978</c:v>
                </c:pt>
                <c:pt idx="42">
                  <c:v>43007</c:v>
                </c:pt>
                <c:pt idx="43">
                  <c:v>43039</c:v>
                </c:pt>
                <c:pt idx="44">
                  <c:v>43069</c:v>
                </c:pt>
                <c:pt idx="45">
                  <c:v>43098</c:v>
                </c:pt>
                <c:pt idx="46">
                  <c:v>43131</c:v>
                </c:pt>
                <c:pt idx="47">
                  <c:v>43159</c:v>
                </c:pt>
                <c:pt idx="48">
                  <c:v>43189</c:v>
                </c:pt>
                <c:pt idx="49">
                  <c:v>43220</c:v>
                </c:pt>
                <c:pt idx="50">
                  <c:v>43251</c:v>
                </c:pt>
                <c:pt idx="51">
                  <c:v>43280</c:v>
                </c:pt>
                <c:pt idx="52">
                  <c:v>43312</c:v>
                </c:pt>
                <c:pt idx="53">
                  <c:v>43343</c:v>
                </c:pt>
                <c:pt idx="54">
                  <c:v>43371</c:v>
                </c:pt>
                <c:pt idx="55">
                  <c:v>43404</c:v>
                </c:pt>
                <c:pt idx="56">
                  <c:v>43434</c:v>
                </c:pt>
                <c:pt idx="57">
                  <c:v>43465</c:v>
                </c:pt>
                <c:pt idx="58">
                  <c:v>43496</c:v>
                </c:pt>
                <c:pt idx="59">
                  <c:v>43524</c:v>
                </c:pt>
                <c:pt idx="60">
                  <c:v>43553</c:v>
                </c:pt>
              </c:numCache>
            </c:numRef>
          </c:cat>
          <c:val>
            <c:numRef>
              <c:f>'[EM_predicted TE.xlsx]Sheet3'!$B$2:$B$62</c:f>
              <c:numCache>
                <c:formatCode>General</c:formatCode>
                <c:ptCount val="61"/>
                <c:pt idx="0">
                  <c:v>0.28834374477941799</c:v>
                </c:pt>
                <c:pt idx="1">
                  <c:v>0.29018005606832697</c:v>
                </c:pt>
                <c:pt idx="2">
                  <c:v>0.29160684358237499</c:v>
                </c:pt>
                <c:pt idx="3">
                  <c:v>0.29499179802382403</c:v>
                </c:pt>
                <c:pt idx="4">
                  <c:v>0.28616342918300902</c:v>
                </c:pt>
                <c:pt idx="5">
                  <c:v>0.27991570636306401</c:v>
                </c:pt>
                <c:pt idx="6">
                  <c:v>0.25825961387845803</c:v>
                </c:pt>
                <c:pt idx="7">
                  <c:v>0.255070975992574</c:v>
                </c:pt>
                <c:pt idx="8">
                  <c:v>0.26295480381045899</c:v>
                </c:pt>
                <c:pt idx="9">
                  <c:v>0.30016075881757798</c:v>
                </c:pt>
                <c:pt idx="10">
                  <c:v>0.31885276224611497</c:v>
                </c:pt>
                <c:pt idx="11">
                  <c:v>0.32499423206015898</c:v>
                </c:pt>
                <c:pt idx="12">
                  <c:v>0.26232195269321901</c:v>
                </c:pt>
                <c:pt idx="13">
                  <c:v>0.276443368244984</c:v>
                </c:pt>
                <c:pt idx="14">
                  <c:v>0.34655624890296599</c:v>
                </c:pt>
                <c:pt idx="15">
                  <c:v>0.432976608921541</c:v>
                </c:pt>
                <c:pt idx="16">
                  <c:v>0.52383992360609699</c:v>
                </c:pt>
                <c:pt idx="17">
                  <c:v>0.49517285089023899</c:v>
                </c:pt>
                <c:pt idx="18">
                  <c:v>0.32194021156230002</c:v>
                </c:pt>
                <c:pt idx="19">
                  <c:v>0.30464945484144101</c:v>
                </c:pt>
                <c:pt idx="20">
                  <c:v>0.28881701069996202</c:v>
                </c:pt>
                <c:pt idx="21">
                  <c:v>0.29329034949816701</c:v>
                </c:pt>
                <c:pt idx="22">
                  <c:v>0.28846605180627499</c:v>
                </c:pt>
                <c:pt idx="23">
                  <c:v>0.292316818793803</c:v>
                </c:pt>
                <c:pt idx="24">
                  <c:v>0.29404430859034703</c:v>
                </c:pt>
                <c:pt idx="25">
                  <c:v>0.29253195215737798</c:v>
                </c:pt>
                <c:pt idx="26">
                  <c:v>0.284019474195844</c:v>
                </c:pt>
                <c:pt idx="27">
                  <c:v>0.27324918455705</c:v>
                </c:pt>
                <c:pt idx="28">
                  <c:v>0.273067012560955</c:v>
                </c:pt>
                <c:pt idx="29">
                  <c:v>0.26697717528397802</c:v>
                </c:pt>
                <c:pt idx="30">
                  <c:v>0.24919624643622601</c:v>
                </c:pt>
                <c:pt idx="31">
                  <c:v>0.25150803853870801</c:v>
                </c:pt>
                <c:pt idx="32">
                  <c:v>0.251473623886109</c:v>
                </c:pt>
                <c:pt idx="33">
                  <c:v>0.246220055740034</c:v>
                </c:pt>
                <c:pt idx="34">
                  <c:v>0.24917414333004301</c:v>
                </c:pt>
                <c:pt idx="35">
                  <c:v>0.23984822158432201</c:v>
                </c:pt>
                <c:pt idx="36">
                  <c:v>0.23949903780520099</c:v>
                </c:pt>
                <c:pt idx="37">
                  <c:v>0.239493576462803</c:v>
                </c:pt>
                <c:pt idx="38">
                  <c:v>0.230542442310673</c:v>
                </c:pt>
                <c:pt idx="39">
                  <c:v>0.24511376034735699</c:v>
                </c:pt>
                <c:pt idx="40">
                  <c:v>0.24511143535043001</c:v>
                </c:pt>
                <c:pt idx="41">
                  <c:v>0.281567822453895</c:v>
                </c:pt>
                <c:pt idx="42">
                  <c:v>0.221484880842544</c:v>
                </c:pt>
                <c:pt idx="43">
                  <c:v>0.22247337510599399</c:v>
                </c:pt>
                <c:pt idx="44">
                  <c:v>0.229995301955464</c:v>
                </c:pt>
                <c:pt idx="45">
                  <c:v>0.39280059808592199</c:v>
                </c:pt>
                <c:pt idx="46">
                  <c:v>0.417753724193489</c:v>
                </c:pt>
                <c:pt idx="47">
                  <c:v>0.42937433005120201</c:v>
                </c:pt>
                <c:pt idx="48">
                  <c:v>0.23699147960365599</c:v>
                </c:pt>
                <c:pt idx="49">
                  <c:v>0.24313211162322601</c:v>
                </c:pt>
                <c:pt idx="50">
                  <c:v>0.24833270335331301</c:v>
                </c:pt>
                <c:pt idx="51">
                  <c:v>0.44755258298212403</c:v>
                </c:pt>
                <c:pt idx="52">
                  <c:v>0.43801262757722098</c:v>
                </c:pt>
                <c:pt idx="53">
                  <c:v>0.44310639946032099</c:v>
                </c:pt>
                <c:pt idx="54">
                  <c:v>0.27041828085459102</c:v>
                </c:pt>
                <c:pt idx="55">
                  <c:v>0.28447433577051201</c:v>
                </c:pt>
                <c:pt idx="56">
                  <c:v>0.27542614243131702</c:v>
                </c:pt>
                <c:pt idx="57">
                  <c:v>0.28362041447580699</c:v>
                </c:pt>
                <c:pt idx="58">
                  <c:v>0.28900929263180097</c:v>
                </c:pt>
                <c:pt idx="59">
                  <c:v>0.29495197538144802</c:v>
                </c:pt>
                <c:pt idx="60">
                  <c:v>0.24471386561810499</c:v>
                </c:pt>
              </c:numCache>
            </c:numRef>
          </c:val>
          <c:smooth val="0"/>
        </c:ser>
        <c:dLbls>
          <c:showLegendKey val="0"/>
          <c:showVal val="0"/>
          <c:showCatName val="0"/>
          <c:showSerName val="0"/>
          <c:showPercent val="0"/>
          <c:showBubbleSize val="0"/>
        </c:dLbls>
        <c:marker val="1"/>
        <c:smooth val="0"/>
        <c:axId val="134036864"/>
        <c:axId val="134059136"/>
      </c:lineChart>
      <c:dateAx>
        <c:axId val="134036864"/>
        <c:scaling>
          <c:orientation val="minMax"/>
        </c:scaling>
        <c:delete val="0"/>
        <c:axPos val="b"/>
        <c:majorGridlines/>
        <c:numFmt formatCode="mmm\-yy" sourceLinked="0"/>
        <c:majorTickMark val="out"/>
        <c:minorTickMark val="none"/>
        <c:tickLblPos val="nextTo"/>
        <c:txPr>
          <a:bodyPr rot="-5400000" vert="horz"/>
          <a:lstStyle/>
          <a:p>
            <a:pPr>
              <a:defRPr/>
            </a:pPr>
            <a:endParaRPr lang="en-US"/>
          </a:p>
        </c:txPr>
        <c:crossAx val="134059136"/>
        <c:crosses val="autoZero"/>
        <c:auto val="1"/>
        <c:lblOffset val="100"/>
        <c:baseTimeUnit val="months"/>
        <c:majorUnit val="6"/>
        <c:majorTimeUnit val="months"/>
      </c:dateAx>
      <c:valAx>
        <c:axId val="134059136"/>
        <c:scaling>
          <c:orientation val="minMax"/>
          <c:max val="0.60000000000000009"/>
          <c:min val="0.2"/>
        </c:scaling>
        <c:delete val="0"/>
        <c:axPos val="l"/>
        <c:majorGridlines/>
        <c:title>
          <c:tx>
            <c:rich>
              <a:bodyPr rot="-5400000" vert="horz"/>
              <a:lstStyle/>
              <a:p>
                <a:pPr>
                  <a:defRPr/>
                </a:pPr>
                <a:r>
                  <a:rPr lang="en-GB" dirty="0"/>
                  <a:t>Predicted </a:t>
                </a:r>
                <a:r>
                  <a:rPr lang="en-GB" dirty="0" smtClean="0"/>
                  <a:t>Tracking Error </a:t>
                </a:r>
                <a:r>
                  <a:rPr lang="en-GB" dirty="0"/>
                  <a:t>(% p.a.)</a:t>
                </a:r>
              </a:p>
            </c:rich>
          </c:tx>
          <c:overlay val="0"/>
        </c:title>
        <c:numFmt formatCode="#,##0.00" sourceLinked="0"/>
        <c:majorTickMark val="out"/>
        <c:minorTickMark val="none"/>
        <c:tickLblPos val="nextTo"/>
        <c:crossAx val="134036864"/>
        <c:crosses val="autoZero"/>
        <c:crossBetween val="between"/>
        <c:majorUnit val="5.000000000000001E-2"/>
      </c:valAx>
    </c:plotArea>
    <c:plotVisOnly val="1"/>
    <c:dispBlanksAs val="gap"/>
    <c:showDLblsOverMax val="0"/>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456898770006691"/>
          <c:y val="7.4713375639572477E-2"/>
          <c:w val="0.7840422520714323"/>
          <c:h val="0.67725445457160627"/>
        </c:manualLayout>
      </c:layout>
      <c:scatterChart>
        <c:scatterStyle val="smoothMarker"/>
        <c:varyColors val="0"/>
        <c:ser>
          <c:idx val="0"/>
          <c:order val="0"/>
          <c:tx>
            <c:v>Target Carbon Index</c:v>
          </c:tx>
          <c:spPr>
            <a:ln>
              <a:solidFill>
                <a:srgbClr val="C00000"/>
              </a:solidFill>
            </a:ln>
          </c:spPr>
          <c:marker>
            <c:symbol val="circle"/>
            <c:size val="5"/>
            <c:spPr>
              <a:solidFill>
                <a:srgbClr val="C00000"/>
              </a:solidFill>
              <a:ln>
                <a:solidFill>
                  <a:srgbClr val="C00000"/>
                </a:solidFill>
              </a:ln>
            </c:spPr>
          </c:marker>
          <c:xVal>
            <c:numRef>
              <c:f>PerformanceSummary!$C$41:$K$41</c:f>
              <c:numCache>
                <c:formatCode>0%</c:formatCode>
                <c:ptCount val="9"/>
                <c:pt idx="0">
                  <c:v>0</c:v>
                </c:pt>
                <c:pt idx="1">
                  <c:v>0.10406462681771311</c:v>
                </c:pt>
                <c:pt idx="2">
                  <c:v>0.20295079929503457</c:v>
                </c:pt>
                <c:pt idx="3">
                  <c:v>0.30042658842869152</c:v>
                </c:pt>
                <c:pt idx="4">
                  <c:v>0.39692601660062254</c:v>
                </c:pt>
                <c:pt idx="5">
                  <c:v>0.49238420707256714</c:v>
                </c:pt>
                <c:pt idx="6">
                  <c:v>0.58671428984942597</c:v>
                </c:pt>
                <c:pt idx="7">
                  <c:v>0.67971507986367241</c:v>
                </c:pt>
                <c:pt idx="8">
                  <c:v>0.78737890730930149</c:v>
                </c:pt>
              </c:numCache>
            </c:numRef>
          </c:xVal>
          <c:yVal>
            <c:numRef>
              <c:f>PerformanceSummary!$C$40:$K$40</c:f>
              <c:numCache>
                <c:formatCode>0%</c:formatCode>
                <c:ptCount val="9"/>
                <c:pt idx="0">
                  <c:v>0</c:v>
                </c:pt>
                <c:pt idx="1">
                  <c:v>0.10801242103801556</c:v>
                </c:pt>
                <c:pt idx="2">
                  <c:v>0.17626107729536522</c:v>
                </c:pt>
                <c:pt idx="3">
                  <c:v>0.24242760732603486</c:v>
                </c:pt>
                <c:pt idx="4">
                  <c:v>0.30514333951402894</c:v>
                </c:pt>
                <c:pt idx="5">
                  <c:v>0.36389128431824469</c:v>
                </c:pt>
                <c:pt idx="6">
                  <c:v>0.42059713481917327</c:v>
                </c:pt>
                <c:pt idx="7">
                  <c:v>0.48976735070935773</c:v>
                </c:pt>
                <c:pt idx="8">
                  <c:v>0.7120840077310866</c:v>
                </c:pt>
              </c:numCache>
            </c:numRef>
          </c:yVal>
          <c:smooth val="1"/>
        </c:ser>
        <c:ser>
          <c:idx val="1"/>
          <c:order val="1"/>
          <c:tx>
            <c:v>no TE control</c:v>
          </c:tx>
          <c:marker>
            <c:symbol val="circle"/>
            <c:size val="7"/>
          </c:marker>
          <c:xVal>
            <c:numRef>
              <c:f>PerformanceSummary!$O$94:$W$94</c:f>
              <c:numCache>
                <c:formatCode>General</c:formatCode>
                <c:ptCount val="9"/>
                <c:pt idx="0">
                  <c:v>0</c:v>
                </c:pt>
                <c:pt idx="1">
                  <c:v>9.6174304747676895E-2</c:v>
                </c:pt>
                <c:pt idx="2">
                  <c:v>0.193149498015631</c:v>
                </c:pt>
                <c:pt idx="3">
                  <c:v>0.29097712139469101</c:v>
                </c:pt>
                <c:pt idx="4">
                  <c:v>0.38972825533446098</c:v>
                </c:pt>
                <c:pt idx="5">
                  <c:v>0.48951051963332798</c:v>
                </c:pt>
                <c:pt idx="6">
                  <c:v>0.59051232614432503</c:v>
                </c:pt>
                <c:pt idx="7">
                  <c:v>0.69315718424796502</c:v>
                </c:pt>
                <c:pt idx="8">
                  <c:v>0.79900759592038995</c:v>
                </c:pt>
              </c:numCache>
            </c:numRef>
          </c:xVal>
          <c:yVal>
            <c:numRef>
              <c:f>PerformanceSummary!$O$93:$W$93</c:f>
              <c:numCache>
                <c:formatCode>General</c:formatCode>
                <c:ptCount val="9"/>
                <c:pt idx="0">
                  <c:v>0</c:v>
                </c:pt>
                <c:pt idx="1">
                  <c:v>8.3123859480014606E-2</c:v>
                </c:pt>
                <c:pt idx="2">
                  <c:v>0.16837830849906699</c:v>
                </c:pt>
                <c:pt idx="3">
                  <c:v>0.25628414733935101</c:v>
                </c:pt>
                <c:pt idx="4">
                  <c:v>0.34763139569361601</c:v>
                </c:pt>
                <c:pt idx="5">
                  <c:v>0.44372096115429899</c:v>
                </c:pt>
                <c:pt idx="6">
                  <c:v>0.54697189944434399</c:v>
                </c:pt>
                <c:pt idx="7">
                  <c:v>0.66286241363521203</c:v>
                </c:pt>
                <c:pt idx="8">
                  <c:v>0.80870334444621095</c:v>
                </c:pt>
              </c:numCache>
            </c:numRef>
          </c:yVal>
          <c:smooth val="1"/>
        </c:ser>
        <c:dLbls>
          <c:showLegendKey val="0"/>
          <c:showVal val="0"/>
          <c:showCatName val="0"/>
          <c:showSerName val="0"/>
          <c:showPercent val="0"/>
          <c:showBubbleSize val="0"/>
        </c:dLbls>
        <c:axId val="144348288"/>
        <c:axId val="144350208"/>
      </c:scatterChart>
      <c:valAx>
        <c:axId val="144348288"/>
        <c:scaling>
          <c:orientation val="minMax"/>
          <c:max val="1"/>
        </c:scaling>
        <c:delete val="0"/>
        <c:axPos val="b"/>
        <c:majorGridlines>
          <c:spPr>
            <a:ln>
              <a:prstDash val="sysDot"/>
            </a:ln>
          </c:spPr>
        </c:majorGridlines>
        <c:title>
          <c:tx>
            <c:rich>
              <a:bodyPr/>
              <a:lstStyle/>
              <a:p>
                <a:pPr>
                  <a:defRPr/>
                </a:pPr>
                <a:r>
                  <a:rPr lang="en-GB"/>
                  <a:t>Reduction in Emission Intensity</a:t>
                </a:r>
              </a:p>
            </c:rich>
          </c:tx>
          <c:overlay val="0"/>
        </c:title>
        <c:numFmt formatCode="0%" sourceLinked="0"/>
        <c:majorTickMark val="out"/>
        <c:minorTickMark val="none"/>
        <c:tickLblPos val="nextTo"/>
        <c:crossAx val="144350208"/>
        <c:crosses val="autoZero"/>
        <c:crossBetween val="midCat"/>
        <c:majorUnit val="0.1"/>
      </c:valAx>
      <c:valAx>
        <c:axId val="144350208"/>
        <c:scaling>
          <c:orientation val="minMax"/>
          <c:max val="1"/>
          <c:min val="0"/>
        </c:scaling>
        <c:delete val="0"/>
        <c:axPos val="l"/>
        <c:majorGridlines>
          <c:spPr>
            <a:ln>
              <a:prstDash val="sysDot"/>
            </a:ln>
          </c:spPr>
        </c:majorGridlines>
        <c:title>
          <c:tx>
            <c:rich>
              <a:bodyPr rot="-5400000" vert="horz"/>
              <a:lstStyle/>
              <a:p>
                <a:pPr>
                  <a:defRPr b="1"/>
                </a:pPr>
                <a:r>
                  <a:rPr lang="en-GB" sz="1000" b="1" i="0" u="none" strike="noStrike" baseline="0">
                    <a:effectLst/>
                  </a:rPr>
                  <a:t>Reserve Reductions</a:t>
                </a:r>
                <a:r>
                  <a:rPr lang="en-GB" sz="1000" b="1" i="0" u="none" strike="noStrike" baseline="0"/>
                  <a:t> </a:t>
                </a:r>
                <a:endParaRPr lang="en-GB" b="1"/>
              </a:p>
            </c:rich>
          </c:tx>
          <c:layout>
            <c:manualLayout>
              <c:xMode val="edge"/>
              <c:yMode val="edge"/>
              <c:x val="2.2814060007204976E-3"/>
              <c:y val="0.30176442280512339"/>
            </c:manualLayout>
          </c:layout>
          <c:overlay val="0"/>
        </c:title>
        <c:numFmt formatCode="0%" sourceLinked="1"/>
        <c:majorTickMark val="out"/>
        <c:minorTickMark val="none"/>
        <c:tickLblPos val="nextTo"/>
        <c:crossAx val="144348288"/>
        <c:crosses val="autoZero"/>
        <c:crossBetween val="midCat"/>
      </c:valAx>
    </c:plotArea>
    <c:legend>
      <c:legendPos val="b"/>
      <c:layout>
        <c:manualLayout>
          <c:xMode val="edge"/>
          <c:yMode val="edge"/>
          <c:x val="0.30253706217757265"/>
          <c:y val="0.91230929614449363"/>
          <c:w val="0.44090288713910764"/>
          <c:h val="6.8955317825416695E-2"/>
        </c:manualLayout>
      </c:layout>
      <c:overlay val="0"/>
    </c:legend>
    <c:plotVisOnly val="1"/>
    <c:dispBlanksAs val="gap"/>
    <c:showDLblsOverMax val="0"/>
  </c:chart>
  <c:spPr>
    <a:ln>
      <a:noFill/>
    </a:ln>
  </c:sp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3784074589304124"/>
          <c:y val="7.4713375639572477E-2"/>
          <c:w val="0.81672190633117692"/>
          <c:h val="0.67725445457160627"/>
        </c:manualLayout>
      </c:layout>
      <c:scatterChart>
        <c:scatterStyle val="smoothMarker"/>
        <c:varyColors val="0"/>
        <c:ser>
          <c:idx val="0"/>
          <c:order val="0"/>
          <c:tx>
            <c:v>Target Carbon Index</c:v>
          </c:tx>
          <c:spPr>
            <a:ln>
              <a:solidFill>
                <a:srgbClr val="C00000"/>
              </a:solidFill>
            </a:ln>
          </c:spPr>
          <c:marker>
            <c:symbol val="circle"/>
            <c:size val="5"/>
            <c:spPr>
              <a:solidFill>
                <a:srgbClr val="C00000"/>
              </a:solidFill>
              <a:ln>
                <a:solidFill>
                  <a:srgbClr val="C00000"/>
                </a:solidFill>
              </a:ln>
            </c:spPr>
          </c:marker>
          <c:xVal>
            <c:numRef>
              <c:f>PerformanceSummary!$C$41:$K$41</c:f>
              <c:numCache>
                <c:formatCode>0%</c:formatCode>
                <c:ptCount val="9"/>
                <c:pt idx="0">
                  <c:v>0</c:v>
                </c:pt>
                <c:pt idx="1">
                  <c:v>0.10406462681771311</c:v>
                </c:pt>
                <c:pt idx="2">
                  <c:v>0.20295079929503457</c:v>
                </c:pt>
                <c:pt idx="3">
                  <c:v>0.30042658842869152</c:v>
                </c:pt>
                <c:pt idx="4">
                  <c:v>0.39692601660062254</c:v>
                </c:pt>
                <c:pt idx="5">
                  <c:v>0.49238420707256714</c:v>
                </c:pt>
                <c:pt idx="6">
                  <c:v>0.58671428984942597</c:v>
                </c:pt>
                <c:pt idx="7">
                  <c:v>0.67971507986367241</c:v>
                </c:pt>
                <c:pt idx="8">
                  <c:v>0.78737890730930149</c:v>
                </c:pt>
              </c:numCache>
            </c:numRef>
          </c:xVal>
          <c:yVal>
            <c:numRef>
              <c:f>PerformanceSummary!$C$37:$K$37</c:f>
              <c:numCache>
                <c:formatCode>0.0</c:formatCode>
                <c:ptCount val="9"/>
                <c:pt idx="0">
                  <c:v>1.2827089016870199</c:v>
                </c:pt>
                <c:pt idx="1">
                  <c:v>1.2736318948579</c:v>
                </c:pt>
                <c:pt idx="2">
                  <c:v>1.2777726121141899</c:v>
                </c:pt>
                <c:pt idx="3">
                  <c:v>1.29412824803895</c:v>
                </c:pt>
                <c:pt idx="4">
                  <c:v>1.3214412435173599</c:v>
                </c:pt>
                <c:pt idx="5">
                  <c:v>1.35922044547289</c:v>
                </c:pt>
                <c:pt idx="6">
                  <c:v>1.4099053699528501</c:v>
                </c:pt>
                <c:pt idx="7">
                  <c:v>1.48834604467538</c:v>
                </c:pt>
                <c:pt idx="8">
                  <c:v>1.57774712478044</c:v>
                </c:pt>
              </c:numCache>
            </c:numRef>
          </c:yVal>
          <c:smooth val="1"/>
        </c:ser>
        <c:ser>
          <c:idx val="1"/>
          <c:order val="1"/>
          <c:tx>
            <c:v>no TE control</c:v>
          </c:tx>
          <c:marker>
            <c:symbol val="circle"/>
            <c:size val="7"/>
          </c:marker>
          <c:xVal>
            <c:numRef>
              <c:f>PerformanceSummary!$O$94:$W$94</c:f>
              <c:numCache>
                <c:formatCode>General</c:formatCode>
                <c:ptCount val="9"/>
                <c:pt idx="0">
                  <c:v>0</c:v>
                </c:pt>
                <c:pt idx="1">
                  <c:v>9.6174304747676895E-2</c:v>
                </c:pt>
                <c:pt idx="2">
                  <c:v>0.193149498015631</c:v>
                </c:pt>
                <c:pt idx="3">
                  <c:v>0.29097712139469101</c:v>
                </c:pt>
                <c:pt idx="4">
                  <c:v>0.38972825533446098</c:v>
                </c:pt>
                <c:pt idx="5">
                  <c:v>0.48951051963332798</c:v>
                </c:pt>
                <c:pt idx="6">
                  <c:v>0.59051232614432503</c:v>
                </c:pt>
                <c:pt idx="7">
                  <c:v>0.69315718424796502</c:v>
                </c:pt>
                <c:pt idx="8">
                  <c:v>0.79900759592038995</c:v>
                </c:pt>
              </c:numCache>
            </c:numRef>
          </c:xVal>
          <c:yVal>
            <c:numRef>
              <c:f>PerformanceSummary!$O$92:$W$92</c:f>
              <c:numCache>
                <c:formatCode>General</c:formatCode>
                <c:ptCount val="9"/>
                <c:pt idx="0">
                  <c:v>1.2528356090850701</c:v>
                </c:pt>
                <c:pt idx="1">
                  <c:v>1.2114577005514999</c:v>
                </c:pt>
                <c:pt idx="2">
                  <c:v>1.1690919744994099</c:v>
                </c:pt>
                <c:pt idx="3">
                  <c:v>1.1253659281912201</c:v>
                </c:pt>
                <c:pt idx="4">
                  <c:v>1.07966517211881</c:v>
                </c:pt>
                <c:pt idx="5">
                  <c:v>1.03087301095689</c:v>
                </c:pt>
                <c:pt idx="6">
                  <c:v>0.97664151026207902</c:v>
                </c:pt>
                <c:pt idx="7">
                  <c:v>0.91066880808182304</c:v>
                </c:pt>
                <c:pt idx="8">
                  <c:v>0.80557966516281099</c:v>
                </c:pt>
              </c:numCache>
            </c:numRef>
          </c:yVal>
          <c:smooth val="1"/>
        </c:ser>
        <c:dLbls>
          <c:showLegendKey val="0"/>
          <c:showVal val="0"/>
          <c:showCatName val="0"/>
          <c:showSerName val="0"/>
          <c:showPercent val="0"/>
          <c:showBubbleSize val="0"/>
        </c:dLbls>
        <c:axId val="134399488"/>
        <c:axId val="134401408"/>
      </c:scatterChart>
      <c:valAx>
        <c:axId val="134399488"/>
        <c:scaling>
          <c:orientation val="minMax"/>
          <c:max val="1"/>
        </c:scaling>
        <c:delete val="0"/>
        <c:axPos val="b"/>
        <c:majorGridlines>
          <c:spPr>
            <a:ln>
              <a:prstDash val="sysDot"/>
            </a:ln>
          </c:spPr>
        </c:majorGridlines>
        <c:title>
          <c:tx>
            <c:rich>
              <a:bodyPr/>
              <a:lstStyle/>
              <a:p>
                <a:pPr>
                  <a:defRPr/>
                </a:pPr>
                <a:r>
                  <a:rPr lang="en-GB"/>
                  <a:t>Reduction in Emission Intensity</a:t>
                </a:r>
              </a:p>
            </c:rich>
          </c:tx>
          <c:overlay val="0"/>
        </c:title>
        <c:numFmt formatCode="0%" sourceLinked="0"/>
        <c:majorTickMark val="out"/>
        <c:minorTickMark val="none"/>
        <c:tickLblPos val="nextTo"/>
        <c:crossAx val="134401408"/>
        <c:crosses val="autoZero"/>
        <c:crossBetween val="midCat"/>
        <c:majorUnit val="0.1"/>
      </c:valAx>
      <c:valAx>
        <c:axId val="134401408"/>
        <c:scaling>
          <c:orientation val="minMax"/>
          <c:max val="2"/>
          <c:min val="0"/>
        </c:scaling>
        <c:delete val="0"/>
        <c:axPos val="l"/>
        <c:majorGridlines>
          <c:spPr>
            <a:ln>
              <a:prstDash val="sysDot"/>
            </a:ln>
          </c:spPr>
        </c:majorGridlines>
        <c:title>
          <c:tx>
            <c:rich>
              <a:bodyPr rot="-5400000" vert="horz"/>
              <a:lstStyle/>
              <a:p>
                <a:pPr>
                  <a:defRPr b="1"/>
                </a:pPr>
                <a:r>
                  <a:rPr lang="en-GB" sz="1000" b="1" i="0" u="none" strike="noStrike" baseline="0">
                    <a:effectLst/>
                  </a:rPr>
                  <a:t>Green Revenue  (Proportion of total revenue %) </a:t>
                </a:r>
                <a:endParaRPr lang="en-GB" b="1"/>
              </a:p>
            </c:rich>
          </c:tx>
          <c:layout>
            <c:manualLayout>
              <c:xMode val="edge"/>
              <c:yMode val="edge"/>
              <c:x val="4.6587926509186376E-4"/>
              <c:y val="0.10601647355056228"/>
            </c:manualLayout>
          </c:layout>
          <c:overlay val="0"/>
        </c:title>
        <c:numFmt formatCode="0.0" sourceLinked="1"/>
        <c:majorTickMark val="out"/>
        <c:minorTickMark val="none"/>
        <c:tickLblPos val="nextTo"/>
        <c:crossAx val="134399488"/>
        <c:crosses val="autoZero"/>
        <c:crossBetween val="midCat"/>
      </c:valAx>
    </c:plotArea>
    <c:legend>
      <c:legendPos val="b"/>
      <c:layout>
        <c:manualLayout>
          <c:xMode val="edge"/>
          <c:yMode val="edge"/>
          <c:x val="0.30253706217757265"/>
          <c:y val="0.91230929614449363"/>
          <c:w val="0.44090288713910764"/>
          <c:h val="6.8955317825416695E-2"/>
        </c:manualLayout>
      </c:layout>
      <c:overlay val="0"/>
    </c:legend>
    <c:plotVisOnly val="1"/>
    <c:dispBlanksAs val="gap"/>
    <c:showDLblsOverMax val="0"/>
  </c:chart>
  <c:spPr>
    <a:ln>
      <a:noFill/>
    </a:ln>
  </c:sp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2918907407407407"/>
          <c:y val="7.4713375639572477E-2"/>
          <c:w val="0.81642796296296294"/>
          <c:h val="0.70848009795508915"/>
        </c:manualLayout>
      </c:layout>
      <c:scatterChart>
        <c:scatterStyle val="smoothMarker"/>
        <c:varyColors val="0"/>
        <c:ser>
          <c:idx val="0"/>
          <c:order val="0"/>
          <c:tx>
            <c:v>target esg index</c:v>
          </c:tx>
          <c:spPr>
            <a:ln>
              <a:solidFill>
                <a:srgbClr val="C00000"/>
              </a:solidFill>
            </a:ln>
          </c:spPr>
          <c:marker>
            <c:symbol val="circle"/>
            <c:size val="5"/>
            <c:spPr>
              <a:solidFill>
                <a:srgbClr val="C00000"/>
              </a:solidFill>
              <a:ln>
                <a:solidFill>
                  <a:srgbClr val="C00000"/>
                </a:solidFill>
              </a:ln>
            </c:spPr>
          </c:marker>
          <c:xVal>
            <c:numRef>
              <c:f>PureESG!$B$10:$I$10</c:f>
              <c:numCache>
                <c:formatCode>General</c:formatCode>
                <c:ptCount val="8"/>
                <c:pt idx="0">
                  <c:v>3.0275923797556801</c:v>
                </c:pt>
                <c:pt idx="1">
                  <c:v>3.1782706986427902</c:v>
                </c:pt>
                <c:pt idx="2">
                  <c:v>3.3296961807734999</c:v>
                </c:pt>
                <c:pt idx="3">
                  <c:v>3.48117054299858</c:v>
                </c:pt>
                <c:pt idx="4">
                  <c:v>3.63262658604412</c:v>
                </c:pt>
                <c:pt idx="5">
                  <c:v>3.7837550793294699</c:v>
                </c:pt>
                <c:pt idx="6">
                  <c:v>3.9349026113877401</c:v>
                </c:pt>
                <c:pt idx="7">
                  <c:v>4.0682507565401602</c:v>
                </c:pt>
              </c:numCache>
            </c:numRef>
          </c:xVal>
          <c:yVal>
            <c:numRef>
              <c:f>PureESG!$B$8:$I$8</c:f>
              <c:numCache>
                <c:formatCode>General</c:formatCode>
                <c:ptCount val="8"/>
                <c:pt idx="0">
                  <c:v>0</c:v>
                </c:pt>
                <c:pt idx="1">
                  <c:v>0.21846313708258699</c:v>
                </c:pt>
                <c:pt idx="2">
                  <c:v>0.439297596560632</c:v>
                </c:pt>
                <c:pt idx="3">
                  <c:v>0.68145462093748299</c:v>
                </c:pt>
                <c:pt idx="4">
                  <c:v>0.96107554256424699</c:v>
                </c:pt>
                <c:pt idx="5">
                  <c:v>1.3095789206673401</c:v>
                </c:pt>
                <c:pt idx="6">
                  <c:v>1.75976722530626</c:v>
                </c:pt>
                <c:pt idx="7">
                  <c:v>2.2527068779894002</c:v>
                </c:pt>
              </c:numCache>
            </c:numRef>
          </c:yVal>
          <c:smooth val="1"/>
        </c:ser>
        <c:ser>
          <c:idx val="2"/>
          <c:order val="1"/>
          <c:tx>
            <c:v>control industry/country only</c:v>
          </c:tx>
          <c:spPr>
            <a:ln>
              <a:solidFill>
                <a:schemeClr val="bg1">
                  <a:lumMod val="50000"/>
                </a:schemeClr>
              </a:solidFill>
              <a:prstDash val="sysDot"/>
            </a:ln>
          </c:spPr>
          <c:marker>
            <c:symbol val="circle"/>
            <c:size val="5"/>
            <c:spPr>
              <a:solidFill>
                <a:schemeClr val="bg1">
                  <a:lumMod val="50000"/>
                </a:schemeClr>
              </a:solidFill>
              <a:ln>
                <a:solidFill>
                  <a:schemeClr val="bg1">
                    <a:lumMod val="50000"/>
                  </a:schemeClr>
                </a:solidFill>
              </a:ln>
            </c:spPr>
          </c:marker>
          <c:xVal>
            <c:numRef>
              <c:f>PureESG!$B$39:$I$39</c:f>
              <c:numCache>
                <c:formatCode>General</c:formatCode>
                <c:ptCount val="8"/>
                <c:pt idx="0">
                  <c:v>3.0275923797556801</c:v>
                </c:pt>
                <c:pt idx="1">
                  <c:v>3.1781420073904298</c:v>
                </c:pt>
                <c:pt idx="2">
                  <c:v>3.3294392717978099</c:v>
                </c:pt>
                <c:pt idx="3">
                  <c:v>3.4810548256232399</c:v>
                </c:pt>
                <c:pt idx="4">
                  <c:v>3.63223965105793</c:v>
                </c:pt>
                <c:pt idx="5">
                  <c:v>3.7837254384449199</c:v>
                </c:pt>
                <c:pt idx="6">
                  <c:v>3.9349589843133601</c:v>
                </c:pt>
                <c:pt idx="7">
                  <c:v>4.0735261435412102</c:v>
                </c:pt>
              </c:numCache>
            </c:numRef>
          </c:xVal>
          <c:yVal>
            <c:numRef>
              <c:f>PureESG!$B$37:$I$37</c:f>
              <c:numCache>
                <c:formatCode>General</c:formatCode>
                <c:ptCount val="8"/>
                <c:pt idx="0">
                  <c:v>0</c:v>
                </c:pt>
                <c:pt idx="1">
                  <c:v>0.257066091270158</c:v>
                </c:pt>
                <c:pt idx="2">
                  <c:v>0.51846701454125099</c:v>
                </c:pt>
                <c:pt idx="3">
                  <c:v>0.79897960418265201</c:v>
                </c:pt>
                <c:pt idx="4">
                  <c:v>1.10068425362879</c:v>
                </c:pt>
                <c:pt idx="5">
                  <c:v>1.4768113735319599</c:v>
                </c:pt>
                <c:pt idx="6">
                  <c:v>1.85396003009178</c:v>
                </c:pt>
                <c:pt idx="7">
                  <c:v>2.5785674733690098</c:v>
                </c:pt>
              </c:numCache>
            </c:numRef>
          </c:yVal>
          <c:smooth val="1"/>
        </c:ser>
        <c:ser>
          <c:idx val="1"/>
          <c:order val="2"/>
          <c:tx>
            <c:v>no TE control</c:v>
          </c:tx>
          <c:spPr>
            <a:ln>
              <a:solidFill>
                <a:schemeClr val="bg1">
                  <a:lumMod val="50000"/>
                </a:schemeClr>
              </a:solidFill>
            </a:ln>
          </c:spPr>
          <c:marker>
            <c:symbol val="circle"/>
            <c:size val="7"/>
            <c:spPr>
              <a:solidFill>
                <a:schemeClr val="bg1">
                  <a:lumMod val="50000"/>
                </a:schemeClr>
              </a:solidFill>
              <a:ln>
                <a:solidFill>
                  <a:schemeClr val="bg1">
                    <a:lumMod val="50000"/>
                  </a:schemeClr>
                </a:solidFill>
              </a:ln>
            </c:spPr>
          </c:marker>
          <c:xVal>
            <c:numRef>
              <c:f>PureESG!$J$10:$Q$10</c:f>
              <c:numCache>
                <c:formatCode>General</c:formatCode>
                <c:ptCount val="8"/>
                <c:pt idx="0">
                  <c:v>3.0275923797556801</c:v>
                </c:pt>
                <c:pt idx="1">
                  <c:v>3.17897199837221</c:v>
                </c:pt>
                <c:pt idx="2">
                  <c:v>3.3303514543100898</c:v>
                </c:pt>
                <c:pt idx="3">
                  <c:v>3.4817310814900999</c:v>
                </c:pt>
                <c:pt idx="4">
                  <c:v>3.6331105955686702</c:v>
                </c:pt>
                <c:pt idx="5">
                  <c:v>3.78449007375949</c:v>
                </c:pt>
                <c:pt idx="6">
                  <c:v>3.9358700391735799</c:v>
                </c:pt>
                <c:pt idx="7">
                  <c:v>4.0871974187861602</c:v>
                </c:pt>
              </c:numCache>
            </c:numRef>
          </c:xVal>
          <c:yVal>
            <c:numRef>
              <c:f>PureESG!$J$8:$Q$8</c:f>
              <c:numCache>
                <c:formatCode>General</c:formatCode>
                <c:ptCount val="8"/>
                <c:pt idx="0">
                  <c:v>0</c:v>
                </c:pt>
                <c:pt idx="1">
                  <c:v>0.398832908439058</c:v>
                </c:pt>
                <c:pt idx="2">
                  <c:v>0.83106549932996798</c:v>
                </c:pt>
                <c:pt idx="3">
                  <c:v>1.3043662710717401</c:v>
                </c:pt>
                <c:pt idx="4">
                  <c:v>1.8279584860129701</c:v>
                </c:pt>
                <c:pt idx="5">
                  <c:v>2.4175289190082698</c:v>
                </c:pt>
                <c:pt idx="6">
                  <c:v>3.1027949712201401</c:v>
                </c:pt>
                <c:pt idx="7">
                  <c:v>3.9346612801740402</c:v>
                </c:pt>
              </c:numCache>
            </c:numRef>
          </c:yVal>
          <c:smooth val="1"/>
        </c:ser>
        <c:dLbls>
          <c:showLegendKey val="0"/>
          <c:showVal val="0"/>
          <c:showCatName val="0"/>
          <c:showSerName val="0"/>
          <c:showPercent val="0"/>
          <c:showBubbleSize val="0"/>
        </c:dLbls>
        <c:axId val="144288000"/>
        <c:axId val="144298752"/>
      </c:scatterChart>
      <c:valAx>
        <c:axId val="144288000"/>
        <c:scaling>
          <c:orientation val="minMax"/>
          <c:min val="2.8"/>
        </c:scaling>
        <c:delete val="0"/>
        <c:axPos val="b"/>
        <c:majorGridlines>
          <c:spPr>
            <a:ln>
              <a:prstDash val="sysDot"/>
            </a:ln>
          </c:spPr>
        </c:majorGridlines>
        <c:title>
          <c:tx>
            <c:rich>
              <a:bodyPr/>
              <a:lstStyle/>
              <a:p>
                <a:pPr>
                  <a:defRPr/>
                </a:pPr>
                <a:r>
                  <a:rPr lang="en-GB"/>
                  <a:t>ESG ratings</a:t>
                </a:r>
              </a:p>
            </c:rich>
          </c:tx>
          <c:overlay val="0"/>
        </c:title>
        <c:numFmt formatCode="#,##0.0" sourceLinked="0"/>
        <c:majorTickMark val="out"/>
        <c:minorTickMark val="none"/>
        <c:tickLblPos val="nextTo"/>
        <c:crossAx val="144298752"/>
        <c:crosses val="autoZero"/>
        <c:crossBetween val="midCat"/>
        <c:majorUnit val="0.4"/>
      </c:valAx>
      <c:valAx>
        <c:axId val="144298752"/>
        <c:scaling>
          <c:orientation val="minMax"/>
        </c:scaling>
        <c:delete val="0"/>
        <c:axPos val="l"/>
        <c:majorGridlines/>
        <c:title>
          <c:tx>
            <c:rich>
              <a:bodyPr rot="-5400000" vert="horz"/>
              <a:lstStyle/>
              <a:p>
                <a:pPr>
                  <a:defRPr/>
                </a:pPr>
                <a:r>
                  <a:rPr lang="en-GB"/>
                  <a:t>Tracking Error</a:t>
                </a:r>
                <a:r>
                  <a:rPr lang="en-GB" baseline="0"/>
                  <a:t> (% p.a.)</a:t>
                </a:r>
                <a:endParaRPr lang="en-GB"/>
              </a:p>
            </c:rich>
          </c:tx>
          <c:layout>
            <c:manualLayout>
              <c:xMode val="edge"/>
              <c:yMode val="edge"/>
              <c:x val="2.5157232704402517E-2"/>
              <c:y val="0.29300844912038393"/>
            </c:manualLayout>
          </c:layout>
          <c:overlay val="0"/>
        </c:title>
        <c:numFmt formatCode="General" sourceLinked="1"/>
        <c:majorTickMark val="out"/>
        <c:minorTickMark val="none"/>
        <c:tickLblPos val="nextTo"/>
        <c:crossAx val="144288000"/>
        <c:crosses val="autoZero"/>
        <c:crossBetween val="midCat"/>
      </c:valAx>
    </c:plotArea>
    <c:legend>
      <c:legendPos val="b"/>
      <c:layout>
        <c:manualLayout>
          <c:xMode val="edge"/>
          <c:yMode val="edge"/>
          <c:x val="3.2972178622633616E-2"/>
          <c:y val="0.88343535798182704"/>
          <c:w val="0.85913738394640959"/>
          <c:h val="0.11656464201817293"/>
        </c:manualLayout>
      </c:layout>
      <c:overlay val="0"/>
    </c:legend>
    <c:plotVisOnly val="1"/>
    <c:dispBlanksAs val="gap"/>
    <c:showDLblsOverMax val="0"/>
  </c:chart>
  <c:spPr>
    <a:ln>
      <a:noFill/>
    </a:ln>
  </c:sp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098854899774696"/>
          <c:y val="7.4713375639572477E-2"/>
          <c:w val="0.80462848117436658"/>
          <c:h val="0.70848009795508915"/>
        </c:manualLayout>
      </c:layout>
      <c:scatterChart>
        <c:scatterStyle val="smoothMarker"/>
        <c:varyColors val="0"/>
        <c:ser>
          <c:idx val="1"/>
          <c:order val="0"/>
          <c:tx>
            <c:v>target esg index</c:v>
          </c:tx>
          <c:spPr>
            <a:ln>
              <a:solidFill>
                <a:srgbClr val="C00000"/>
              </a:solidFill>
            </a:ln>
          </c:spPr>
          <c:marker>
            <c:symbol val="circle"/>
            <c:size val="7"/>
            <c:spPr>
              <a:solidFill>
                <a:srgbClr val="C00000"/>
              </a:solidFill>
              <a:ln>
                <a:solidFill>
                  <a:srgbClr val="C00000"/>
                </a:solidFill>
              </a:ln>
            </c:spPr>
          </c:marker>
          <c:xVal>
            <c:numRef>
              <c:f>PureESG!$B$10:$I$10</c:f>
              <c:numCache>
                <c:formatCode>General</c:formatCode>
                <c:ptCount val="8"/>
                <c:pt idx="0">
                  <c:v>3.0275923797556801</c:v>
                </c:pt>
                <c:pt idx="1">
                  <c:v>3.1782706986427902</c:v>
                </c:pt>
                <c:pt idx="2">
                  <c:v>3.3296961807734999</c:v>
                </c:pt>
                <c:pt idx="3">
                  <c:v>3.48117054299858</c:v>
                </c:pt>
                <c:pt idx="4">
                  <c:v>3.63262658604412</c:v>
                </c:pt>
                <c:pt idx="5">
                  <c:v>3.7837550793294699</c:v>
                </c:pt>
                <c:pt idx="6">
                  <c:v>3.9349026113877401</c:v>
                </c:pt>
                <c:pt idx="7">
                  <c:v>4.0682507565401602</c:v>
                </c:pt>
              </c:numCache>
            </c:numRef>
          </c:xVal>
          <c:yVal>
            <c:numRef>
              <c:f>PureESG!$B$7:$I$7</c:f>
              <c:numCache>
                <c:formatCode>General</c:formatCode>
                <c:ptCount val="8"/>
                <c:pt idx="0">
                  <c:v>0</c:v>
                </c:pt>
                <c:pt idx="1">
                  <c:v>6.1478397911796101E-2</c:v>
                </c:pt>
                <c:pt idx="2">
                  <c:v>0.102935910650537</c:v>
                </c:pt>
                <c:pt idx="3">
                  <c:v>0.16233455131888799</c:v>
                </c:pt>
                <c:pt idx="4">
                  <c:v>0.26421356800030399</c:v>
                </c:pt>
                <c:pt idx="5">
                  <c:v>0.35971067878790602</c:v>
                </c:pt>
                <c:pt idx="6">
                  <c:v>0.48394696931675102</c:v>
                </c:pt>
                <c:pt idx="7">
                  <c:v>0.67950381079453503</c:v>
                </c:pt>
              </c:numCache>
            </c:numRef>
          </c:yVal>
          <c:smooth val="1"/>
        </c:ser>
        <c:ser>
          <c:idx val="2"/>
          <c:order val="1"/>
          <c:tx>
            <c:v>control industry/country only</c:v>
          </c:tx>
          <c:spPr>
            <a:ln>
              <a:solidFill>
                <a:schemeClr val="bg1">
                  <a:lumMod val="50000"/>
                </a:schemeClr>
              </a:solidFill>
              <a:prstDash val="sysDot"/>
            </a:ln>
          </c:spPr>
          <c:marker>
            <c:symbol val="circle"/>
            <c:size val="5"/>
            <c:spPr>
              <a:solidFill>
                <a:schemeClr val="bg1">
                  <a:lumMod val="50000"/>
                </a:schemeClr>
              </a:solidFill>
              <a:ln>
                <a:solidFill>
                  <a:schemeClr val="bg1">
                    <a:lumMod val="50000"/>
                  </a:schemeClr>
                </a:solidFill>
              </a:ln>
            </c:spPr>
          </c:marker>
          <c:xVal>
            <c:numRef>
              <c:f>PureESG!$B$39:$I$39</c:f>
              <c:numCache>
                <c:formatCode>General</c:formatCode>
                <c:ptCount val="8"/>
                <c:pt idx="0">
                  <c:v>3.0275923797556801</c:v>
                </c:pt>
                <c:pt idx="1">
                  <c:v>3.1781420073904298</c:v>
                </c:pt>
                <c:pt idx="2">
                  <c:v>3.3294392717978099</c:v>
                </c:pt>
                <c:pt idx="3">
                  <c:v>3.4810548256232399</c:v>
                </c:pt>
                <c:pt idx="4">
                  <c:v>3.63223965105793</c:v>
                </c:pt>
                <c:pt idx="5">
                  <c:v>3.7837254384449199</c:v>
                </c:pt>
                <c:pt idx="6">
                  <c:v>3.9349589843133601</c:v>
                </c:pt>
                <c:pt idx="7">
                  <c:v>4.0735261435412102</c:v>
                </c:pt>
              </c:numCache>
            </c:numRef>
          </c:xVal>
          <c:yVal>
            <c:numRef>
              <c:f>PureESG!$B$36:$I$36</c:f>
              <c:numCache>
                <c:formatCode>General</c:formatCode>
                <c:ptCount val="8"/>
                <c:pt idx="0">
                  <c:v>0</c:v>
                </c:pt>
                <c:pt idx="1">
                  <c:v>2.8171469678817101E-2</c:v>
                </c:pt>
                <c:pt idx="2">
                  <c:v>5.0553074178472102E-2</c:v>
                </c:pt>
                <c:pt idx="3">
                  <c:v>0.10094983990933699</c:v>
                </c:pt>
                <c:pt idx="4">
                  <c:v>0.205404294519451</c:v>
                </c:pt>
                <c:pt idx="5" formatCode="0.00E+00">
                  <c:v>0.39782212470616002</c:v>
                </c:pt>
                <c:pt idx="6">
                  <c:v>0.70428174229835205</c:v>
                </c:pt>
                <c:pt idx="7">
                  <c:v>1.01405483532757</c:v>
                </c:pt>
              </c:numCache>
            </c:numRef>
          </c:yVal>
          <c:smooth val="1"/>
        </c:ser>
        <c:ser>
          <c:idx val="0"/>
          <c:order val="2"/>
          <c:tx>
            <c:v>no TE control</c:v>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xVal>
            <c:numRef>
              <c:f>PureESG!$B$10:$I$10</c:f>
              <c:numCache>
                <c:formatCode>General</c:formatCode>
                <c:ptCount val="8"/>
                <c:pt idx="0">
                  <c:v>3.0275923797556801</c:v>
                </c:pt>
                <c:pt idx="1">
                  <c:v>3.1782706986427902</c:v>
                </c:pt>
                <c:pt idx="2">
                  <c:v>3.3296961807734999</c:v>
                </c:pt>
                <c:pt idx="3">
                  <c:v>3.48117054299858</c:v>
                </c:pt>
                <c:pt idx="4">
                  <c:v>3.63262658604412</c:v>
                </c:pt>
                <c:pt idx="5">
                  <c:v>3.7837550793294699</c:v>
                </c:pt>
                <c:pt idx="6">
                  <c:v>3.9349026113877401</c:v>
                </c:pt>
                <c:pt idx="7">
                  <c:v>4.0682507565401602</c:v>
                </c:pt>
              </c:numCache>
            </c:numRef>
          </c:xVal>
          <c:yVal>
            <c:numRef>
              <c:f>PureESG!$J$7:$Q$7</c:f>
              <c:numCache>
                <c:formatCode>General</c:formatCode>
                <c:ptCount val="8"/>
                <c:pt idx="0">
                  <c:v>0</c:v>
                </c:pt>
                <c:pt idx="1">
                  <c:v>-5.9458352855834597E-2</c:v>
                </c:pt>
                <c:pt idx="2">
                  <c:v>-0.14763352159343801</c:v>
                </c:pt>
                <c:pt idx="3">
                  <c:v>-0.24322978132637099</c:v>
                </c:pt>
                <c:pt idx="4">
                  <c:v>-0.33981794268030902</c:v>
                </c:pt>
                <c:pt idx="5">
                  <c:v>-0.430944108787501</c:v>
                </c:pt>
                <c:pt idx="6">
                  <c:v>-0.52253120242773399</c:v>
                </c:pt>
                <c:pt idx="7">
                  <c:v>-0.64091796316527705</c:v>
                </c:pt>
              </c:numCache>
            </c:numRef>
          </c:yVal>
          <c:smooth val="1"/>
        </c:ser>
        <c:dLbls>
          <c:showLegendKey val="0"/>
          <c:showVal val="0"/>
          <c:showCatName val="0"/>
          <c:showSerName val="0"/>
          <c:showPercent val="0"/>
          <c:showBubbleSize val="0"/>
        </c:dLbls>
        <c:axId val="144394112"/>
        <c:axId val="144400768"/>
      </c:scatterChart>
      <c:valAx>
        <c:axId val="144394112"/>
        <c:scaling>
          <c:orientation val="minMax"/>
          <c:max val="4.4000000000000004"/>
          <c:min val="2.8"/>
        </c:scaling>
        <c:delete val="0"/>
        <c:axPos val="b"/>
        <c:majorGridlines>
          <c:spPr>
            <a:ln>
              <a:prstDash val="sysDot"/>
            </a:ln>
          </c:spPr>
        </c:majorGridlines>
        <c:title>
          <c:tx>
            <c:rich>
              <a:bodyPr/>
              <a:lstStyle/>
              <a:p>
                <a:pPr>
                  <a:defRPr/>
                </a:pPr>
                <a:r>
                  <a:rPr lang="en-GB"/>
                  <a:t>ESG ratings</a:t>
                </a:r>
              </a:p>
            </c:rich>
          </c:tx>
          <c:overlay val="0"/>
        </c:title>
        <c:numFmt formatCode="#,##0.0" sourceLinked="0"/>
        <c:majorTickMark val="out"/>
        <c:minorTickMark val="none"/>
        <c:tickLblPos val="low"/>
        <c:crossAx val="144400768"/>
        <c:crosses val="autoZero"/>
        <c:crossBetween val="midCat"/>
        <c:majorUnit val="0.4"/>
      </c:valAx>
      <c:valAx>
        <c:axId val="144400768"/>
        <c:scaling>
          <c:orientation val="minMax"/>
        </c:scaling>
        <c:delete val="0"/>
        <c:axPos val="l"/>
        <c:majorGridlines/>
        <c:title>
          <c:tx>
            <c:rich>
              <a:bodyPr rot="-5400000" vert="horz"/>
              <a:lstStyle/>
              <a:p>
                <a:pPr>
                  <a:defRPr/>
                </a:pPr>
                <a:r>
                  <a:rPr lang="en-GB" baseline="0"/>
                  <a:t>Excess returns (% p.a.)</a:t>
                </a:r>
                <a:endParaRPr lang="en-GB"/>
              </a:p>
            </c:rich>
          </c:tx>
          <c:layout>
            <c:manualLayout>
              <c:xMode val="edge"/>
              <c:yMode val="edge"/>
              <c:x val="2.5157232704402517E-2"/>
              <c:y val="0.29300844912038393"/>
            </c:manualLayout>
          </c:layout>
          <c:overlay val="0"/>
        </c:title>
        <c:numFmt formatCode="General" sourceLinked="1"/>
        <c:majorTickMark val="out"/>
        <c:minorTickMark val="none"/>
        <c:tickLblPos val="nextTo"/>
        <c:crossAx val="144394112"/>
        <c:crosses val="autoZero"/>
        <c:crossBetween val="midCat"/>
      </c:valAx>
    </c:plotArea>
    <c:legend>
      <c:legendPos val="b"/>
      <c:layout>
        <c:manualLayout>
          <c:xMode val="edge"/>
          <c:yMode val="edge"/>
          <c:x val="3.2972178622633616E-2"/>
          <c:y val="0.89393404564586909"/>
          <c:w val="0.93393366270392675"/>
          <c:h val="0.10606595435413094"/>
        </c:manualLayout>
      </c:layout>
      <c:overlay val="0"/>
    </c:legend>
    <c:plotVisOnly val="1"/>
    <c:dispBlanksAs val="gap"/>
    <c:showDLblsOverMax val="0"/>
  </c:chart>
  <c:spPr>
    <a:ln>
      <a:noFill/>
    </a:ln>
  </c:sp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4889654685585"/>
          <c:y val="7.4713375639572477E-2"/>
          <c:w val="0.80012808912333389"/>
          <c:h val="0.70848009795508915"/>
        </c:manualLayout>
      </c:layout>
      <c:scatterChart>
        <c:scatterStyle val="smoothMarker"/>
        <c:varyColors val="0"/>
        <c:ser>
          <c:idx val="0"/>
          <c:order val="0"/>
          <c:tx>
            <c:v>esg + carbon target index</c:v>
          </c:tx>
          <c:spPr>
            <a:ln>
              <a:solidFill>
                <a:srgbClr val="C00000"/>
              </a:solidFill>
            </a:ln>
          </c:spPr>
          <c:marker>
            <c:symbol val="circle"/>
            <c:size val="5"/>
            <c:spPr>
              <a:solidFill>
                <a:srgbClr val="C00000"/>
              </a:solidFill>
              <a:ln>
                <a:solidFill>
                  <a:srgbClr val="C00000"/>
                </a:solidFill>
              </a:ln>
            </c:spPr>
          </c:marker>
          <c:xVal>
            <c:numRef>
              <c:f>PerformanceSummary!$O$133:$T$133</c:f>
              <c:numCache>
                <c:formatCode>General</c:formatCode>
                <c:ptCount val="6"/>
                <c:pt idx="0" formatCode="0.0">
                  <c:v>2.9927162938916099</c:v>
                </c:pt>
                <c:pt idx="1">
                  <c:v>3.09236055791364</c:v>
                </c:pt>
                <c:pt idx="2">
                  <c:v>3.2921817583208299</c:v>
                </c:pt>
                <c:pt idx="3">
                  <c:v>3.4921861968144001</c:v>
                </c:pt>
                <c:pt idx="4">
                  <c:v>3.6920339693781701</c:v>
                </c:pt>
                <c:pt idx="5">
                  <c:v>3.8917568571913499</c:v>
                </c:pt>
              </c:numCache>
            </c:numRef>
          </c:xVal>
          <c:yVal>
            <c:numRef>
              <c:f>PerformanceSummary!$O$132:$T$132</c:f>
              <c:numCache>
                <c:formatCode>General</c:formatCode>
                <c:ptCount val="6"/>
                <c:pt idx="0">
                  <c:v>0.39113146114133102</c:v>
                </c:pt>
                <c:pt idx="1">
                  <c:v>0.41290190166318302</c:v>
                </c:pt>
                <c:pt idx="2">
                  <c:v>0.58413918049136304</c:v>
                </c:pt>
                <c:pt idx="3">
                  <c:v>0.85998205832626096</c:v>
                </c:pt>
                <c:pt idx="4">
                  <c:v>1.22141435627026</c:v>
                </c:pt>
                <c:pt idx="5">
                  <c:v>1.7081800658442401</c:v>
                </c:pt>
              </c:numCache>
            </c:numRef>
          </c:yVal>
          <c:smooth val="1"/>
        </c:ser>
        <c:ser>
          <c:idx val="1"/>
          <c:order val="1"/>
          <c:tx>
            <c:v>no TE control</c:v>
          </c:tx>
          <c:marker>
            <c:symbol val="circle"/>
            <c:size val="7"/>
          </c:marker>
          <c:xVal>
            <c:numRef>
              <c:f>PerformanceSummary!$U$133:$Z$133</c:f>
              <c:numCache>
                <c:formatCode>General</c:formatCode>
                <c:ptCount val="6"/>
                <c:pt idx="0" formatCode="0.0">
                  <c:v>2.9927162938916099</c:v>
                </c:pt>
                <c:pt idx="1">
                  <c:v>3.0927162938916601</c:v>
                </c:pt>
                <c:pt idx="2">
                  <c:v>3.29271629389183</c:v>
                </c:pt>
                <c:pt idx="3">
                  <c:v>3.4927162938916099</c:v>
                </c:pt>
                <c:pt idx="4">
                  <c:v>3.6927162938915301</c:v>
                </c:pt>
                <c:pt idx="5">
                  <c:v>3.8927162938915698</c:v>
                </c:pt>
              </c:numCache>
            </c:numRef>
          </c:xVal>
          <c:yVal>
            <c:numRef>
              <c:f>PerformanceSummary!$U$132:$Z$132</c:f>
              <c:numCache>
                <c:formatCode>General</c:formatCode>
                <c:ptCount val="6"/>
                <c:pt idx="0">
                  <c:v>0.39113146114133102</c:v>
                </c:pt>
                <c:pt idx="1">
                  <c:v>0.83051926254147201</c:v>
                </c:pt>
                <c:pt idx="2">
                  <c:v>1.11656321117574</c:v>
                </c:pt>
                <c:pt idx="3">
                  <c:v>1.6383602504925301</c:v>
                </c:pt>
                <c:pt idx="4">
                  <c:v>2.3219402399820699</c:v>
                </c:pt>
                <c:pt idx="5">
                  <c:v>3.1682914852500401</c:v>
                </c:pt>
              </c:numCache>
            </c:numRef>
          </c:yVal>
          <c:smooth val="1"/>
        </c:ser>
        <c:dLbls>
          <c:showLegendKey val="0"/>
          <c:showVal val="0"/>
          <c:showCatName val="0"/>
          <c:showSerName val="0"/>
          <c:showPercent val="0"/>
          <c:showBubbleSize val="0"/>
        </c:dLbls>
        <c:axId val="134159744"/>
        <c:axId val="134161920"/>
      </c:scatterChart>
      <c:valAx>
        <c:axId val="134159744"/>
        <c:scaling>
          <c:orientation val="minMax"/>
          <c:max val="4.2"/>
          <c:min val="2.8"/>
        </c:scaling>
        <c:delete val="0"/>
        <c:axPos val="b"/>
        <c:majorGridlines>
          <c:spPr>
            <a:ln>
              <a:prstDash val="sysDot"/>
            </a:ln>
          </c:spPr>
        </c:majorGridlines>
        <c:title>
          <c:tx>
            <c:rich>
              <a:bodyPr/>
              <a:lstStyle/>
              <a:p>
                <a:pPr>
                  <a:defRPr/>
                </a:pPr>
                <a:r>
                  <a:rPr lang="en-GB"/>
                  <a:t>ES</a:t>
                </a:r>
                <a:r>
                  <a:rPr lang="en-GB" baseline="0"/>
                  <a:t>G ratings</a:t>
                </a:r>
                <a:endParaRPr lang="en-GB"/>
              </a:p>
            </c:rich>
          </c:tx>
          <c:overlay val="0"/>
        </c:title>
        <c:numFmt formatCode="#,##0.0" sourceLinked="0"/>
        <c:majorTickMark val="out"/>
        <c:minorTickMark val="none"/>
        <c:tickLblPos val="nextTo"/>
        <c:crossAx val="134161920"/>
        <c:crosses val="autoZero"/>
        <c:crossBetween val="midCat"/>
        <c:majorUnit val="0.2"/>
      </c:valAx>
      <c:valAx>
        <c:axId val="134161920"/>
        <c:scaling>
          <c:orientation val="minMax"/>
        </c:scaling>
        <c:delete val="0"/>
        <c:axPos val="l"/>
        <c:majorGridlines/>
        <c:title>
          <c:tx>
            <c:rich>
              <a:bodyPr rot="-5400000" vert="horz"/>
              <a:lstStyle/>
              <a:p>
                <a:pPr>
                  <a:defRPr/>
                </a:pPr>
                <a:r>
                  <a:rPr lang="en-GB"/>
                  <a:t>Tracking Error (% p.a.)</a:t>
                </a:r>
              </a:p>
            </c:rich>
          </c:tx>
          <c:layout>
            <c:manualLayout>
              <c:xMode val="edge"/>
              <c:yMode val="edge"/>
              <c:x val="2.5157232704402517E-2"/>
              <c:y val="0.29300844912038393"/>
            </c:manualLayout>
          </c:layout>
          <c:overlay val="0"/>
        </c:title>
        <c:numFmt formatCode="General" sourceLinked="1"/>
        <c:majorTickMark val="out"/>
        <c:minorTickMark val="none"/>
        <c:tickLblPos val="nextTo"/>
        <c:crossAx val="134159744"/>
        <c:crosses val="autoZero"/>
        <c:crossBetween val="midCat"/>
      </c:valAx>
    </c:plotArea>
    <c:legend>
      <c:legendPos val="b"/>
      <c:layout>
        <c:manualLayout>
          <c:xMode val="edge"/>
          <c:yMode val="edge"/>
          <c:x val="3.2972178622633616E-2"/>
          <c:y val="0.92193055555555559"/>
          <c:w val="0.91780294249234773"/>
          <c:h val="5.7993181818181819E-2"/>
        </c:manualLayout>
      </c:layout>
      <c:overlay val="0"/>
    </c:legend>
    <c:plotVisOnly val="1"/>
    <c:dispBlanksAs val="gap"/>
    <c:showDLblsOverMax val="0"/>
  </c:chart>
  <c:spPr>
    <a:ln>
      <a:noFill/>
    </a:ln>
  </c:sp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5526891656880298"/>
          <c:y val="7.4713375639572477E-2"/>
          <c:w val="0.79034813802308945"/>
          <c:h val="0.70848009795508915"/>
        </c:manualLayout>
      </c:layout>
      <c:scatterChart>
        <c:scatterStyle val="smoothMarker"/>
        <c:varyColors val="0"/>
        <c:ser>
          <c:idx val="0"/>
          <c:order val="0"/>
          <c:tx>
            <c:v>esg + carbon target index</c:v>
          </c:tx>
          <c:spPr>
            <a:ln>
              <a:solidFill>
                <a:srgbClr val="C00000"/>
              </a:solidFill>
            </a:ln>
          </c:spPr>
          <c:marker>
            <c:symbol val="circle"/>
            <c:size val="5"/>
            <c:spPr>
              <a:solidFill>
                <a:srgbClr val="C00000"/>
              </a:solidFill>
              <a:ln>
                <a:solidFill>
                  <a:srgbClr val="C00000"/>
                </a:solidFill>
              </a:ln>
            </c:spPr>
          </c:marker>
          <c:xVal>
            <c:numRef>
              <c:f>PerformanceSummary!$O$133:$T$133</c:f>
              <c:numCache>
                <c:formatCode>General</c:formatCode>
                <c:ptCount val="6"/>
                <c:pt idx="0" formatCode="0.0">
                  <c:v>2.9927162938916099</c:v>
                </c:pt>
                <c:pt idx="1">
                  <c:v>3.09236055791364</c:v>
                </c:pt>
                <c:pt idx="2">
                  <c:v>3.2921817583208299</c:v>
                </c:pt>
                <c:pt idx="3">
                  <c:v>3.4921861968144001</c:v>
                </c:pt>
                <c:pt idx="4">
                  <c:v>3.6920339693781701</c:v>
                </c:pt>
                <c:pt idx="5">
                  <c:v>3.8917568571913499</c:v>
                </c:pt>
              </c:numCache>
            </c:numRef>
          </c:xVal>
          <c:yVal>
            <c:numRef>
              <c:f>PerformanceSummary!$O$131:$T$131</c:f>
              <c:numCache>
                <c:formatCode>General</c:formatCode>
                <c:ptCount val="6"/>
                <c:pt idx="0">
                  <c:v>-3.7355700024710503E-2</c:v>
                </c:pt>
                <c:pt idx="1">
                  <c:v>-1.41601782578937E-2</c:v>
                </c:pt>
                <c:pt idx="2">
                  <c:v>5.8154324127390702E-2</c:v>
                </c:pt>
                <c:pt idx="3">
                  <c:v>0.18874944245395001</c:v>
                </c:pt>
                <c:pt idx="4">
                  <c:v>0.37461268108711598</c:v>
                </c:pt>
                <c:pt idx="5">
                  <c:v>0.66966206044933896</c:v>
                </c:pt>
              </c:numCache>
            </c:numRef>
          </c:yVal>
          <c:smooth val="1"/>
        </c:ser>
        <c:ser>
          <c:idx val="1"/>
          <c:order val="1"/>
          <c:tx>
            <c:v>no TE control</c:v>
          </c:tx>
          <c:spPr>
            <a:ln>
              <a:solidFill>
                <a:schemeClr val="accent2">
                  <a:lumMod val="40000"/>
                  <a:lumOff val="60000"/>
                </a:schemeClr>
              </a:solidFill>
            </a:ln>
          </c:spPr>
          <c:marker>
            <c:symbol val="circle"/>
            <c:size val="7"/>
            <c:spPr>
              <a:solidFill>
                <a:schemeClr val="accent2">
                  <a:lumMod val="20000"/>
                  <a:lumOff val="80000"/>
                </a:schemeClr>
              </a:solidFill>
              <a:ln>
                <a:solidFill>
                  <a:schemeClr val="accent2">
                    <a:lumMod val="40000"/>
                    <a:lumOff val="60000"/>
                  </a:schemeClr>
                </a:solidFill>
              </a:ln>
            </c:spPr>
          </c:marker>
          <c:xVal>
            <c:numRef>
              <c:f>PerformanceSummary!$U$133:$Z$133</c:f>
              <c:numCache>
                <c:formatCode>General</c:formatCode>
                <c:ptCount val="6"/>
                <c:pt idx="0" formatCode="0.0">
                  <c:v>2.9927162938916099</c:v>
                </c:pt>
                <c:pt idx="1">
                  <c:v>3.0927162938916601</c:v>
                </c:pt>
                <c:pt idx="2">
                  <c:v>3.29271629389183</c:v>
                </c:pt>
                <c:pt idx="3">
                  <c:v>3.4927162938916099</c:v>
                </c:pt>
                <c:pt idx="4">
                  <c:v>3.6927162938915301</c:v>
                </c:pt>
                <c:pt idx="5">
                  <c:v>3.8927162938915698</c:v>
                </c:pt>
              </c:numCache>
            </c:numRef>
          </c:xVal>
          <c:yVal>
            <c:numRef>
              <c:f>PerformanceSummary!$U$131:$Z$131</c:f>
              <c:numCache>
                <c:formatCode>General</c:formatCode>
                <c:ptCount val="6"/>
                <c:pt idx="0">
                  <c:v>-3.7355700024710503E-2</c:v>
                </c:pt>
                <c:pt idx="1">
                  <c:v>0.46156665714365303</c:v>
                </c:pt>
                <c:pt idx="2">
                  <c:v>0.26566628854003399</c:v>
                </c:pt>
                <c:pt idx="3">
                  <c:v>5.0929007429334497E-2</c:v>
                </c:pt>
                <c:pt idx="4">
                  <c:v>-0.16838406478044701</c:v>
                </c:pt>
                <c:pt idx="5">
                  <c:v>-0.37484715864172202</c:v>
                </c:pt>
              </c:numCache>
            </c:numRef>
          </c:yVal>
          <c:smooth val="1"/>
        </c:ser>
        <c:dLbls>
          <c:showLegendKey val="0"/>
          <c:showVal val="0"/>
          <c:showCatName val="0"/>
          <c:showSerName val="0"/>
          <c:showPercent val="0"/>
          <c:showBubbleSize val="0"/>
        </c:dLbls>
        <c:axId val="134182784"/>
        <c:axId val="134193536"/>
      </c:scatterChart>
      <c:valAx>
        <c:axId val="134182784"/>
        <c:scaling>
          <c:orientation val="minMax"/>
          <c:max val="4.2"/>
          <c:min val="2.8"/>
        </c:scaling>
        <c:delete val="0"/>
        <c:axPos val="b"/>
        <c:majorGridlines>
          <c:spPr>
            <a:ln>
              <a:prstDash val="sysDot"/>
            </a:ln>
          </c:spPr>
        </c:majorGridlines>
        <c:title>
          <c:tx>
            <c:rich>
              <a:bodyPr/>
              <a:lstStyle/>
              <a:p>
                <a:pPr>
                  <a:defRPr/>
                </a:pPr>
                <a:r>
                  <a:rPr lang="en-GB"/>
                  <a:t>ESG</a:t>
                </a:r>
                <a:r>
                  <a:rPr lang="en-GB" baseline="0"/>
                  <a:t> ratings</a:t>
                </a:r>
                <a:endParaRPr lang="en-GB"/>
              </a:p>
            </c:rich>
          </c:tx>
          <c:overlay val="0"/>
        </c:title>
        <c:numFmt formatCode="#,##0.0" sourceLinked="0"/>
        <c:majorTickMark val="out"/>
        <c:minorTickMark val="none"/>
        <c:tickLblPos val="low"/>
        <c:crossAx val="134193536"/>
        <c:crossesAt val="2.8"/>
        <c:crossBetween val="midCat"/>
        <c:majorUnit val="0.2"/>
      </c:valAx>
      <c:valAx>
        <c:axId val="134193536"/>
        <c:scaling>
          <c:orientation val="minMax"/>
        </c:scaling>
        <c:delete val="0"/>
        <c:axPos val="l"/>
        <c:majorGridlines/>
        <c:title>
          <c:tx>
            <c:rich>
              <a:bodyPr rot="-5400000" vert="horz"/>
              <a:lstStyle/>
              <a:p>
                <a:pPr>
                  <a:defRPr/>
                </a:pPr>
                <a:r>
                  <a:rPr lang="en-GB"/>
                  <a:t>Excess</a:t>
                </a:r>
                <a:r>
                  <a:rPr lang="en-GB" baseline="0"/>
                  <a:t> Returns (% p.a.)</a:t>
                </a:r>
                <a:endParaRPr lang="en-GB"/>
              </a:p>
            </c:rich>
          </c:tx>
          <c:layout>
            <c:manualLayout>
              <c:xMode val="edge"/>
              <c:yMode val="edge"/>
              <c:x val="2.5157232704402517E-2"/>
              <c:y val="0.29300844912038393"/>
            </c:manualLayout>
          </c:layout>
          <c:overlay val="0"/>
        </c:title>
        <c:numFmt formatCode="General" sourceLinked="1"/>
        <c:majorTickMark val="out"/>
        <c:minorTickMark val="none"/>
        <c:tickLblPos val="nextTo"/>
        <c:crossAx val="134182784"/>
        <c:crossesAt val="-0.8"/>
        <c:crossBetween val="midCat"/>
      </c:valAx>
    </c:plotArea>
    <c:legend>
      <c:legendPos val="b"/>
      <c:layout>
        <c:manualLayout>
          <c:xMode val="edge"/>
          <c:yMode val="edge"/>
          <c:x val="4.6879078990431824E-2"/>
          <c:y val="0.92193055555555559"/>
          <c:w val="0.87350210808001083"/>
          <c:h val="5.7993181818181819E-2"/>
        </c:manualLayout>
      </c:layout>
      <c:overlay val="0"/>
    </c:legend>
    <c:plotVisOnly val="1"/>
    <c:dispBlanksAs val="gap"/>
    <c:showDLblsOverMax val="0"/>
  </c:chart>
  <c:spPr>
    <a:ln>
      <a:noFill/>
    </a:ln>
  </c:sp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23268704178963"/>
          <c:y val="4.7152467684070935E-2"/>
          <c:w val="0.75968965477084915"/>
          <c:h val="0.79859434034539656"/>
        </c:manualLayout>
      </c:layout>
      <c:barChart>
        <c:barDir val="col"/>
        <c:grouping val="clustered"/>
        <c:varyColors val="0"/>
        <c:ser>
          <c:idx val="1"/>
          <c:order val="0"/>
          <c:tx>
            <c:v>Dividend Yield</c:v>
          </c:tx>
          <c:spPr>
            <a:solidFill>
              <a:schemeClr val="accent1">
                <a:lumMod val="50000"/>
              </a:schemeClr>
            </a:solidFill>
          </c:spPr>
          <c:invertIfNegative val="0"/>
          <c:dPt>
            <c:idx val="0"/>
            <c:invertIfNegative val="0"/>
            <c:bubble3D val="0"/>
            <c:spPr>
              <a:solidFill>
                <a:schemeClr val="bg1">
                  <a:lumMod val="50000"/>
                </a:schemeClr>
              </a:solidFill>
            </c:spPr>
          </c:dPt>
          <c:dPt>
            <c:idx val="1"/>
            <c:invertIfNegative val="0"/>
            <c:bubble3D val="0"/>
            <c:spPr>
              <a:solidFill>
                <a:srgbClr val="0070C0"/>
              </a:solidFill>
            </c:spPr>
          </c:dPt>
          <c:dPt>
            <c:idx val="2"/>
            <c:invertIfNegative val="0"/>
            <c:bubble3D val="0"/>
            <c:spPr>
              <a:solidFill>
                <a:srgbClr val="C00000"/>
              </a:solidFill>
            </c:spPr>
          </c:dPt>
          <c:cat>
            <c:strRef>
              <c:f>(Size!$D$9,Size!$D$12:$D$13)</c:f>
              <c:strCache>
                <c:ptCount val="3"/>
                <c:pt idx="0">
                  <c:v>FTSE Developed</c:v>
                </c:pt>
                <c:pt idx="1">
                  <c:v>Pure DY </c:v>
                </c:pt>
                <c:pt idx="2">
                  <c:v>Green Pure DY</c:v>
                </c:pt>
              </c:strCache>
            </c:strRef>
          </c:cat>
          <c:val>
            <c:numRef>
              <c:f>Size!$K$35:$K$37</c:f>
              <c:numCache>
                <c:formatCode>General</c:formatCode>
                <c:ptCount val="3"/>
                <c:pt idx="0">
                  <c:v>2.37</c:v>
                </c:pt>
                <c:pt idx="1">
                  <c:v>3.79</c:v>
                </c:pt>
                <c:pt idx="2">
                  <c:v>3.81</c:v>
                </c:pt>
              </c:numCache>
            </c:numRef>
          </c:val>
        </c:ser>
        <c:dLbls>
          <c:showLegendKey val="0"/>
          <c:showVal val="0"/>
          <c:showCatName val="0"/>
          <c:showSerName val="0"/>
          <c:showPercent val="0"/>
          <c:showBubbleSize val="0"/>
        </c:dLbls>
        <c:gapWidth val="150"/>
        <c:axId val="144809984"/>
        <c:axId val="144811520"/>
      </c:barChart>
      <c:barChart>
        <c:barDir val="col"/>
        <c:grouping val="clustered"/>
        <c:varyColors val="0"/>
        <c:ser>
          <c:idx val="0"/>
          <c:order val="1"/>
          <c:tx>
            <c:v>CO2e</c:v>
          </c:tx>
          <c:spPr>
            <a:solidFill>
              <a:srgbClr val="C00000"/>
            </a:solidFill>
            <a:ln w="25400">
              <a:noFill/>
            </a:ln>
          </c:spPr>
          <c:invertIfNegative val="0"/>
          <c:dPt>
            <c:idx val="0"/>
            <c:invertIfNegative val="0"/>
            <c:bubble3D val="0"/>
            <c:spPr>
              <a:solidFill>
                <a:schemeClr val="bg1">
                  <a:lumMod val="50000"/>
                </a:schemeClr>
              </a:solidFill>
              <a:ln w="25400">
                <a:noFill/>
              </a:ln>
            </c:spPr>
          </c:dPt>
          <c:dPt>
            <c:idx val="1"/>
            <c:invertIfNegative val="0"/>
            <c:bubble3D val="0"/>
            <c:spPr>
              <a:solidFill>
                <a:srgbClr val="0070C0"/>
              </a:solidFill>
              <a:ln w="25400">
                <a:noFill/>
              </a:ln>
            </c:spPr>
          </c:dPt>
          <c:val>
            <c:numRef>
              <c:f>Size!$J$35:$J$37</c:f>
              <c:numCache>
                <c:formatCode>General</c:formatCode>
                <c:ptCount val="3"/>
                <c:pt idx="0">
                  <c:v>192.593110692495</c:v>
                </c:pt>
                <c:pt idx="1">
                  <c:v>251.44522004055901</c:v>
                </c:pt>
                <c:pt idx="2">
                  <c:v>160</c:v>
                </c:pt>
              </c:numCache>
            </c:numRef>
          </c:val>
        </c:ser>
        <c:dLbls>
          <c:showLegendKey val="0"/>
          <c:showVal val="0"/>
          <c:showCatName val="0"/>
          <c:showSerName val="0"/>
          <c:showPercent val="0"/>
          <c:showBubbleSize val="0"/>
        </c:dLbls>
        <c:gapWidth val="150"/>
        <c:axId val="144815616"/>
        <c:axId val="144813440"/>
      </c:barChart>
      <c:catAx>
        <c:axId val="144809984"/>
        <c:scaling>
          <c:orientation val="minMax"/>
        </c:scaling>
        <c:delete val="0"/>
        <c:axPos val="b"/>
        <c:majorTickMark val="none"/>
        <c:minorTickMark val="none"/>
        <c:tickLblPos val="nextTo"/>
        <c:spPr>
          <a:ln>
            <a:solidFill>
              <a:schemeClr val="bg1">
                <a:lumMod val="50000"/>
              </a:schemeClr>
            </a:solidFill>
          </a:ln>
        </c:spPr>
        <c:txPr>
          <a:bodyPr/>
          <a:lstStyle/>
          <a:p>
            <a:pPr>
              <a:defRPr b="1"/>
            </a:pPr>
            <a:endParaRPr lang="en-US"/>
          </a:p>
        </c:txPr>
        <c:crossAx val="144811520"/>
        <c:crosses val="autoZero"/>
        <c:auto val="1"/>
        <c:lblAlgn val="ctr"/>
        <c:lblOffset val="100"/>
        <c:noMultiLvlLbl val="0"/>
      </c:catAx>
      <c:valAx>
        <c:axId val="144811520"/>
        <c:scaling>
          <c:orientation val="minMax"/>
          <c:max val="10"/>
        </c:scaling>
        <c:delete val="0"/>
        <c:axPos val="l"/>
        <c:majorGridlines>
          <c:spPr>
            <a:ln>
              <a:solidFill>
                <a:schemeClr val="bg1">
                  <a:lumMod val="65000"/>
                </a:schemeClr>
              </a:solidFill>
              <a:prstDash val="sysDot"/>
            </a:ln>
          </c:spPr>
        </c:majorGridlines>
        <c:title>
          <c:tx>
            <c:rich>
              <a:bodyPr rot="-5400000" vert="horz"/>
              <a:lstStyle/>
              <a:p>
                <a:pPr>
                  <a:defRPr>
                    <a:solidFill>
                      <a:schemeClr val="accent1">
                        <a:lumMod val="50000"/>
                      </a:schemeClr>
                    </a:solidFill>
                  </a:defRPr>
                </a:pPr>
                <a:r>
                  <a:rPr lang="en-GB">
                    <a:solidFill>
                      <a:schemeClr val="accent1">
                        <a:lumMod val="50000"/>
                      </a:schemeClr>
                    </a:solidFill>
                  </a:rPr>
                  <a:t>Trailing DY %</a:t>
                </a:r>
              </a:p>
            </c:rich>
          </c:tx>
          <c:layout>
            <c:manualLayout>
              <c:xMode val="edge"/>
              <c:yMode val="edge"/>
              <c:x val="1.5299613413705161E-2"/>
              <c:y val="0.60322865742811571"/>
            </c:manualLayout>
          </c:layout>
          <c:overlay val="0"/>
        </c:title>
        <c:numFmt formatCode="[&lt;=5]0;;;@" sourceLinked="0"/>
        <c:majorTickMark val="none"/>
        <c:minorTickMark val="none"/>
        <c:tickLblPos val="nextTo"/>
        <c:spPr>
          <a:ln>
            <a:noFill/>
          </a:ln>
        </c:spPr>
        <c:txPr>
          <a:bodyPr/>
          <a:lstStyle/>
          <a:p>
            <a:pPr>
              <a:defRPr>
                <a:solidFill>
                  <a:schemeClr val="accent1">
                    <a:lumMod val="50000"/>
                  </a:schemeClr>
                </a:solidFill>
              </a:defRPr>
            </a:pPr>
            <a:endParaRPr lang="en-US"/>
          </a:p>
        </c:txPr>
        <c:crossAx val="144809984"/>
        <c:crosses val="autoZero"/>
        <c:crossBetween val="between"/>
        <c:majorUnit val="1"/>
      </c:valAx>
      <c:valAx>
        <c:axId val="144813440"/>
        <c:scaling>
          <c:orientation val="minMax"/>
          <c:max val="300"/>
          <c:min val="-300"/>
        </c:scaling>
        <c:delete val="0"/>
        <c:axPos val="r"/>
        <c:title>
          <c:tx>
            <c:rich>
              <a:bodyPr rot="-5400000" vert="horz"/>
              <a:lstStyle/>
              <a:p>
                <a:pPr>
                  <a:defRPr>
                    <a:solidFill>
                      <a:schemeClr val="tx1"/>
                    </a:solidFill>
                  </a:defRPr>
                </a:pPr>
                <a:r>
                  <a:rPr lang="en-GB">
                    <a:solidFill>
                      <a:schemeClr val="tx1"/>
                    </a:solidFill>
                  </a:rPr>
                  <a:t>Metric</a:t>
                </a:r>
                <a:r>
                  <a:rPr lang="en-GB" baseline="0">
                    <a:solidFill>
                      <a:schemeClr val="tx1"/>
                    </a:solidFill>
                  </a:rPr>
                  <a:t> Tons CO2e/ 1M Rev.</a:t>
                </a:r>
                <a:endParaRPr lang="en-GB">
                  <a:solidFill>
                    <a:schemeClr val="tx1"/>
                  </a:solidFill>
                </a:endParaRPr>
              </a:p>
            </c:rich>
          </c:tx>
          <c:layout>
            <c:manualLayout>
              <c:xMode val="edge"/>
              <c:yMode val="edge"/>
              <c:x val="0.94082864473133121"/>
              <c:y val="4.4404438864256913E-2"/>
            </c:manualLayout>
          </c:layout>
          <c:overlay val="0"/>
        </c:title>
        <c:numFmt formatCode="0;;0;@" sourceLinked="0"/>
        <c:majorTickMark val="none"/>
        <c:minorTickMark val="none"/>
        <c:tickLblPos val="nextTo"/>
        <c:spPr>
          <a:ln>
            <a:noFill/>
          </a:ln>
        </c:spPr>
        <c:txPr>
          <a:bodyPr/>
          <a:lstStyle/>
          <a:p>
            <a:pPr>
              <a:defRPr>
                <a:solidFill>
                  <a:schemeClr val="tx1"/>
                </a:solidFill>
              </a:defRPr>
            </a:pPr>
            <a:endParaRPr lang="en-US"/>
          </a:p>
        </c:txPr>
        <c:crossAx val="144815616"/>
        <c:crosses val="max"/>
        <c:crossBetween val="between"/>
        <c:majorUnit val="50"/>
      </c:valAx>
      <c:catAx>
        <c:axId val="144815616"/>
        <c:scaling>
          <c:orientation val="minMax"/>
        </c:scaling>
        <c:delete val="0"/>
        <c:axPos val="b"/>
        <c:majorTickMark val="none"/>
        <c:minorTickMark val="none"/>
        <c:tickLblPos val="none"/>
        <c:spPr>
          <a:ln>
            <a:solidFill>
              <a:schemeClr val="bg1">
                <a:lumMod val="50000"/>
              </a:schemeClr>
            </a:solidFill>
          </a:ln>
        </c:spPr>
        <c:crossAx val="144813440"/>
        <c:crossesAt val="0"/>
        <c:auto val="1"/>
        <c:lblAlgn val="ctr"/>
        <c:lblOffset val="100"/>
        <c:noMultiLvlLbl val="0"/>
      </c:catAx>
      <c:spPr>
        <a:noFill/>
        <a:ln w="25400">
          <a:noFill/>
        </a:ln>
      </c:spPr>
    </c:plotArea>
    <c:plotVisOnly val="1"/>
    <c:dispBlanksAs val="gap"/>
    <c:showDLblsOverMax val="0"/>
  </c:chart>
  <c:spPr>
    <a:ln>
      <a:noFill/>
    </a:ln>
  </c:sp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6702903816296789"/>
          <c:y val="2.925199480325481E-2"/>
          <c:w val="0.57735888914037037"/>
          <c:h val="0.83223909647918848"/>
        </c:manualLayout>
      </c:layout>
      <c:barChart>
        <c:barDir val="bar"/>
        <c:grouping val="clustered"/>
        <c:varyColors val="0"/>
        <c:ser>
          <c:idx val="0"/>
          <c:order val="0"/>
          <c:tx>
            <c:strRef>
              <c:f>Sheet1!$I$19</c:f>
              <c:strCache>
                <c:ptCount val="1"/>
                <c:pt idx="0">
                  <c:v>EM</c:v>
                </c:pt>
              </c:strCache>
            </c:strRef>
          </c:tx>
          <c:invertIfNegative val="0"/>
          <c:cat>
            <c:strRef>
              <c:f>Sheet1!$G$20:$G$27</c:f>
              <c:strCache>
                <c:ptCount val="8"/>
                <c:pt idx="0">
                  <c:v>Low Volatility</c:v>
                </c:pt>
                <c:pt idx="1">
                  <c:v>Debt to Equtiy</c:v>
                </c:pt>
                <c:pt idx="2">
                  <c:v>ROE</c:v>
                </c:pt>
                <c:pt idx="3">
                  <c:v>Momentum</c:v>
                </c:pt>
                <c:pt idx="4">
                  <c:v>Size (Small Caps)</c:v>
                </c:pt>
                <c:pt idx="5">
                  <c:v>Dividend Yield</c:v>
                </c:pt>
                <c:pt idx="6">
                  <c:v>Book to Price</c:v>
                </c:pt>
                <c:pt idx="7">
                  <c:v>Earnings Yield</c:v>
                </c:pt>
              </c:strCache>
            </c:strRef>
          </c:cat>
          <c:val>
            <c:numRef>
              <c:f>Sheet1!$I$20:$I$27</c:f>
              <c:numCache>
                <c:formatCode>0%</c:formatCode>
                <c:ptCount val="8"/>
                <c:pt idx="0">
                  <c:v>6.9621294584349097E-2</c:v>
                </c:pt>
                <c:pt idx="1">
                  <c:v>-2.1427482196872499E-2</c:v>
                </c:pt>
                <c:pt idx="2">
                  <c:v>2.7962028734529E-2</c:v>
                </c:pt>
                <c:pt idx="3">
                  <c:v>6.8434663508017801E-2</c:v>
                </c:pt>
                <c:pt idx="4">
                  <c:v>-0.34565022016574598</c:v>
                </c:pt>
                <c:pt idx="5">
                  <c:v>0.174855417796483</c:v>
                </c:pt>
                <c:pt idx="6">
                  <c:v>-0.21923053647427601</c:v>
                </c:pt>
                <c:pt idx="7">
                  <c:v>-0.121660397815632</c:v>
                </c:pt>
              </c:numCache>
            </c:numRef>
          </c:val>
        </c:ser>
        <c:ser>
          <c:idx val="1"/>
          <c:order val="1"/>
          <c:tx>
            <c:strRef>
              <c:f>Sheet1!$K$18:$K$24</c:f>
              <c:strCache>
                <c:ptCount val="1"/>
                <c:pt idx="0">
                  <c:v>Earnings Yield Book to Price Dividend Yield Size (Small Caps) Momentum ROE Debt to Equtiy</c:v>
                </c:pt>
              </c:strCache>
            </c:strRef>
          </c:tx>
          <c:invertIfNegative val="0"/>
          <c:cat>
            <c:strRef>
              <c:f>Sheet1!$G$20:$G$27</c:f>
              <c:strCache>
                <c:ptCount val="8"/>
                <c:pt idx="0">
                  <c:v>Low Volatility</c:v>
                </c:pt>
                <c:pt idx="1">
                  <c:v>Debt to Equtiy</c:v>
                </c:pt>
                <c:pt idx="2">
                  <c:v>ROE</c:v>
                </c:pt>
                <c:pt idx="3">
                  <c:v>Momentum</c:v>
                </c:pt>
                <c:pt idx="4">
                  <c:v>Size (Small Caps)</c:v>
                </c:pt>
                <c:pt idx="5">
                  <c:v>Dividend Yield</c:v>
                </c:pt>
                <c:pt idx="6">
                  <c:v>Book to Price</c:v>
                </c:pt>
                <c:pt idx="7">
                  <c:v>Earnings Yield</c:v>
                </c:pt>
              </c:strCache>
            </c:strRef>
          </c:cat>
          <c:val>
            <c:numRef>
              <c:f>Sheet1!$K$25</c:f>
              <c:numCache>
                <c:formatCode>General</c:formatCode>
                <c:ptCount val="1"/>
                <c:pt idx="0">
                  <c:v>0</c:v>
                </c:pt>
              </c:numCache>
            </c:numRef>
          </c:val>
        </c:ser>
        <c:ser>
          <c:idx val="2"/>
          <c:order val="2"/>
          <c:tx>
            <c:strRef>
              <c:f>Sheet1!$K$18:$K$24</c:f>
              <c:strCache>
                <c:ptCount val="1"/>
                <c:pt idx="0">
                  <c:v>Earnings Yield Book to Price Dividend Yield Size (Small Caps) Momentum ROE Debt to Equtiy</c:v>
                </c:pt>
              </c:strCache>
            </c:strRef>
          </c:tx>
          <c:invertIfNegative val="0"/>
          <c:cat>
            <c:strRef>
              <c:f>Sheet1!$G$20:$G$27</c:f>
              <c:strCache>
                <c:ptCount val="8"/>
                <c:pt idx="0">
                  <c:v>Low Volatility</c:v>
                </c:pt>
                <c:pt idx="1">
                  <c:v>Debt to Equtiy</c:v>
                </c:pt>
                <c:pt idx="2">
                  <c:v>ROE</c:v>
                </c:pt>
                <c:pt idx="3">
                  <c:v>Momentum</c:v>
                </c:pt>
                <c:pt idx="4">
                  <c:v>Size (Small Caps)</c:v>
                </c:pt>
                <c:pt idx="5">
                  <c:v>Dividend Yield</c:v>
                </c:pt>
                <c:pt idx="6">
                  <c:v>Book to Price</c:v>
                </c:pt>
                <c:pt idx="7">
                  <c:v>Earnings Yield</c:v>
                </c:pt>
              </c:strCache>
            </c:strRef>
          </c:cat>
          <c:val>
            <c:numRef>
              <c:f>Sheet1!$K$25</c:f>
              <c:numCache>
                <c:formatCode>General</c:formatCode>
                <c:ptCount val="1"/>
                <c:pt idx="0">
                  <c:v>0</c:v>
                </c:pt>
              </c:numCache>
            </c:numRef>
          </c:val>
        </c:ser>
        <c:dLbls>
          <c:showLegendKey val="0"/>
          <c:showVal val="0"/>
          <c:showCatName val="0"/>
          <c:showSerName val="0"/>
          <c:showPercent val="0"/>
          <c:showBubbleSize val="0"/>
        </c:dLbls>
        <c:gapWidth val="150"/>
        <c:axId val="131876352"/>
        <c:axId val="131877888"/>
      </c:barChart>
      <c:catAx>
        <c:axId val="131876352"/>
        <c:scaling>
          <c:orientation val="minMax"/>
        </c:scaling>
        <c:delete val="1"/>
        <c:axPos val="l"/>
        <c:majorTickMark val="out"/>
        <c:minorTickMark val="none"/>
        <c:tickLblPos val="nextTo"/>
        <c:crossAx val="131877888"/>
        <c:crosses val="autoZero"/>
        <c:auto val="1"/>
        <c:lblAlgn val="ctr"/>
        <c:lblOffset val="100"/>
        <c:noMultiLvlLbl val="0"/>
      </c:catAx>
      <c:valAx>
        <c:axId val="131877888"/>
        <c:scaling>
          <c:orientation val="minMax"/>
          <c:max val="0.4"/>
          <c:min val="-0.60000000000000009"/>
        </c:scaling>
        <c:delete val="0"/>
        <c:axPos val="b"/>
        <c:majorGridlines/>
        <c:numFmt formatCode="0%" sourceLinked="1"/>
        <c:majorTickMark val="out"/>
        <c:minorTickMark val="none"/>
        <c:tickLblPos val="nextTo"/>
        <c:crossAx val="131876352"/>
        <c:crosses val="autoZero"/>
        <c:crossBetween val="between"/>
        <c:majorUnit val="0.2"/>
      </c:valAx>
    </c:plotArea>
    <c:plotVisOnly val="1"/>
    <c:dispBlanksAs val="gap"/>
    <c:showDLblsOverMax val="0"/>
  </c:chart>
  <c:externalData r:id="rId1">
    <c:autoUpdate val="0"/>
  </c:externalData>
  <c:userShapes r:id="rId2"/>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smoothMarker"/>
        <c:varyColors val="0"/>
        <c:ser>
          <c:idx val="0"/>
          <c:order val="0"/>
          <c:tx>
            <c:v>Size Portfolio</c:v>
          </c:tx>
          <c:spPr>
            <a:ln>
              <a:solidFill>
                <a:schemeClr val="bg1">
                  <a:lumMod val="50000"/>
                </a:schemeClr>
              </a:solidFill>
            </a:ln>
          </c:spPr>
          <c:marker>
            <c:symbol val="none"/>
          </c:marker>
          <c:xVal>
            <c:numRef>
              <c:f>FACTOR!$J$18:$J$25</c:f>
              <c:numCache>
                <c:formatCode>0.00</c:formatCode>
                <c:ptCount val="8"/>
                <c:pt idx="0">
                  <c:v>-1.4130111222502E-16</c:v>
                </c:pt>
                <c:pt idx="1">
                  <c:v>0.38035171304544202</c:v>
                </c:pt>
                <c:pt idx="2">
                  <c:v>0.68409979213788097</c:v>
                </c:pt>
                <c:pt idx="3">
                  <c:v>0.91390844148804395</c:v>
                </c:pt>
                <c:pt idx="4">
                  <c:v>1.0885702640333299</c:v>
                </c:pt>
                <c:pt idx="5">
                  <c:v>1.2255290115559201</c:v>
                </c:pt>
                <c:pt idx="6">
                  <c:v>1.4716198623399399</c:v>
                </c:pt>
                <c:pt idx="7">
                  <c:v>1.64306319970284</c:v>
                </c:pt>
              </c:numCache>
            </c:numRef>
          </c:xVal>
          <c:yVal>
            <c:numRef>
              <c:f>FACTOR!$Q$18:$Q$25</c:f>
              <c:numCache>
                <c:formatCode>General</c:formatCode>
                <c:ptCount val="8"/>
                <c:pt idx="0" formatCode="0.00E+00">
                  <c:v>4.4408920985006301E-15</c:v>
                </c:pt>
                <c:pt idx="1">
                  <c:v>-8.1970503933122593E-2</c:v>
                </c:pt>
                <c:pt idx="2">
                  <c:v>-0.15605955115743</c:v>
                </c:pt>
                <c:pt idx="3">
                  <c:v>-0.21989302149307399</c:v>
                </c:pt>
                <c:pt idx="4">
                  <c:v>-0.274973502836933</c:v>
                </c:pt>
                <c:pt idx="5">
                  <c:v>-0.32347573196120499</c:v>
                </c:pt>
                <c:pt idx="6">
                  <c:v>-0.42594333119305899</c:v>
                </c:pt>
                <c:pt idx="7">
                  <c:v>-0.51169381320459095</c:v>
                </c:pt>
              </c:numCache>
            </c:numRef>
          </c:yVal>
          <c:smooth val="1"/>
        </c:ser>
        <c:ser>
          <c:idx val="1"/>
          <c:order val="1"/>
          <c:tx>
            <c:v>Pure Size Portfolio</c:v>
          </c:tx>
          <c:spPr>
            <a:ln>
              <a:solidFill>
                <a:schemeClr val="accent1">
                  <a:lumMod val="50000"/>
                </a:schemeClr>
              </a:solidFill>
            </a:ln>
          </c:spPr>
          <c:marker>
            <c:symbol val="none"/>
          </c:marker>
          <c:xVal>
            <c:numRef>
              <c:f>'PURE FACTOR'!$J$14:$J$19</c:f>
              <c:numCache>
                <c:formatCode>0.00</c:formatCode>
                <c:ptCount val="6"/>
                <c:pt idx="0">
                  <c:v>6.0557619525008497E-17</c:v>
                </c:pt>
                <c:pt idx="1">
                  <c:v>0.200000048673935</c:v>
                </c:pt>
                <c:pt idx="2">
                  <c:v>0.399999998955956</c:v>
                </c:pt>
                <c:pt idx="3">
                  <c:v>0.60000000120819097</c:v>
                </c:pt>
                <c:pt idx="4">
                  <c:v>0.80000000212929101</c:v>
                </c:pt>
                <c:pt idx="5">
                  <c:v>0.99999996112411405</c:v>
                </c:pt>
              </c:numCache>
            </c:numRef>
          </c:xVal>
          <c:yVal>
            <c:numRef>
              <c:f>'PURE FACTOR'!$Q$14:$Q$19</c:f>
              <c:numCache>
                <c:formatCode>General</c:formatCode>
                <c:ptCount val="6"/>
                <c:pt idx="0" formatCode="0.00E+00">
                  <c:v>3.5527136788005001E-15</c:v>
                </c:pt>
                <c:pt idx="1">
                  <c:v>-3.1982692468124803E-2</c:v>
                </c:pt>
                <c:pt idx="2">
                  <c:v>-6.4905528463825399E-2</c:v>
                </c:pt>
                <c:pt idx="3">
                  <c:v>-9.9703108619939501E-2</c:v>
                </c:pt>
                <c:pt idx="4">
                  <c:v>-0.137906718494374</c:v>
                </c:pt>
                <c:pt idx="5">
                  <c:v>-0.181620793102406</c:v>
                </c:pt>
              </c:numCache>
            </c:numRef>
          </c:yVal>
          <c:smooth val="1"/>
        </c:ser>
        <c:ser>
          <c:idx val="2"/>
          <c:order val="2"/>
          <c:tx>
            <c:v>Pure Size and CG neutral</c:v>
          </c:tx>
          <c:spPr>
            <a:ln w="38100">
              <a:solidFill>
                <a:srgbClr val="C00000"/>
              </a:solidFill>
            </a:ln>
          </c:spPr>
          <c:marker>
            <c:symbol val="none"/>
          </c:marker>
          <c:dPt>
            <c:idx val="5"/>
            <c:bubble3D val="0"/>
            <c:spPr>
              <a:ln w="38100" cmpd="sng">
                <a:solidFill>
                  <a:srgbClr val="C00000"/>
                </a:solidFill>
              </a:ln>
            </c:spPr>
          </c:dPt>
          <c:xVal>
            <c:numRef>
              <c:f>'PURE FACTOR'!$J$38:$J$43</c:f>
              <c:numCache>
                <c:formatCode>0.00</c:formatCode>
                <c:ptCount val="6"/>
                <c:pt idx="0">
                  <c:v>-1.6653345369377299E-16</c:v>
                </c:pt>
                <c:pt idx="1">
                  <c:v>0.20000004664264401</c:v>
                </c:pt>
                <c:pt idx="2">
                  <c:v>0.40000002211003499</c:v>
                </c:pt>
                <c:pt idx="3">
                  <c:v>0.60000000027196698</c:v>
                </c:pt>
                <c:pt idx="4">
                  <c:v>0.800000002728528</c:v>
                </c:pt>
                <c:pt idx="5">
                  <c:v>0.99999984894776905</c:v>
                </c:pt>
              </c:numCache>
            </c:numRef>
          </c:xVal>
          <c:yVal>
            <c:numRef>
              <c:f>'PURE FACTOR'!$Q$38:$Q$43</c:f>
              <c:numCache>
                <c:formatCode>General</c:formatCode>
                <c:ptCount val="6"/>
                <c:pt idx="0" formatCode="0.00E+00">
                  <c:v>5.3290705182007498E-15</c:v>
                </c:pt>
                <c:pt idx="1">
                  <c:v>-2.9228935605196699E-8</c:v>
                </c:pt>
                <c:pt idx="2">
                  <c:v>-1.9766807080046101E-8</c:v>
                </c:pt>
                <c:pt idx="3">
                  <c:v>-2.15381379398139E-10</c:v>
                </c:pt>
                <c:pt idx="4">
                  <c:v>1.4390175717693399E-9</c:v>
                </c:pt>
                <c:pt idx="5">
                  <c:v>2.0261309852109799E-8</c:v>
                </c:pt>
              </c:numCache>
            </c:numRef>
          </c:yVal>
          <c:smooth val="1"/>
        </c:ser>
        <c:dLbls>
          <c:showLegendKey val="0"/>
          <c:showVal val="0"/>
          <c:showCatName val="0"/>
          <c:showSerName val="0"/>
          <c:showPercent val="0"/>
          <c:showBubbleSize val="0"/>
        </c:dLbls>
        <c:axId val="144540032"/>
        <c:axId val="144541952"/>
      </c:scatterChart>
      <c:valAx>
        <c:axId val="144540032"/>
        <c:scaling>
          <c:orientation val="minMax"/>
          <c:max val="1"/>
          <c:min val="0"/>
        </c:scaling>
        <c:delete val="0"/>
        <c:axPos val="b"/>
        <c:majorGridlines/>
        <c:title>
          <c:tx>
            <c:rich>
              <a:bodyPr/>
              <a:lstStyle/>
              <a:p>
                <a:pPr>
                  <a:defRPr/>
                </a:pPr>
                <a:r>
                  <a:rPr lang="en-GB"/>
                  <a:t>Active Size Exposure</a:t>
                </a:r>
              </a:p>
            </c:rich>
          </c:tx>
          <c:overlay val="0"/>
        </c:title>
        <c:numFmt formatCode="#,##0.0" sourceLinked="0"/>
        <c:majorTickMark val="out"/>
        <c:minorTickMark val="none"/>
        <c:tickLblPos val="low"/>
        <c:crossAx val="144541952"/>
        <c:crossesAt val="0"/>
        <c:crossBetween val="midCat"/>
      </c:valAx>
      <c:valAx>
        <c:axId val="144541952"/>
        <c:scaling>
          <c:orientation val="minMax"/>
          <c:max val="0.4"/>
          <c:min val="-0.60000000000000009"/>
        </c:scaling>
        <c:delete val="0"/>
        <c:axPos val="l"/>
        <c:majorGridlines/>
        <c:title>
          <c:tx>
            <c:rich>
              <a:bodyPr rot="-5400000" vert="horz"/>
              <a:lstStyle/>
              <a:p>
                <a:pPr>
                  <a:defRPr/>
                </a:pPr>
                <a:r>
                  <a:rPr lang="en-GB" dirty="0" smtClean="0"/>
                  <a:t>Average</a:t>
                </a:r>
                <a:r>
                  <a:rPr lang="en-GB" baseline="0" dirty="0" smtClean="0"/>
                  <a:t> Rating Relative to FTSE Developed</a:t>
                </a:r>
                <a:endParaRPr lang="en-GB" dirty="0"/>
              </a:p>
            </c:rich>
          </c:tx>
          <c:overlay val="0"/>
        </c:title>
        <c:numFmt formatCode="#,##0.0" sourceLinked="0"/>
        <c:majorTickMark val="out"/>
        <c:minorTickMark val="none"/>
        <c:tickLblPos val="low"/>
        <c:crossAx val="144540032"/>
        <c:crosses val="autoZero"/>
        <c:crossBetween val="midCat"/>
        <c:majorUnit val="0.2"/>
      </c:valAx>
    </c:plotArea>
    <c:legend>
      <c:legendPos val="b"/>
      <c:overlay val="0"/>
    </c:legend>
    <c:plotVisOnly val="1"/>
    <c:dispBlanksAs val="gap"/>
    <c:showDLblsOverMax val="0"/>
  </c:chart>
  <c:spPr>
    <a:noFill/>
    <a:ln>
      <a:noFill/>
    </a:ln>
  </c:sp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513779527559094E-2"/>
          <c:y val="3.7511665208515642E-2"/>
          <c:w val="0.92055577427821522"/>
          <c:h val="0.7844324259514458"/>
        </c:manualLayout>
      </c:layout>
      <c:scatterChart>
        <c:scatterStyle val="smoothMarker"/>
        <c:varyColors val="0"/>
        <c:ser>
          <c:idx val="0"/>
          <c:order val="0"/>
          <c:spPr>
            <a:ln w="38100">
              <a:solidFill>
                <a:srgbClr val="0070C0"/>
              </a:solidFill>
            </a:ln>
          </c:spPr>
          <c:marker>
            <c:symbol val="none"/>
          </c:marker>
          <c:xVal>
            <c:numRef>
              <c:f>'Cumulative Normal'!$B$3:$B$603</c:f>
              <c:numCache>
                <c:formatCode>General</c:formatCode>
                <c:ptCount val="601"/>
                <c:pt idx="0">
                  <c:v>-3</c:v>
                </c:pt>
                <c:pt idx="1">
                  <c:v>-2.9899999999999998</c:v>
                </c:pt>
                <c:pt idx="2">
                  <c:v>-2.98</c:v>
                </c:pt>
                <c:pt idx="3">
                  <c:v>-2.9699999999999998</c:v>
                </c:pt>
                <c:pt idx="4">
                  <c:v>-2.96</c:v>
                </c:pt>
                <c:pt idx="5">
                  <c:v>-2.9499999999999997</c:v>
                </c:pt>
                <c:pt idx="6">
                  <c:v>-2.94</c:v>
                </c:pt>
                <c:pt idx="7">
                  <c:v>-2.9299999999999997</c:v>
                </c:pt>
                <c:pt idx="8">
                  <c:v>-2.92</c:v>
                </c:pt>
                <c:pt idx="9">
                  <c:v>-2.9099999999999997</c:v>
                </c:pt>
                <c:pt idx="10">
                  <c:v>-2.9</c:v>
                </c:pt>
                <c:pt idx="11">
                  <c:v>-2.8899999999999997</c:v>
                </c:pt>
                <c:pt idx="12">
                  <c:v>-2.88</c:v>
                </c:pt>
                <c:pt idx="13">
                  <c:v>-2.8699999999999997</c:v>
                </c:pt>
                <c:pt idx="14">
                  <c:v>-2.86</c:v>
                </c:pt>
                <c:pt idx="15">
                  <c:v>-2.8499999999999988</c:v>
                </c:pt>
                <c:pt idx="16">
                  <c:v>-2.84</c:v>
                </c:pt>
                <c:pt idx="17">
                  <c:v>-2.8299999999999987</c:v>
                </c:pt>
                <c:pt idx="18">
                  <c:v>-2.82</c:v>
                </c:pt>
                <c:pt idx="19">
                  <c:v>-2.8099999999999987</c:v>
                </c:pt>
                <c:pt idx="20">
                  <c:v>-2.8</c:v>
                </c:pt>
                <c:pt idx="21">
                  <c:v>-2.79</c:v>
                </c:pt>
                <c:pt idx="22">
                  <c:v>-2.7800000000000002</c:v>
                </c:pt>
                <c:pt idx="23">
                  <c:v>-2.77</c:v>
                </c:pt>
                <c:pt idx="24">
                  <c:v>-2.7600000000000002</c:v>
                </c:pt>
                <c:pt idx="25">
                  <c:v>-2.75</c:v>
                </c:pt>
                <c:pt idx="26">
                  <c:v>-2.74</c:v>
                </c:pt>
                <c:pt idx="27">
                  <c:v>-2.73</c:v>
                </c:pt>
                <c:pt idx="28">
                  <c:v>-2.72</c:v>
                </c:pt>
                <c:pt idx="29">
                  <c:v>-2.71</c:v>
                </c:pt>
                <c:pt idx="30">
                  <c:v>-2.7</c:v>
                </c:pt>
                <c:pt idx="31">
                  <c:v>-2.69</c:v>
                </c:pt>
                <c:pt idx="32">
                  <c:v>-2.68</c:v>
                </c:pt>
                <c:pt idx="33">
                  <c:v>-2.67</c:v>
                </c:pt>
                <c:pt idx="34">
                  <c:v>-2.66</c:v>
                </c:pt>
                <c:pt idx="35">
                  <c:v>-2.65</c:v>
                </c:pt>
                <c:pt idx="36">
                  <c:v>-2.64</c:v>
                </c:pt>
                <c:pt idx="37">
                  <c:v>-2.63</c:v>
                </c:pt>
                <c:pt idx="38">
                  <c:v>-2.62</c:v>
                </c:pt>
                <c:pt idx="39">
                  <c:v>-2.61</c:v>
                </c:pt>
                <c:pt idx="40">
                  <c:v>-2.6</c:v>
                </c:pt>
                <c:pt idx="41">
                  <c:v>-2.59</c:v>
                </c:pt>
                <c:pt idx="42">
                  <c:v>-2.58</c:v>
                </c:pt>
                <c:pt idx="43">
                  <c:v>-2.57</c:v>
                </c:pt>
                <c:pt idx="44">
                  <c:v>-2.56</c:v>
                </c:pt>
                <c:pt idx="45">
                  <c:v>-2.5499999999999998</c:v>
                </c:pt>
                <c:pt idx="46">
                  <c:v>-2.54</c:v>
                </c:pt>
                <c:pt idx="47">
                  <c:v>-2.5299999999999998</c:v>
                </c:pt>
                <c:pt idx="48">
                  <c:v>-2.52</c:v>
                </c:pt>
                <c:pt idx="49">
                  <c:v>-2.5099999999999998</c:v>
                </c:pt>
                <c:pt idx="50">
                  <c:v>-2.5</c:v>
                </c:pt>
                <c:pt idx="51">
                  <c:v>-2.4899999999999998</c:v>
                </c:pt>
                <c:pt idx="52">
                  <c:v>-2.48</c:v>
                </c:pt>
                <c:pt idx="53">
                  <c:v>-2.4699999999999998</c:v>
                </c:pt>
                <c:pt idx="54">
                  <c:v>-2.46</c:v>
                </c:pt>
                <c:pt idx="55">
                  <c:v>-2.4499999999999997</c:v>
                </c:pt>
                <c:pt idx="56">
                  <c:v>-2.44</c:v>
                </c:pt>
                <c:pt idx="57">
                  <c:v>-2.4299999999999997</c:v>
                </c:pt>
                <c:pt idx="58">
                  <c:v>-2.42</c:v>
                </c:pt>
                <c:pt idx="59">
                  <c:v>-2.4099999999999997</c:v>
                </c:pt>
                <c:pt idx="60">
                  <c:v>-2.4</c:v>
                </c:pt>
                <c:pt idx="61">
                  <c:v>-2.3899999999999997</c:v>
                </c:pt>
                <c:pt idx="62">
                  <c:v>-2.38</c:v>
                </c:pt>
                <c:pt idx="63">
                  <c:v>-2.3699999999999997</c:v>
                </c:pt>
                <c:pt idx="64">
                  <c:v>-2.36</c:v>
                </c:pt>
                <c:pt idx="65">
                  <c:v>-2.3499999999999988</c:v>
                </c:pt>
                <c:pt idx="66">
                  <c:v>-2.34</c:v>
                </c:pt>
                <c:pt idx="67">
                  <c:v>-2.3299999999999987</c:v>
                </c:pt>
                <c:pt idx="68">
                  <c:v>-2.3199999999999972</c:v>
                </c:pt>
                <c:pt idx="69">
                  <c:v>-2.3099999999999987</c:v>
                </c:pt>
                <c:pt idx="70">
                  <c:v>-2.2999999999999998</c:v>
                </c:pt>
                <c:pt idx="71">
                  <c:v>-2.29</c:v>
                </c:pt>
                <c:pt idx="72">
                  <c:v>-2.2799999999999998</c:v>
                </c:pt>
                <c:pt idx="73">
                  <c:v>-2.27</c:v>
                </c:pt>
                <c:pt idx="74">
                  <c:v>-2.2599999999999998</c:v>
                </c:pt>
                <c:pt idx="75">
                  <c:v>-2.25</c:v>
                </c:pt>
                <c:pt idx="76">
                  <c:v>-2.2400000000000002</c:v>
                </c:pt>
                <c:pt idx="77">
                  <c:v>-2.23</c:v>
                </c:pt>
                <c:pt idx="78">
                  <c:v>-2.2200000000000002</c:v>
                </c:pt>
                <c:pt idx="79">
                  <c:v>-2.21</c:v>
                </c:pt>
                <c:pt idx="80">
                  <c:v>-2.2000000000000002</c:v>
                </c:pt>
                <c:pt idx="81">
                  <c:v>-2.19</c:v>
                </c:pt>
                <c:pt idx="82">
                  <c:v>-2.1800000000000002</c:v>
                </c:pt>
                <c:pt idx="83">
                  <c:v>-2.17</c:v>
                </c:pt>
                <c:pt idx="84">
                  <c:v>-2.16</c:v>
                </c:pt>
                <c:pt idx="85">
                  <c:v>-2.15</c:v>
                </c:pt>
                <c:pt idx="86">
                  <c:v>-2.14</c:v>
                </c:pt>
                <c:pt idx="87">
                  <c:v>-2.13</c:v>
                </c:pt>
                <c:pt idx="88">
                  <c:v>-2.12</c:v>
                </c:pt>
                <c:pt idx="89">
                  <c:v>-2.11</c:v>
                </c:pt>
                <c:pt idx="90">
                  <c:v>-2.1</c:v>
                </c:pt>
                <c:pt idx="91">
                  <c:v>-2.09</c:v>
                </c:pt>
                <c:pt idx="92">
                  <c:v>-2.08</c:v>
                </c:pt>
                <c:pt idx="93">
                  <c:v>-2.0699999999999998</c:v>
                </c:pt>
                <c:pt idx="94">
                  <c:v>-2.06</c:v>
                </c:pt>
                <c:pt idx="95">
                  <c:v>-2.0499999999999998</c:v>
                </c:pt>
                <c:pt idx="96">
                  <c:v>-2.04</c:v>
                </c:pt>
                <c:pt idx="97">
                  <c:v>-2.0299999999999998</c:v>
                </c:pt>
                <c:pt idx="98">
                  <c:v>-2.02</c:v>
                </c:pt>
                <c:pt idx="99">
                  <c:v>-2.0099999999999998</c:v>
                </c:pt>
                <c:pt idx="100">
                  <c:v>-2</c:v>
                </c:pt>
                <c:pt idx="101">
                  <c:v>-1.9900000000000011</c:v>
                </c:pt>
                <c:pt idx="102">
                  <c:v>-1.9800000000000011</c:v>
                </c:pt>
                <c:pt idx="103">
                  <c:v>-1.9700000000000011</c:v>
                </c:pt>
                <c:pt idx="104">
                  <c:v>-1.9600000000000011</c:v>
                </c:pt>
                <c:pt idx="105">
                  <c:v>-1.9500000000000011</c:v>
                </c:pt>
                <c:pt idx="106">
                  <c:v>-1.9400000000000011</c:v>
                </c:pt>
                <c:pt idx="107">
                  <c:v>-1.930000000000001</c:v>
                </c:pt>
                <c:pt idx="108">
                  <c:v>-1.920000000000001</c:v>
                </c:pt>
                <c:pt idx="109">
                  <c:v>-1.9100000000000001</c:v>
                </c:pt>
                <c:pt idx="110">
                  <c:v>-1.9000000000000001</c:v>
                </c:pt>
                <c:pt idx="111">
                  <c:v>-1.8900000000000001</c:v>
                </c:pt>
                <c:pt idx="112">
                  <c:v>-1.8800000000000001</c:v>
                </c:pt>
                <c:pt idx="113">
                  <c:v>-1.87</c:v>
                </c:pt>
                <c:pt idx="114">
                  <c:v>-1.86</c:v>
                </c:pt>
                <c:pt idx="115">
                  <c:v>-1.85</c:v>
                </c:pt>
                <c:pt idx="116">
                  <c:v>-1.84</c:v>
                </c:pt>
                <c:pt idx="117">
                  <c:v>-1.83</c:v>
                </c:pt>
                <c:pt idx="118">
                  <c:v>-1.82</c:v>
                </c:pt>
                <c:pt idx="119">
                  <c:v>-1.81</c:v>
                </c:pt>
                <c:pt idx="120">
                  <c:v>-1.8</c:v>
                </c:pt>
                <c:pt idx="121">
                  <c:v>-1.7900000000000003</c:v>
                </c:pt>
                <c:pt idx="122">
                  <c:v>-1.7800000000000002</c:v>
                </c:pt>
                <c:pt idx="123">
                  <c:v>-1.7700000000000002</c:v>
                </c:pt>
                <c:pt idx="124">
                  <c:v>-1.7600000000000002</c:v>
                </c:pt>
                <c:pt idx="125">
                  <c:v>-1.7500000000000002</c:v>
                </c:pt>
                <c:pt idx="126">
                  <c:v>-1.7400000000000002</c:v>
                </c:pt>
                <c:pt idx="127">
                  <c:v>-1.7300000000000002</c:v>
                </c:pt>
                <c:pt idx="128">
                  <c:v>-1.7200000000000002</c:v>
                </c:pt>
                <c:pt idx="129">
                  <c:v>-1.7100000000000002</c:v>
                </c:pt>
                <c:pt idx="130">
                  <c:v>-1.7000000000000002</c:v>
                </c:pt>
                <c:pt idx="131">
                  <c:v>-1.6900000000000013</c:v>
                </c:pt>
                <c:pt idx="132">
                  <c:v>-1.6800000000000013</c:v>
                </c:pt>
                <c:pt idx="133">
                  <c:v>-1.6700000000000013</c:v>
                </c:pt>
                <c:pt idx="134">
                  <c:v>-1.6600000000000001</c:v>
                </c:pt>
                <c:pt idx="135">
                  <c:v>-1.6500000000000001</c:v>
                </c:pt>
                <c:pt idx="136">
                  <c:v>-1.6400000000000001</c:v>
                </c:pt>
                <c:pt idx="137">
                  <c:v>-1.6300000000000001</c:v>
                </c:pt>
                <c:pt idx="138">
                  <c:v>-1.62</c:v>
                </c:pt>
                <c:pt idx="139">
                  <c:v>-1.61</c:v>
                </c:pt>
                <c:pt idx="140">
                  <c:v>-1.6</c:v>
                </c:pt>
                <c:pt idx="141">
                  <c:v>-1.59</c:v>
                </c:pt>
                <c:pt idx="142">
                  <c:v>-1.58</c:v>
                </c:pt>
                <c:pt idx="143">
                  <c:v>-1.57</c:v>
                </c:pt>
                <c:pt idx="144">
                  <c:v>-1.56</c:v>
                </c:pt>
                <c:pt idx="145">
                  <c:v>-1.55</c:v>
                </c:pt>
                <c:pt idx="146">
                  <c:v>-1.54</c:v>
                </c:pt>
                <c:pt idx="147">
                  <c:v>-1.53</c:v>
                </c:pt>
                <c:pt idx="148">
                  <c:v>-1.52</c:v>
                </c:pt>
                <c:pt idx="149">
                  <c:v>-1.51</c:v>
                </c:pt>
                <c:pt idx="150">
                  <c:v>-1.5</c:v>
                </c:pt>
                <c:pt idx="151">
                  <c:v>-1.49</c:v>
                </c:pt>
                <c:pt idx="152">
                  <c:v>-1.48</c:v>
                </c:pt>
                <c:pt idx="153">
                  <c:v>-1.47</c:v>
                </c:pt>
                <c:pt idx="154">
                  <c:v>-1.46</c:v>
                </c:pt>
                <c:pt idx="155">
                  <c:v>-1.45</c:v>
                </c:pt>
                <c:pt idx="156">
                  <c:v>-1.44</c:v>
                </c:pt>
                <c:pt idx="157">
                  <c:v>-1.43</c:v>
                </c:pt>
                <c:pt idx="158">
                  <c:v>-1.42</c:v>
                </c:pt>
                <c:pt idx="159">
                  <c:v>-1.41</c:v>
                </c:pt>
                <c:pt idx="160">
                  <c:v>-1.4</c:v>
                </c:pt>
                <c:pt idx="161">
                  <c:v>-1.3900000000000001</c:v>
                </c:pt>
                <c:pt idx="162">
                  <c:v>-1.3800000000000001</c:v>
                </c:pt>
                <c:pt idx="163">
                  <c:v>-1.37</c:v>
                </c:pt>
                <c:pt idx="164">
                  <c:v>-1.36</c:v>
                </c:pt>
                <c:pt idx="165">
                  <c:v>-1.35</c:v>
                </c:pt>
                <c:pt idx="166">
                  <c:v>-1.34</c:v>
                </c:pt>
                <c:pt idx="167">
                  <c:v>-1.33</c:v>
                </c:pt>
                <c:pt idx="168">
                  <c:v>-1.32</c:v>
                </c:pt>
                <c:pt idx="169">
                  <c:v>-1.31</c:v>
                </c:pt>
                <c:pt idx="170">
                  <c:v>-1.3</c:v>
                </c:pt>
                <c:pt idx="171">
                  <c:v>-1.29</c:v>
                </c:pt>
                <c:pt idx="172">
                  <c:v>-1.28</c:v>
                </c:pt>
                <c:pt idx="173">
                  <c:v>-1.27</c:v>
                </c:pt>
                <c:pt idx="174">
                  <c:v>-1.26</c:v>
                </c:pt>
                <c:pt idx="175">
                  <c:v>-1.25</c:v>
                </c:pt>
                <c:pt idx="176">
                  <c:v>-1.24</c:v>
                </c:pt>
                <c:pt idx="177">
                  <c:v>-1.23</c:v>
                </c:pt>
                <c:pt idx="178">
                  <c:v>-1.22</c:v>
                </c:pt>
                <c:pt idx="179">
                  <c:v>-1.21</c:v>
                </c:pt>
                <c:pt idx="180">
                  <c:v>-1.2</c:v>
                </c:pt>
                <c:pt idx="181">
                  <c:v>-1.1900000000000013</c:v>
                </c:pt>
                <c:pt idx="182">
                  <c:v>-1.1800000000000013</c:v>
                </c:pt>
                <c:pt idx="183">
                  <c:v>-1.1700000000000013</c:v>
                </c:pt>
                <c:pt idx="184">
                  <c:v>-1.1599999999999986</c:v>
                </c:pt>
                <c:pt idx="185">
                  <c:v>-1.1499999999999986</c:v>
                </c:pt>
                <c:pt idx="186">
                  <c:v>-1.1399999999999986</c:v>
                </c:pt>
                <c:pt idx="187">
                  <c:v>-1.1299999999999986</c:v>
                </c:pt>
                <c:pt idx="188">
                  <c:v>-1.1200000000000001</c:v>
                </c:pt>
                <c:pt idx="189">
                  <c:v>-1.1100000000000001</c:v>
                </c:pt>
                <c:pt idx="190">
                  <c:v>-1.1000000000000001</c:v>
                </c:pt>
                <c:pt idx="191">
                  <c:v>-1.0900000000000001</c:v>
                </c:pt>
                <c:pt idx="192">
                  <c:v>-1.08</c:v>
                </c:pt>
                <c:pt idx="193">
                  <c:v>-1.07</c:v>
                </c:pt>
                <c:pt idx="194">
                  <c:v>-1.06</c:v>
                </c:pt>
                <c:pt idx="195">
                  <c:v>-1.05</c:v>
                </c:pt>
                <c:pt idx="196">
                  <c:v>-1.04</c:v>
                </c:pt>
                <c:pt idx="197">
                  <c:v>-1.03</c:v>
                </c:pt>
                <c:pt idx="198">
                  <c:v>-1.02</c:v>
                </c:pt>
                <c:pt idx="199">
                  <c:v>-1.01</c:v>
                </c:pt>
                <c:pt idx="200">
                  <c:v>-1</c:v>
                </c:pt>
                <c:pt idx="201">
                  <c:v>-0.99</c:v>
                </c:pt>
                <c:pt idx="202">
                  <c:v>-0.98</c:v>
                </c:pt>
                <c:pt idx="203">
                  <c:v>-0.97000000000000053</c:v>
                </c:pt>
                <c:pt idx="204">
                  <c:v>-0.96000000000000063</c:v>
                </c:pt>
                <c:pt idx="205">
                  <c:v>-0.95000000000000062</c:v>
                </c:pt>
                <c:pt idx="206">
                  <c:v>-0.94000000000000061</c:v>
                </c:pt>
                <c:pt idx="207">
                  <c:v>-0.93</c:v>
                </c:pt>
                <c:pt idx="208">
                  <c:v>-0.92</c:v>
                </c:pt>
                <c:pt idx="209">
                  <c:v>-0.91</c:v>
                </c:pt>
                <c:pt idx="210">
                  <c:v>-0.9</c:v>
                </c:pt>
                <c:pt idx="211">
                  <c:v>-0.89000000000000012</c:v>
                </c:pt>
                <c:pt idx="212">
                  <c:v>-0.88000000000000012</c:v>
                </c:pt>
                <c:pt idx="213">
                  <c:v>-0.87000000000000066</c:v>
                </c:pt>
                <c:pt idx="214">
                  <c:v>-0.86000000000000065</c:v>
                </c:pt>
                <c:pt idx="215">
                  <c:v>-0.85000000000000064</c:v>
                </c:pt>
                <c:pt idx="216">
                  <c:v>-0.84000000000000064</c:v>
                </c:pt>
                <c:pt idx="217">
                  <c:v>-0.83000000000000063</c:v>
                </c:pt>
                <c:pt idx="218">
                  <c:v>-0.82000000000000062</c:v>
                </c:pt>
                <c:pt idx="219">
                  <c:v>-0.81</c:v>
                </c:pt>
                <c:pt idx="220">
                  <c:v>-0.8</c:v>
                </c:pt>
                <c:pt idx="221">
                  <c:v>-0.79</c:v>
                </c:pt>
                <c:pt idx="222">
                  <c:v>-0.78</c:v>
                </c:pt>
                <c:pt idx="223">
                  <c:v>-0.77000000000000068</c:v>
                </c:pt>
                <c:pt idx="224">
                  <c:v>-0.76000000000000079</c:v>
                </c:pt>
                <c:pt idx="225">
                  <c:v>-0.75000000000000078</c:v>
                </c:pt>
                <c:pt idx="226">
                  <c:v>-0.74000000000000066</c:v>
                </c:pt>
                <c:pt idx="227">
                  <c:v>-0.73000000000000065</c:v>
                </c:pt>
                <c:pt idx="228">
                  <c:v>-0.72000000000000064</c:v>
                </c:pt>
                <c:pt idx="229">
                  <c:v>-0.71000000000000063</c:v>
                </c:pt>
                <c:pt idx="230">
                  <c:v>-0.70000000000000062</c:v>
                </c:pt>
                <c:pt idx="231">
                  <c:v>-0.69000000000000061</c:v>
                </c:pt>
                <c:pt idx="232">
                  <c:v>-0.6800000000000006</c:v>
                </c:pt>
                <c:pt idx="233">
                  <c:v>-0.67000000000000093</c:v>
                </c:pt>
                <c:pt idx="234">
                  <c:v>-0.66000000000000092</c:v>
                </c:pt>
                <c:pt idx="235">
                  <c:v>-0.65000000000000091</c:v>
                </c:pt>
                <c:pt idx="236">
                  <c:v>-0.64000000000000079</c:v>
                </c:pt>
                <c:pt idx="237">
                  <c:v>-0.63000000000000078</c:v>
                </c:pt>
                <c:pt idx="238">
                  <c:v>-0.62000000000000066</c:v>
                </c:pt>
                <c:pt idx="239">
                  <c:v>-0.61000000000000065</c:v>
                </c:pt>
                <c:pt idx="240">
                  <c:v>-0.60000000000000064</c:v>
                </c:pt>
                <c:pt idx="241">
                  <c:v>-0.59000000000000008</c:v>
                </c:pt>
                <c:pt idx="242">
                  <c:v>-0.58000000000000007</c:v>
                </c:pt>
                <c:pt idx="243">
                  <c:v>-0.56999999999999995</c:v>
                </c:pt>
                <c:pt idx="244">
                  <c:v>-0.56000000000000005</c:v>
                </c:pt>
                <c:pt idx="245">
                  <c:v>-0.55000000000000004</c:v>
                </c:pt>
                <c:pt idx="246">
                  <c:v>-0.54</c:v>
                </c:pt>
                <c:pt idx="247">
                  <c:v>-0.53</c:v>
                </c:pt>
                <c:pt idx="248">
                  <c:v>-0.52</c:v>
                </c:pt>
                <c:pt idx="249">
                  <c:v>-0.51</c:v>
                </c:pt>
                <c:pt idx="250">
                  <c:v>-0.5</c:v>
                </c:pt>
                <c:pt idx="251">
                  <c:v>-0.49000000000000032</c:v>
                </c:pt>
                <c:pt idx="252">
                  <c:v>-0.48000000000000032</c:v>
                </c:pt>
                <c:pt idx="253">
                  <c:v>-0.47000000000000008</c:v>
                </c:pt>
                <c:pt idx="254">
                  <c:v>-0.46</c:v>
                </c:pt>
                <c:pt idx="255">
                  <c:v>-0.45</c:v>
                </c:pt>
                <c:pt idx="256">
                  <c:v>-0.44000000000000006</c:v>
                </c:pt>
                <c:pt idx="257">
                  <c:v>-0.43000000000000033</c:v>
                </c:pt>
                <c:pt idx="258">
                  <c:v>-0.42000000000000032</c:v>
                </c:pt>
                <c:pt idx="259">
                  <c:v>-0.41000000000000031</c:v>
                </c:pt>
                <c:pt idx="260">
                  <c:v>-0.4</c:v>
                </c:pt>
                <c:pt idx="261">
                  <c:v>-0.3900000000000004</c:v>
                </c:pt>
                <c:pt idx="262">
                  <c:v>-0.38000000000000039</c:v>
                </c:pt>
                <c:pt idx="263">
                  <c:v>-0.37000000000000033</c:v>
                </c:pt>
                <c:pt idx="264">
                  <c:v>-0.36000000000000032</c:v>
                </c:pt>
                <c:pt idx="265">
                  <c:v>-0.35000000000000031</c:v>
                </c:pt>
                <c:pt idx="266">
                  <c:v>-0.34000000000000008</c:v>
                </c:pt>
                <c:pt idx="267">
                  <c:v>-0.33000000000000046</c:v>
                </c:pt>
                <c:pt idx="268">
                  <c:v>-0.3200000000000004</c:v>
                </c:pt>
                <c:pt idx="269">
                  <c:v>-0.31000000000000033</c:v>
                </c:pt>
                <c:pt idx="270">
                  <c:v>-0.30000000000000032</c:v>
                </c:pt>
                <c:pt idx="271">
                  <c:v>-0.29000000000000031</c:v>
                </c:pt>
                <c:pt idx="272">
                  <c:v>-0.28000000000000008</c:v>
                </c:pt>
                <c:pt idx="273">
                  <c:v>-0.27</c:v>
                </c:pt>
                <c:pt idx="274">
                  <c:v>-0.26</c:v>
                </c:pt>
                <c:pt idx="275">
                  <c:v>-0.25</c:v>
                </c:pt>
                <c:pt idx="276">
                  <c:v>-0.24000000000000016</c:v>
                </c:pt>
                <c:pt idx="277">
                  <c:v>-0.23</c:v>
                </c:pt>
                <c:pt idx="278">
                  <c:v>-0.22000000000000003</c:v>
                </c:pt>
                <c:pt idx="279">
                  <c:v>-0.21000000000000016</c:v>
                </c:pt>
                <c:pt idx="280">
                  <c:v>-0.2</c:v>
                </c:pt>
                <c:pt idx="281">
                  <c:v>-0.19000000000000003</c:v>
                </c:pt>
                <c:pt idx="282">
                  <c:v>-0.18000000000000016</c:v>
                </c:pt>
                <c:pt idx="283">
                  <c:v>-0.17</c:v>
                </c:pt>
                <c:pt idx="284">
                  <c:v>-0.16000000000000003</c:v>
                </c:pt>
                <c:pt idx="285">
                  <c:v>-0.15000000000000016</c:v>
                </c:pt>
                <c:pt idx="286">
                  <c:v>-0.14000000000000001</c:v>
                </c:pt>
                <c:pt idx="287">
                  <c:v>-0.13</c:v>
                </c:pt>
                <c:pt idx="288">
                  <c:v>-0.12000000000000002</c:v>
                </c:pt>
                <c:pt idx="289">
                  <c:v>-0.11000000000000001</c:v>
                </c:pt>
                <c:pt idx="290">
                  <c:v>-0.1</c:v>
                </c:pt>
                <c:pt idx="291">
                  <c:v>-9.0000000000000024E-2</c:v>
                </c:pt>
                <c:pt idx="292">
                  <c:v>-8.0000000000000043E-2</c:v>
                </c:pt>
                <c:pt idx="293">
                  <c:v>-7.0000000000000021E-2</c:v>
                </c:pt>
                <c:pt idx="294">
                  <c:v>-6.0000000000000032E-2</c:v>
                </c:pt>
                <c:pt idx="295">
                  <c:v>-5.0000000000000024E-2</c:v>
                </c:pt>
                <c:pt idx="296">
                  <c:v>-4.0000000000000022E-2</c:v>
                </c:pt>
                <c:pt idx="297">
                  <c:v>-3.0000000000000016E-2</c:v>
                </c:pt>
                <c:pt idx="298">
                  <c:v>-2.0000000000000011E-2</c:v>
                </c:pt>
                <c:pt idx="299">
                  <c:v>-1.0000000000000005E-2</c:v>
                </c:pt>
                <c:pt idx="300">
                  <c:v>0</c:v>
                </c:pt>
                <c:pt idx="301">
                  <c:v>1.0000000000000005E-2</c:v>
                </c:pt>
                <c:pt idx="302">
                  <c:v>2.0000000000000011E-2</c:v>
                </c:pt>
                <c:pt idx="303">
                  <c:v>3.0000000000000016E-2</c:v>
                </c:pt>
                <c:pt idx="304">
                  <c:v>4.0000000000000022E-2</c:v>
                </c:pt>
                <c:pt idx="305">
                  <c:v>5.0000000000000024E-2</c:v>
                </c:pt>
                <c:pt idx="306">
                  <c:v>6.0000000000000032E-2</c:v>
                </c:pt>
                <c:pt idx="307">
                  <c:v>7.0000000000000021E-2</c:v>
                </c:pt>
                <c:pt idx="308">
                  <c:v>8.0000000000000043E-2</c:v>
                </c:pt>
                <c:pt idx="309">
                  <c:v>9.0000000000000024E-2</c:v>
                </c:pt>
                <c:pt idx="310">
                  <c:v>0.1</c:v>
                </c:pt>
                <c:pt idx="311">
                  <c:v>0.11000000000000001</c:v>
                </c:pt>
                <c:pt idx="312">
                  <c:v>0.12000000000000002</c:v>
                </c:pt>
                <c:pt idx="313">
                  <c:v>0.13</c:v>
                </c:pt>
                <c:pt idx="314">
                  <c:v>0.14000000000000001</c:v>
                </c:pt>
                <c:pt idx="315">
                  <c:v>0.15000000000000016</c:v>
                </c:pt>
                <c:pt idx="316">
                  <c:v>0.16000000000000003</c:v>
                </c:pt>
                <c:pt idx="317">
                  <c:v>0.17</c:v>
                </c:pt>
                <c:pt idx="318">
                  <c:v>0.18000000000000016</c:v>
                </c:pt>
                <c:pt idx="319">
                  <c:v>0.19000000000000003</c:v>
                </c:pt>
                <c:pt idx="320">
                  <c:v>0.2</c:v>
                </c:pt>
                <c:pt idx="321">
                  <c:v>0.21000000000000016</c:v>
                </c:pt>
                <c:pt idx="322">
                  <c:v>0.22000000000000003</c:v>
                </c:pt>
                <c:pt idx="323">
                  <c:v>0.23</c:v>
                </c:pt>
                <c:pt idx="324">
                  <c:v>0.24000000000000016</c:v>
                </c:pt>
                <c:pt idx="325">
                  <c:v>0.25</c:v>
                </c:pt>
                <c:pt idx="326">
                  <c:v>0.26</c:v>
                </c:pt>
                <c:pt idx="327">
                  <c:v>0.27</c:v>
                </c:pt>
                <c:pt idx="328">
                  <c:v>0.28000000000000008</c:v>
                </c:pt>
                <c:pt idx="329">
                  <c:v>0.29000000000000031</c:v>
                </c:pt>
                <c:pt idx="330">
                  <c:v>0.30000000000000032</c:v>
                </c:pt>
                <c:pt idx="331">
                  <c:v>0.31000000000000033</c:v>
                </c:pt>
                <c:pt idx="332">
                  <c:v>0.3200000000000004</c:v>
                </c:pt>
                <c:pt idx="333">
                  <c:v>0.33000000000000046</c:v>
                </c:pt>
                <c:pt idx="334">
                  <c:v>0.34000000000000008</c:v>
                </c:pt>
                <c:pt idx="335">
                  <c:v>0.35000000000000031</c:v>
                </c:pt>
                <c:pt idx="336">
                  <c:v>0.36000000000000032</c:v>
                </c:pt>
                <c:pt idx="337">
                  <c:v>0.37000000000000033</c:v>
                </c:pt>
                <c:pt idx="338">
                  <c:v>0.38000000000000039</c:v>
                </c:pt>
                <c:pt idx="339">
                  <c:v>0.3900000000000004</c:v>
                </c:pt>
                <c:pt idx="340">
                  <c:v>0.4</c:v>
                </c:pt>
                <c:pt idx="341">
                  <c:v>0.41000000000000031</c:v>
                </c:pt>
                <c:pt idx="342">
                  <c:v>0.42000000000000032</c:v>
                </c:pt>
                <c:pt idx="343">
                  <c:v>0.43000000000000033</c:v>
                </c:pt>
                <c:pt idx="344">
                  <c:v>0.44000000000000006</c:v>
                </c:pt>
                <c:pt idx="345">
                  <c:v>0.45</c:v>
                </c:pt>
                <c:pt idx="346">
                  <c:v>0.46</c:v>
                </c:pt>
                <c:pt idx="347">
                  <c:v>0.47000000000000008</c:v>
                </c:pt>
                <c:pt idx="348">
                  <c:v>0.48000000000000032</c:v>
                </c:pt>
                <c:pt idx="349">
                  <c:v>0.49000000000000032</c:v>
                </c:pt>
                <c:pt idx="350">
                  <c:v>0.5</c:v>
                </c:pt>
                <c:pt idx="351">
                  <c:v>0.51</c:v>
                </c:pt>
                <c:pt idx="352">
                  <c:v>0.52</c:v>
                </c:pt>
                <c:pt idx="353">
                  <c:v>0.53</c:v>
                </c:pt>
                <c:pt idx="354">
                  <c:v>0.54</c:v>
                </c:pt>
                <c:pt idx="355">
                  <c:v>0.55000000000000004</c:v>
                </c:pt>
                <c:pt idx="356">
                  <c:v>0.56000000000000005</c:v>
                </c:pt>
                <c:pt idx="357">
                  <c:v>0.56999999999999995</c:v>
                </c:pt>
                <c:pt idx="358">
                  <c:v>0.58000000000000007</c:v>
                </c:pt>
                <c:pt idx="359">
                  <c:v>0.59000000000000008</c:v>
                </c:pt>
                <c:pt idx="360">
                  <c:v>0.60000000000000064</c:v>
                </c:pt>
                <c:pt idx="361">
                  <c:v>0.61000000000000065</c:v>
                </c:pt>
                <c:pt idx="362">
                  <c:v>0.62000000000000066</c:v>
                </c:pt>
                <c:pt idx="363">
                  <c:v>0.63000000000000078</c:v>
                </c:pt>
                <c:pt idx="364">
                  <c:v>0.64000000000000079</c:v>
                </c:pt>
                <c:pt idx="365">
                  <c:v>0.65000000000000091</c:v>
                </c:pt>
                <c:pt idx="366">
                  <c:v>0.66000000000000092</c:v>
                </c:pt>
                <c:pt idx="367">
                  <c:v>0.67000000000000093</c:v>
                </c:pt>
                <c:pt idx="368">
                  <c:v>0.6800000000000006</c:v>
                </c:pt>
                <c:pt idx="369">
                  <c:v>0.69000000000000061</c:v>
                </c:pt>
                <c:pt idx="370">
                  <c:v>0.70000000000000062</c:v>
                </c:pt>
                <c:pt idx="371">
                  <c:v>0.71000000000000063</c:v>
                </c:pt>
                <c:pt idx="372">
                  <c:v>0.72000000000000064</c:v>
                </c:pt>
                <c:pt idx="373">
                  <c:v>0.73000000000000065</c:v>
                </c:pt>
                <c:pt idx="374">
                  <c:v>0.74000000000000066</c:v>
                </c:pt>
                <c:pt idx="375">
                  <c:v>0.75000000000000078</c:v>
                </c:pt>
                <c:pt idx="376">
                  <c:v>0.76000000000000079</c:v>
                </c:pt>
                <c:pt idx="377">
                  <c:v>0.77000000000000068</c:v>
                </c:pt>
                <c:pt idx="378">
                  <c:v>0.78</c:v>
                </c:pt>
                <c:pt idx="379">
                  <c:v>0.79</c:v>
                </c:pt>
                <c:pt idx="380">
                  <c:v>0.8</c:v>
                </c:pt>
                <c:pt idx="381">
                  <c:v>0.81</c:v>
                </c:pt>
                <c:pt idx="382">
                  <c:v>0.82000000000000062</c:v>
                </c:pt>
                <c:pt idx="383">
                  <c:v>0.83000000000000063</c:v>
                </c:pt>
                <c:pt idx="384">
                  <c:v>0.84000000000000064</c:v>
                </c:pt>
                <c:pt idx="385">
                  <c:v>0.85000000000000064</c:v>
                </c:pt>
                <c:pt idx="386">
                  <c:v>0.86000000000000065</c:v>
                </c:pt>
                <c:pt idx="387">
                  <c:v>0.87000000000000066</c:v>
                </c:pt>
                <c:pt idx="388">
                  <c:v>0.88000000000000012</c:v>
                </c:pt>
                <c:pt idx="389">
                  <c:v>0.89000000000000012</c:v>
                </c:pt>
                <c:pt idx="390">
                  <c:v>0.9</c:v>
                </c:pt>
                <c:pt idx="391">
                  <c:v>0.91</c:v>
                </c:pt>
                <c:pt idx="392">
                  <c:v>0.92</c:v>
                </c:pt>
                <c:pt idx="393">
                  <c:v>0.93</c:v>
                </c:pt>
                <c:pt idx="394">
                  <c:v>0.94000000000000061</c:v>
                </c:pt>
                <c:pt idx="395">
                  <c:v>0.95000000000000062</c:v>
                </c:pt>
                <c:pt idx="396">
                  <c:v>0.96000000000000063</c:v>
                </c:pt>
                <c:pt idx="397">
                  <c:v>0.97000000000000053</c:v>
                </c:pt>
                <c:pt idx="398">
                  <c:v>0.98</c:v>
                </c:pt>
                <c:pt idx="399">
                  <c:v>0.99</c:v>
                </c:pt>
                <c:pt idx="400">
                  <c:v>1</c:v>
                </c:pt>
                <c:pt idx="401">
                  <c:v>1.01</c:v>
                </c:pt>
                <c:pt idx="402">
                  <c:v>1.02</c:v>
                </c:pt>
                <c:pt idx="403">
                  <c:v>1.03</c:v>
                </c:pt>
                <c:pt idx="404">
                  <c:v>1.04</c:v>
                </c:pt>
                <c:pt idx="405">
                  <c:v>1.05</c:v>
                </c:pt>
                <c:pt idx="406">
                  <c:v>1.06</c:v>
                </c:pt>
                <c:pt idx="407">
                  <c:v>1.07</c:v>
                </c:pt>
                <c:pt idx="408">
                  <c:v>1.08</c:v>
                </c:pt>
                <c:pt idx="409">
                  <c:v>1.0900000000000001</c:v>
                </c:pt>
                <c:pt idx="410">
                  <c:v>1.1000000000000001</c:v>
                </c:pt>
                <c:pt idx="411">
                  <c:v>1.1100000000000001</c:v>
                </c:pt>
                <c:pt idx="412">
                  <c:v>1.1200000000000001</c:v>
                </c:pt>
                <c:pt idx="413">
                  <c:v>1.1299999999999986</c:v>
                </c:pt>
                <c:pt idx="414">
                  <c:v>1.1399999999999986</c:v>
                </c:pt>
                <c:pt idx="415">
                  <c:v>1.1499999999999986</c:v>
                </c:pt>
                <c:pt idx="416">
                  <c:v>1.1599999999999986</c:v>
                </c:pt>
                <c:pt idx="417">
                  <c:v>1.1700000000000013</c:v>
                </c:pt>
                <c:pt idx="418">
                  <c:v>1.1800000000000013</c:v>
                </c:pt>
                <c:pt idx="419">
                  <c:v>1.1900000000000013</c:v>
                </c:pt>
                <c:pt idx="420">
                  <c:v>1.2</c:v>
                </c:pt>
                <c:pt idx="421">
                  <c:v>1.21</c:v>
                </c:pt>
                <c:pt idx="422">
                  <c:v>1.22</c:v>
                </c:pt>
                <c:pt idx="423">
                  <c:v>1.23</c:v>
                </c:pt>
                <c:pt idx="424">
                  <c:v>1.24</c:v>
                </c:pt>
                <c:pt idx="425">
                  <c:v>1.25</c:v>
                </c:pt>
                <c:pt idx="426">
                  <c:v>1.26</c:v>
                </c:pt>
                <c:pt idx="427">
                  <c:v>1.27</c:v>
                </c:pt>
                <c:pt idx="428">
                  <c:v>1.28</c:v>
                </c:pt>
                <c:pt idx="429">
                  <c:v>1.29</c:v>
                </c:pt>
                <c:pt idx="430">
                  <c:v>1.3</c:v>
                </c:pt>
                <c:pt idx="431">
                  <c:v>1.31</c:v>
                </c:pt>
                <c:pt idx="432">
                  <c:v>1.32</c:v>
                </c:pt>
                <c:pt idx="433">
                  <c:v>1.33</c:v>
                </c:pt>
                <c:pt idx="434">
                  <c:v>1.34</c:v>
                </c:pt>
                <c:pt idx="435">
                  <c:v>1.35</c:v>
                </c:pt>
                <c:pt idx="436">
                  <c:v>1.36</c:v>
                </c:pt>
                <c:pt idx="437">
                  <c:v>1.37</c:v>
                </c:pt>
                <c:pt idx="438">
                  <c:v>1.3800000000000001</c:v>
                </c:pt>
                <c:pt idx="439">
                  <c:v>1.3900000000000001</c:v>
                </c:pt>
                <c:pt idx="440">
                  <c:v>1.4</c:v>
                </c:pt>
                <c:pt idx="441">
                  <c:v>1.41</c:v>
                </c:pt>
                <c:pt idx="442">
                  <c:v>1.42</c:v>
                </c:pt>
                <c:pt idx="443">
                  <c:v>1.43</c:v>
                </c:pt>
                <c:pt idx="444">
                  <c:v>1.44</c:v>
                </c:pt>
                <c:pt idx="445">
                  <c:v>1.45</c:v>
                </c:pt>
                <c:pt idx="446">
                  <c:v>1.46</c:v>
                </c:pt>
                <c:pt idx="447">
                  <c:v>1.47</c:v>
                </c:pt>
                <c:pt idx="448">
                  <c:v>1.48</c:v>
                </c:pt>
                <c:pt idx="449">
                  <c:v>1.49</c:v>
                </c:pt>
                <c:pt idx="450">
                  <c:v>1.5</c:v>
                </c:pt>
                <c:pt idx="451">
                  <c:v>1.51</c:v>
                </c:pt>
                <c:pt idx="452">
                  <c:v>1.52</c:v>
                </c:pt>
                <c:pt idx="453">
                  <c:v>1.53</c:v>
                </c:pt>
                <c:pt idx="454">
                  <c:v>1.54</c:v>
                </c:pt>
                <c:pt idx="455">
                  <c:v>1.55</c:v>
                </c:pt>
                <c:pt idx="456">
                  <c:v>1.56</c:v>
                </c:pt>
                <c:pt idx="457">
                  <c:v>1.57</c:v>
                </c:pt>
                <c:pt idx="458">
                  <c:v>1.58</c:v>
                </c:pt>
                <c:pt idx="459">
                  <c:v>1.59</c:v>
                </c:pt>
                <c:pt idx="460">
                  <c:v>1.6</c:v>
                </c:pt>
                <c:pt idx="461">
                  <c:v>1.61</c:v>
                </c:pt>
                <c:pt idx="462">
                  <c:v>1.62</c:v>
                </c:pt>
                <c:pt idx="463">
                  <c:v>1.6300000000000001</c:v>
                </c:pt>
                <c:pt idx="464">
                  <c:v>1.6400000000000001</c:v>
                </c:pt>
                <c:pt idx="465">
                  <c:v>1.6500000000000001</c:v>
                </c:pt>
                <c:pt idx="466">
                  <c:v>1.6600000000000001</c:v>
                </c:pt>
                <c:pt idx="467">
                  <c:v>1.6700000000000013</c:v>
                </c:pt>
                <c:pt idx="468">
                  <c:v>1.6800000000000013</c:v>
                </c:pt>
                <c:pt idx="469">
                  <c:v>1.6900000000000013</c:v>
                </c:pt>
                <c:pt idx="470">
                  <c:v>1.7000000000000002</c:v>
                </c:pt>
                <c:pt idx="471">
                  <c:v>1.7100000000000002</c:v>
                </c:pt>
                <c:pt idx="472">
                  <c:v>1.7200000000000002</c:v>
                </c:pt>
                <c:pt idx="473">
                  <c:v>1.7300000000000002</c:v>
                </c:pt>
                <c:pt idx="474">
                  <c:v>1.7400000000000002</c:v>
                </c:pt>
                <c:pt idx="475">
                  <c:v>1.7500000000000002</c:v>
                </c:pt>
                <c:pt idx="476">
                  <c:v>1.7600000000000002</c:v>
                </c:pt>
                <c:pt idx="477">
                  <c:v>1.7700000000000002</c:v>
                </c:pt>
                <c:pt idx="478">
                  <c:v>1.7800000000000002</c:v>
                </c:pt>
                <c:pt idx="479">
                  <c:v>1.7900000000000003</c:v>
                </c:pt>
                <c:pt idx="480">
                  <c:v>1.8</c:v>
                </c:pt>
                <c:pt idx="481">
                  <c:v>1.81</c:v>
                </c:pt>
                <c:pt idx="482">
                  <c:v>1.82</c:v>
                </c:pt>
                <c:pt idx="483">
                  <c:v>1.83</c:v>
                </c:pt>
                <c:pt idx="484">
                  <c:v>1.84</c:v>
                </c:pt>
                <c:pt idx="485">
                  <c:v>1.85</c:v>
                </c:pt>
                <c:pt idx="486">
                  <c:v>1.86</c:v>
                </c:pt>
                <c:pt idx="487">
                  <c:v>1.87</c:v>
                </c:pt>
                <c:pt idx="488">
                  <c:v>1.8800000000000001</c:v>
                </c:pt>
                <c:pt idx="489">
                  <c:v>1.8900000000000001</c:v>
                </c:pt>
                <c:pt idx="490">
                  <c:v>1.9000000000000001</c:v>
                </c:pt>
                <c:pt idx="491">
                  <c:v>1.9100000000000001</c:v>
                </c:pt>
                <c:pt idx="492">
                  <c:v>1.920000000000001</c:v>
                </c:pt>
                <c:pt idx="493">
                  <c:v>1.930000000000001</c:v>
                </c:pt>
                <c:pt idx="494">
                  <c:v>1.9400000000000011</c:v>
                </c:pt>
                <c:pt idx="495">
                  <c:v>1.9500000000000011</c:v>
                </c:pt>
                <c:pt idx="496">
                  <c:v>1.9600000000000011</c:v>
                </c:pt>
                <c:pt idx="497">
                  <c:v>1.9700000000000011</c:v>
                </c:pt>
                <c:pt idx="498">
                  <c:v>1.9800000000000011</c:v>
                </c:pt>
                <c:pt idx="499">
                  <c:v>1.9900000000000011</c:v>
                </c:pt>
                <c:pt idx="500">
                  <c:v>2</c:v>
                </c:pt>
                <c:pt idx="501">
                  <c:v>2.0099999999999998</c:v>
                </c:pt>
                <c:pt idx="502">
                  <c:v>2.02</c:v>
                </c:pt>
                <c:pt idx="503">
                  <c:v>2.0299999999999998</c:v>
                </c:pt>
                <c:pt idx="504">
                  <c:v>2.04</c:v>
                </c:pt>
                <c:pt idx="505">
                  <c:v>2.0499999999999998</c:v>
                </c:pt>
                <c:pt idx="506">
                  <c:v>2.06</c:v>
                </c:pt>
                <c:pt idx="507">
                  <c:v>2.0699999999999998</c:v>
                </c:pt>
                <c:pt idx="508">
                  <c:v>2.08</c:v>
                </c:pt>
                <c:pt idx="509">
                  <c:v>2.09</c:v>
                </c:pt>
                <c:pt idx="510">
                  <c:v>2.1</c:v>
                </c:pt>
                <c:pt idx="511">
                  <c:v>2.11</c:v>
                </c:pt>
                <c:pt idx="512">
                  <c:v>2.12</c:v>
                </c:pt>
                <c:pt idx="513">
                  <c:v>2.13</c:v>
                </c:pt>
                <c:pt idx="514">
                  <c:v>2.14</c:v>
                </c:pt>
                <c:pt idx="515">
                  <c:v>2.15</c:v>
                </c:pt>
                <c:pt idx="516">
                  <c:v>2.16</c:v>
                </c:pt>
                <c:pt idx="517">
                  <c:v>2.17</c:v>
                </c:pt>
                <c:pt idx="518">
                  <c:v>2.1800000000000002</c:v>
                </c:pt>
                <c:pt idx="519">
                  <c:v>2.19</c:v>
                </c:pt>
                <c:pt idx="520">
                  <c:v>2.2000000000000002</c:v>
                </c:pt>
                <c:pt idx="521">
                  <c:v>2.21</c:v>
                </c:pt>
                <c:pt idx="522">
                  <c:v>2.2200000000000002</c:v>
                </c:pt>
                <c:pt idx="523">
                  <c:v>2.23</c:v>
                </c:pt>
                <c:pt idx="524">
                  <c:v>2.2400000000000002</c:v>
                </c:pt>
                <c:pt idx="525">
                  <c:v>2.25</c:v>
                </c:pt>
                <c:pt idx="526">
                  <c:v>2.2599999999999998</c:v>
                </c:pt>
                <c:pt idx="527">
                  <c:v>2.27</c:v>
                </c:pt>
                <c:pt idx="528">
                  <c:v>2.2799999999999998</c:v>
                </c:pt>
                <c:pt idx="529">
                  <c:v>2.29</c:v>
                </c:pt>
                <c:pt idx="530">
                  <c:v>2.2999999999999998</c:v>
                </c:pt>
                <c:pt idx="531">
                  <c:v>2.3099999999999987</c:v>
                </c:pt>
                <c:pt idx="532">
                  <c:v>2.3199999999999972</c:v>
                </c:pt>
                <c:pt idx="533">
                  <c:v>2.3299999999999987</c:v>
                </c:pt>
                <c:pt idx="534">
                  <c:v>2.34</c:v>
                </c:pt>
                <c:pt idx="535">
                  <c:v>2.3499999999999988</c:v>
                </c:pt>
                <c:pt idx="536">
                  <c:v>2.36</c:v>
                </c:pt>
                <c:pt idx="537">
                  <c:v>2.3699999999999997</c:v>
                </c:pt>
                <c:pt idx="538">
                  <c:v>2.38</c:v>
                </c:pt>
                <c:pt idx="539">
                  <c:v>2.3899999999999997</c:v>
                </c:pt>
                <c:pt idx="540">
                  <c:v>2.4</c:v>
                </c:pt>
                <c:pt idx="541">
                  <c:v>2.4099999999999997</c:v>
                </c:pt>
                <c:pt idx="542">
                  <c:v>2.42</c:v>
                </c:pt>
                <c:pt idx="543">
                  <c:v>2.4299999999999997</c:v>
                </c:pt>
                <c:pt idx="544">
                  <c:v>2.44</c:v>
                </c:pt>
                <c:pt idx="545">
                  <c:v>2.4499999999999997</c:v>
                </c:pt>
                <c:pt idx="546">
                  <c:v>2.46</c:v>
                </c:pt>
                <c:pt idx="547">
                  <c:v>2.4699999999999998</c:v>
                </c:pt>
                <c:pt idx="548">
                  <c:v>2.48</c:v>
                </c:pt>
                <c:pt idx="549">
                  <c:v>2.4899999999999998</c:v>
                </c:pt>
                <c:pt idx="550">
                  <c:v>2.5</c:v>
                </c:pt>
                <c:pt idx="551">
                  <c:v>2.5099999999999998</c:v>
                </c:pt>
                <c:pt idx="552">
                  <c:v>2.52</c:v>
                </c:pt>
                <c:pt idx="553">
                  <c:v>2.5299999999999998</c:v>
                </c:pt>
                <c:pt idx="554">
                  <c:v>2.54</c:v>
                </c:pt>
                <c:pt idx="555">
                  <c:v>2.5499999999999998</c:v>
                </c:pt>
                <c:pt idx="556">
                  <c:v>2.56</c:v>
                </c:pt>
                <c:pt idx="557">
                  <c:v>2.57</c:v>
                </c:pt>
                <c:pt idx="558">
                  <c:v>2.58</c:v>
                </c:pt>
                <c:pt idx="559">
                  <c:v>2.59</c:v>
                </c:pt>
                <c:pt idx="560">
                  <c:v>2.6</c:v>
                </c:pt>
                <c:pt idx="561">
                  <c:v>2.61</c:v>
                </c:pt>
                <c:pt idx="562">
                  <c:v>2.62</c:v>
                </c:pt>
                <c:pt idx="563">
                  <c:v>2.63</c:v>
                </c:pt>
                <c:pt idx="564">
                  <c:v>2.64</c:v>
                </c:pt>
                <c:pt idx="565">
                  <c:v>2.65</c:v>
                </c:pt>
                <c:pt idx="566">
                  <c:v>2.66</c:v>
                </c:pt>
                <c:pt idx="567">
                  <c:v>2.67</c:v>
                </c:pt>
                <c:pt idx="568">
                  <c:v>2.68</c:v>
                </c:pt>
                <c:pt idx="569">
                  <c:v>2.69</c:v>
                </c:pt>
                <c:pt idx="570">
                  <c:v>2.7</c:v>
                </c:pt>
                <c:pt idx="571">
                  <c:v>2.71</c:v>
                </c:pt>
                <c:pt idx="572">
                  <c:v>2.72</c:v>
                </c:pt>
                <c:pt idx="573">
                  <c:v>2.73</c:v>
                </c:pt>
                <c:pt idx="574">
                  <c:v>2.74</c:v>
                </c:pt>
                <c:pt idx="575">
                  <c:v>2.75</c:v>
                </c:pt>
                <c:pt idx="576">
                  <c:v>2.7600000000000002</c:v>
                </c:pt>
                <c:pt idx="577">
                  <c:v>2.77</c:v>
                </c:pt>
                <c:pt idx="578">
                  <c:v>2.7800000000000002</c:v>
                </c:pt>
                <c:pt idx="579">
                  <c:v>2.79</c:v>
                </c:pt>
                <c:pt idx="580">
                  <c:v>2.8</c:v>
                </c:pt>
                <c:pt idx="581">
                  <c:v>2.8099999999999987</c:v>
                </c:pt>
                <c:pt idx="582">
                  <c:v>2.82</c:v>
                </c:pt>
                <c:pt idx="583">
                  <c:v>2.8299999999999987</c:v>
                </c:pt>
                <c:pt idx="584">
                  <c:v>2.84</c:v>
                </c:pt>
                <c:pt idx="585">
                  <c:v>2.8499999999999988</c:v>
                </c:pt>
                <c:pt idx="586">
                  <c:v>2.86</c:v>
                </c:pt>
                <c:pt idx="587">
                  <c:v>2.8699999999999997</c:v>
                </c:pt>
                <c:pt idx="588">
                  <c:v>2.88</c:v>
                </c:pt>
                <c:pt idx="589">
                  <c:v>2.8899999999999997</c:v>
                </c:pt>
                <c:pt idx="590">
                  <c:v>2.9</c:v>
                </c:pt>
                <c:pt idx="591">
                  <c:v>2.9099999999999997</c:v>
                </c:pt>
                <c:pt idx="592">
                  <c:v>2.92</c:v>
                </c:pt>
                <c:pt idx="593">
                  <c:v>2.9299999999999997</c:v>
                </c:pt>
                <c:pt idx="594">
                  <c:v>2.94</c:v>
                </c:pt>
                <c:pt idx="595">
                  <c:v>2.9499999999999997</c:v>
                </c:pt>
                <c:pt idx="596">
                  <c:v>2.96</c:v>
                </c:pt>
                <c:pt idx="597">
                  <c:v>2.9699999999999998</c:v>
                </c:pt>
                <c:pt idx="598">
                  <c:v>2.98</c:v>
                </c:pt>
                <c:pt idx="599">
                  <c:v>2.9899999999999998</c:v>
                </c:pt>
                <c:pt idx="600">
                  <c:v>3</c:v>
                </c:pt>
              </c:numCache>
            </c:numRef>
          </c:xVal>
          <c:yVal>
            <c:numRef>
              <c:f>'Cumulative Normal'!$C$3:$C$603</c:f>
              <c:numCache>
                <c:formatCode>General</c:formatCode>
                <c:ptCount val="601"/>
                <c:pt idx="0">
                  <c:v>1.3499000000000002E-3</c:v>
                </c:pt>
                <c:pt idx="1">
                  <c:v>1.3948900000000013E-3</c:v>
                </c:pt>
                <c:pt idx="2">
                  <c:v>1.4412400000000001E-3</c:v>
                </c:pt>
                <c:pt idx="3">
                  <c:v>1.4890000000000003E-3</c:v>
                </c:pt>
                <c:pt idx="4">
                  <c:v>1.5382000000000015E-3</c:v>
                </c:pt>
                <c:pt idx="5">
                  <c:v>1.5888700000000016E-3</c:v>
                </c:pt>
                <c:pt idx="6">
                  <c:v>1.6410600000000015E-3</c:v>
                </c:pt>
                <c:pt idx="7">
                  <c:v>1.6948100000000025E-3</c:v>
                </c:pt>
                <c:pt idx="8">
                  <c:v>1.7501600000000017E-3</c:v>
                </c:pt>
                <c:pt idx="9">
                  <c:v>1.8071400000000016E-3</c:v>
                </c:pt>
                <c:pt idx="10">
                  <c:v>1.865810000000002E-3</c:v>
                </c:pt>
                <c:pt idx="11">
                  <c:v>1.9262100000000031E-3</c:v>
                </c:pt>
                <c:pt idx="12">
                  <c:v>1.9883800000000036E-3</c:v>
                </c:pt>
                <c:pt idx="13">
                  <c:v>2.05236E-3</c:v>
                </c:pt>
                <c:pt idx="14">
                  <c:v>2.1182100000000006E-3</c:v>
                </c:pt>
                <c:pt idx="15">
                  <c:v>2.1859600000000037E-3</c:v>
                </c:pt>
                <c:pt idx="16">
                  <c:v>2.2556799999999999E-3</c:v>
                </c:pt>
                <c:pt idx="17">
                  <c:v>2.3274000000000012E-3</c:v>
                </c:pt>
                <c:pt idx="18">
                  <c:v>2.4011800000000032E-3</c:v>
                </c:pt>
                <c:pt idx="19">
                  <c:v>2.4770700000000027E-3</c:v>
                </c:pt>
                <c:pt idx="20">
                  <c:v>2.5551300000000035E-3</c:v>
                </c:pt>
                <c:pt idx="21">
                  <c:v>2.6354000000000004E-3</c:v>
                </c:pt>
                <c:pt idx="22">
                  <c:v>2.7179400000000012E-3</c:v>
                </c:pt>
                <c:pt idx="23">
                  <c:v>2.8028100000000002E-3</c:v>
                </c:pt>
                <c:pt idx="24">
                  <c:v>2.8900699999999998E-3</c:v>
                </c:pt>
                <c:pt idx="25">
                  <c:v>2.9797600000000006E-3</c:v>
                </c:pt>
                <c:pt idx="26">
                  <c:v>3.0719599999999999E-3</c:v>
                </c:pt>
                <c:pt idx="27">
                  <c:v>3.1667200000000052E-3</c:v>
                </c:pt>
                <c:pt idx="28">
                  <c:v>3.2641000000000063E-3</c:v>
                </c:pt>
                <c:pt idx="29">
                  <c:v>3.3641600000000036E-3</c:v>
                </c:pt>
                <c:pt idx="30">
                  <c:v>3.4669700000000032E-3</c:v>
                </c:pt>
                <c:pt idx="31">
                  <c:v>3.5726000000000004E-3</c:v>
                </c:pt>
                <c:pt idx="32">
                  <c:v>3.6811100000000057E-3</c:v>
                </c:pt>
                <c:pt idx="33">
                  <c:v>3.7925600000000012E-3</c:v>
                </c:pt>
                <c:pt idx="34">
                  <c:v>3.9070300000000049E-3</c:v>
                </c:pt>
                <c:pt idx="35">
                  <c:v>4.0245899999999946E-3</c:v>
                </c:pt>
                <c:pt idx="36">
                  <c:v>4.1453000000000011E-3</c:v>
                </c:pt>
                <c:pt idx="37">
                  <c:v>4.2692400000000075E-3</c:v>
                </c:pt>
                <c:pt idx="38">
                  <c:v>4.3964900000000064E-3</c:v>
                </c:pt>
                <c:pt idx="39">
                  <c:v>4.5271099999999965E-3</c:v>
                </c:pt>
                <c:pt idx="40">
                  <c:v>4.6611900000000008E-3</c:v>
                </c:pt>
                <c:pt idx="41">
                  <c:v>4.7988000000000024E-3</c:v>
                </c:pt>
                <c:pt idx="42">
                  <c:v>4.9400200000000076E-3</c:v>
                </c:pt>
                <c:pt idx="43">
                  <c:v>5.0849300000000005E-3</c:v>
                </c:pt>
                <c:pt idx="44">
                  <c:v>5.2336100000000075E-3</c:v>
                </c:pt>
                <c:pt idx="45">
                  <c:v>5.3861500000000062E-3</c:v>
                </c:pt>
                <c:pt idx="46">
                  <c:v>5.5426200000000076E-3</c:v>
                </c:pt>
                <c:pt idx="47">
                  <c:v>5.7031300000000024E-3</c:v>
                </c:pt>
                <c:pt idx="48">
                  <c:v>5.8677399999999998E-3</c:v>
                </c:pt>
                <c:pt idx="49">
                  <c:v>6.0365600000000076E-3</c:v>
                </c:pt>
                <c:pt idx="50">
                  <c:v>6.2096700000000117E-3</c:v>
                </c:pt>
                <c:pt idx="51">
                  <c:v>6.3871500000000012E-3</c:v>
                </c:pt>
                <c:pt idx="52">
                  <c:v>6.5691200000000064E-3</c:v>
                </c:pt>
                <c:pt idx="53">
                  <c:v>6.7556500000000071E-3</c:v>
                </c:pt>
                <c:pt idx="54">
                  <c:v>6.9468500000000105E-3</c:v>
                </c:pt>
                <c:pt idx="55">
                  <c:v>7.1428100000000003E-3</c:v>
                </c:pt>
                <c:pt idx="56">
                  <c:v>7.3436300000000072E-3</c:v>
                </c:pt>
                <c:pt idx="57">
                  <c:v>7.5494100000000073E-3</c:v>
                </c:pt>
                <c:pt idx="58">
                  <c:v>7.7602500000000093E-3</c:v>
                </c:pt>
                <c:pt idx="59">
                  <c:v>7.9762600000000215E-3</c:v>
                </c:pt>
                <c:pt idx="60">
                  <c:v>8.1975400000000066E-3</c:v>
                </c:pt>
                <c:pt idx="61">
                  <c:v>8.4241900000000067E-3</c:v>
                </c:pt>
                <c:pt idx="62">
                  <c:v>8.6563200000000003E-3</c:v>
                </c:pt>
                <c:pt idx="63">
                  <c:v>8.894040000000011E-3</c:v>
                </c:pt>
                <c:pt idx="64">
                  <c:v>9.13747E-3</c:v>
                </c:pt>
                <c:pt idx="65">
                  <c:v>9.3867100000000186E-3</c:v>
                </c:pt>
                <c:pt idx="66">
                  <c:v>9.6418699999999986E-3</c:v>
                </c:pt>
                <c:pt idx="67">
                  <c:v>9.9030800000000224E-3</c:v>
                </c:pt>
                <c:pt idx="68">
                  <c:v>1.0170400000000001E-2</c:v>
                </c:pt>
                <c:pt idx="69">
                  <c:v>1.0444100000000013E-2</c:v>
                </c:pt>
                <c:pt idx="70">
                  <c:v>1.0724100000000016E-2</c:v>
                </c:pt>
                <c:pt idx="71">
                  <c:v>1.1010700000000003E-2</c:v>
                </c:pt>
                <c:pt idx="72">
                  <c:v>1.1303800000000013E-2</c:v>
                </c:pt>
                <c:pt idx="73">
                  <c:v>1.1603800000000023E-2</c:v>
                </c:pt>
                <c:pt idx="74">
                  <c:v>1.1910600000000007E-2</c:v>
                </c:pt>
                <c:pt idx="75">
                  <c:v>1.2224500000000001E-2</c:v>
                </c:pt>
                <c:pt idx="76">
                  <c:v>1.2545500000000001E-2</c:v>
                </c:pt>
                <c:pt idx="77">
                  <c:v>1.2873700000000005E-2</c:v>
                </c:pt>
                <c:pt idx="78">
                  <c:v>1.3209400000000003E-2</c:v>
                </c:pt>
                <c:pt idx="79">
                  <c:v>1.3552600000000001E-2</c:v>
                </c:pt>
                <c:pt idx="80">
                  <c:v>1.3903400000000019E-2</c:v>
                </c:pt>
                <c:pt idx="81">
                  <c:v>1.4262100000000003E-2</c:v>
                </c:pt>
                <c:pt idx="82">
                  <c:v>1.46287E-2</c:v>
                </c:pt>
                <c:pt idx="83">
                  <c:v>1.5003400000000016E-2</c:v>
                </c:pt>
                <c:pt idx="84">
                  <c:v>1.5386300000000007E-2</c:v>
                </c:pt>
                <c:pt idx="85">
                  <c:v>1.5777600000000003E-2</c:v>
                </c:pt>
                <c:pt idx="86">
                  <c:v>1.6177400000000005E-2</c:v>
                </c:pt>
                <c:pt idx="87">
                  <c:v>1.6585800000000022E-2</c:v>
                </c:pt>
                <c:pt idx="88">
                  <c:v>1.7003000000000004E-2</c:v>
                </c:pt>
                <c:pt idx="89">
                  <c:v>1.7429200000000002E-2</c:v>
                </c:pt>
                <c:pt idx="90">
                  <c:v>1.7864400000000009E-2</c:v>
                </c:pt>
                <c:pt idx="91">
                  <c:v>1.8308900000000003E-2</c:v>
                </c:pt>
                <c:pt idx="92">
                  <c:v>1.8762800000000024E-2</c:v>
                </c:pt>
                <c:pt idx="93">
                  <c:v>1.9226200000000009E-2</c:v>
                </c:pt>
                <c:pt idx="94">
                  <c:v>1.9699299999999999E-2</c:v>
                </c:pt>
                <c:pt idx="95">
                  <c:v>2.0182200000000004E-2</c:v>
                </c:pt>
                <c:pt idx="96">
                  <c:v>2.0675200000000046E-2</c:v>
                </c:pt>
                <c:pt idx="97">
                  <c:v>2.1178300000000011E-2</c:v>
                </c:pt>
                <c:pt idx="98">
                  <c:v>2.1691700000000032E-2</c:v>
                </c:pt>
                <c:pt idx="99">
                  <c:v>2.2215600000000012E-2</c:v>
                </c:pt>
                <c:pt idx="100">
                  <c:v>2.2750099999999999E-2</c:v>
                </c:pt>
                <c:pt idx="101">
                  <c:v>2.3295500000000004E-2</c:v>
                </c:pt>
                <c:pt idx="102">
                  <c:v>2.3851799999999999E-2</c:v>
                </c:pt>
                <c:pt idx="103">
                  <c:v>2.4419200000000002E-2</c:v>
                </c:pt>
                <c:pt idx="104">
                  <c:v>2.499790000000001E-2</c:v>
                </c:pt>
                <c:pt idx="105">
                  <c:v>2.5588099999999989E-2</c:v>
                </c:pt>
                <c:pt idx="106">
                  <c:v>2.6189800000000027E-2</c:v>
                </c:pt>
                <c:pt idx="107">
                  <c:v>2.6803400000000012E-2</c:v>
                </c:pt>
                <c:pt idx="108">
                  <c:v>2.7428900000000016E-2</c:v>
                </c:pt>
                <c:pt idx="109">
                  <c:v>2.806659999999998E-2</c:v>
                </c:pt>
                <c:pt idx="110">
                  <c:v>2.8716599999999971E-2</c:v>
                </c:pt>
                <c:pt idx="111">
                  <c:v>2.9379000000000002E-2</c:v>
                </c:pt>
                <c:pt idx="112">
                  <c:v>3.0054000000000011E-2</c:v>
                </c:pt>
                <c:pt idx="113">
                  <c:v>3.0741900000000037E-2</c:v>
                </c:pt>
                <c:pt idx="114">
                  <c:v>3.1442800000000042E-2</c:v>
                </c:pt>
                <c:pt idx="115">
                  <c:v>3.2156799999999999E-2</c:v>
                </c:pt>
                <c:pt idx="116">
                  <c:v>3.2884100000000041E-2</c:v>
                </c:pt>
                <c:pt idx="117">
                  <c:v>3.3625000000000002E-2</c:v>
                </c:pt>
                <c:pt idx="118">
                  <c:v>3.4379500000000014E-2</c:v>
                </c:pt>
                <c:pt idx="119">
                  <c:v>3.5147900000000044E-2</c:v>
                </c:pt>
                <c:pt idx="120">
                  <c:v>3.5930300000000012E-2</c:v>
                </c:pt>
                <c:pt idx="121">
                  <c:v>3.672700000000001E-2</c:v>
                </c:pt>
                <c:pt idx="122">
                  <c:v>3.7538000000000016E-2</c:v>
                </c:pt>
                <c:pt idx="123">
                  <c:v>3.8363599999999998E-2</c:v>
                </c:pt>
                <c:pt idx="124">
                  <c:v>3.9203900000000048E-2</c:v>
                </c:pt>
                <c:pt idx="125">
                  <c:v>4.0059200000000003E-2</c:v>
                </c:pt>
                <c:pt idx="126">
                  <c:v>4.0929499999999987E-2</c:v>
                </c:pt>
                <c:pt idx="127">
                  <c:v>4.1815100000000001E-2</c:v>
                </c:pt>
                <c:pt idx="128">
                  <c:v>4.2716200000000107E-2</c:v>
                </c:pt>
                <c:pt idx="129">
                  <c:v>4.3632900000000023E-2</c:v>
                </c:pt>
                <c:pt idx="130">
                  <c:v>4.4565500000000022E-2</c:v>
                </c:pt>
                <c:pt idx="131">
                  <c:v>4.5514000000000013E-2</c:v>
                </c:pt>
                <c:pt idx="132">
                  <c:v>4.6478700000000005E-2</c:v>
                </c:pt>
                <c:pt idx="133">
                  <c:v>4.7459700000000014E-2</c:v>
                </c:pt>
                <c:pt idx="134">
                  <c:v>4.8457199999999999E-2</c:v>
                </c:pt>
                <c:pt idx="135">
                  <c:v>4.9471500000000009E-2</c:v>
                </c:pt>
                <c:pt idx="136">
                  <c:v>5.0502600000000071E-2</c:v>
                </c:pt>
                <c:pt idx="137">
                  <c:v>5.1550700000000012E-2</c:v>
                </c:pt>
                <c:pt idx="138">
                  <c:v>5.2616100000000013E-2</c:v>
                </c:pt>
                <c:pt idx="139">
                  <c:v>5.3698900000000022E-2</c:v>
                </c:pt>
                <c:pt idx="140">
                  <c:v>5.4799300000000072E-2</c:v>
                </c:pt>
                <c:pt idx="141">
                  <c:v>5.5917400000000075E-2</c:v>
                </c:pt>
                <c:pt idx="142">
                  <c:v>5.7053400000000046E-2</c:v>
                </c:pt>
                <c:pt idx="143">
                  <c:v>5.8207600000000012E-2</c:v>
                </c:pt>
                <c:pt idx="144">
                  <c:v>5.9379900000000013E-2</c:v>
                </c:pt>
                <c:pt idx="145">
                  <c:v>6.0570800000000001E-2</c:v>
                </c:pt>
                <c:pt idx="146">
                  <c:v>6.1780200000000014E-2</c:v>
                </c:pt>
                <c:pt idx="147">
                  <c:v>6.300840000000002E-2</c:v>
                </c:pt>
                <c:pt idx="148">
                  <c:v>6.4255499999999993E-2</c:v>
                </c:pt>
                <c:pt idx="149">
                  <c:v>6.5521700000000002E-2</c:v>
                </c:pt>
                <c:pt idx="150">
                  <c:v>6.6807199999999997E-2</c:v>
                </c:pt>
                <c:pt idx="151">
                  <c:v>6.8112100000000023E-2</c:v>
                </c:pt>
                <c:pt idx="152">
                  <c:v>6.9436600000000126E-2</c:v>
                </c:pt>
                <c:pt idx="153">
                  <c:v>7.0780899999999994E-2</c:v>
                </c:pt>
                <c:pt idx="154">
                  <c:v>7.2145000000000001E-2</c:v>
                </c:pt>
                <c:pt idx="155">
                  <c:v>7.3529300000000006E-2</c:v>
                </c:pt>
                <c:pt idx="156">
                  <c:v>7.4933700000000034E-2</c:v>
                </c:pt>
                <c:pt idx="157">
                  <c:v>7.635850000000001E-2</c:v>
                </c:pt>
                <c:pt idx="158">
                  <c:v>7.7803800000000034E-2</c:v>
                </c:pt>
                <c:pt idx="159">
                  <c:v>7.9269800000000015E-2</c:v>
                </c:pt>
                <c:pt idx="160">
                  <c:v>8.0756700000000028E-2</c:v>
                </c:pt>
                <c:pt idx="161">
                  <c:v>8.2264400000000043E-2</c:v>
                </c:pt>
                <c:pt idx="162">
                  <c:v>8.379330000000014E-2</c:v>
                </c:pt>
                <c:pt idx="163">
                  <c:v>8.534350000000003E-2</c:v>
                </c:pt>
                <c:pt idx="164">
                  <c:v>8.6915000000000006E-2</c:v>
                </c:pt>
                <c:pt idx="165">
                  <c:v>8.850800000000017E-2</c:v>
                </c:pt>
                <c:pt idx="166">
                  <c:v>9.0122700000000014E-2</c:v>
                </c:pt>
                <c:pt idx="167">
                  <c:v>9.1759100000000066E-2</c:v>
                </c:pt>
                <c:pt idx="168">
                  <c:v>9.3417500000000028E-2</c:v>
                </c:pt>
                <c:pt idx="169">
                  <c:v>9.5097900000000068E-2</c:v>
                </c:pt>
                <c:pt idx="170">
                  <c:v>9.6800500000000053E-2</c:v>
                </c:pt>
                <c:pt idx="171">
                  <c:v>9.8525300000000274E-2</c:v>
                </c:pt>
                <c:pt idx="172">
                  <c:v>0.10027300000000008</c:v>
                </c:pt>
                <c:pt idx="173">
                  <c:v>0.10204199999999998</c:v>
                </c:pt>
                <c:pt idx="174">
                  <c:v>0.10383500000000002</c:v>
                </c:pt>
                <c:pt idx="175">
                  <c:v>0.10564999999999998</c:v>
                </c:pt>
                <c:pt idx="176">
                  <c:v>0.107488</c:v>
                </c:pt>
                <c:pt idx="177">
                  <c:v>0.109349</c:v>
                </c:pt>
                <c:pt idx="178">
                  <c:v>0.11123200000000009</c:v>
                </c:pt>
                <c:pt idx="179">
                  <c:v>0.11313900000000002</c:v>
                </c:pt>
                <c:pt idx="180">
                  <c:v>0.11507000000000003</c:v>
                </c:pt>
                <c:pt idx="181">
                  <c:v>0.1170230000000001</c:v>
                </c:pt>
                <c:pt idx="182">
                  <c:v>0.11899999999999998</c:v>
                </c:pt>
                <c:pt idx="183">
                  <c:v>0.12100000000000002</c:v>
                </c:pt>
                <c:pt idx="184">
                  <c:v>0.12302399999999999</c:v>
                </c:pt>
                <c:pt idx="185">
                  <c:v>0.12507199999999988</c:v>
                </c:pt>
                <c:pt idx="186">
                  <c:v>0.12714300000000001</c:v>
                </c:pt>
                <c:pt idx="187">
                  <c:v>0.12923799999999999</c:v>
                </c:pt>
                <c:pt idx="188">
                  <c:v>0.131357</c:v>
                </c:pt>
                <c:pt idx="189">
                  <c:v>0.13350000000000001</c:v>
                </c:pt>
                <c:pt idx="190">
                  <c:v>0.13566600000000001</c:v>
                </c:pt>
                <c:pt idx="191">
                  <c:v>0.13785700000000001</c:v>
                </c:pt>
                <c:pt idx="192">
                  <c:v>0.140071</c:v>
                </c:pt>
                <c:pt idx="193">
                  <c:v>0.14230999999999999</c:v>
                </c:pt>
                <c:pt idx="194">
                  <c:v>0.14457200000000001</c:v>
                </c:pt>
                <c:pt idx="195">
                  <c:v>0.14685899999999999</c:v>
                </c:pt>
                <c:pt idx="196">
                  <c:v>0.14917</c:v>
                </c:pt>
                <c:pt idx="197">
                  <c:v>0.15150500000000017</c:v>
                </c:pt>
                <c:pt idx="198">
                  <c:v>0.15386400000000017</c:v>
                </c:pt>
                <c:pt idx="199">
                  <c:v>0.15624800000000033</c:v>
                </c:pt>
                <c:pt idx="200">
                  <c:v>0.15865499999999999</c:v>
                </c:pt>
                <c:pt idx="201">
                  <c:v>0.16108700000000004</c:v>
                </c:pt>
                <c:pt idx="202">
                  <c:v>0.16354300000000016</c:v>
                </c:pt>
                <c:pt idx="203">
                  <c:v>0.16602300000000003</c:v>
                </c:pt>
                <c:pt idx="204">
                  <c:v>0.16852800000000004</c:v>
                </c:pt>
                <c:pt idx="205">
                  <c:v>0.17105600000000001</c:v>
                </c:pt>
                <c:pt idx="206">
                  <c:v>0.17360900000000001</c:v>
                </c:pt>
                <c:pt idx="207">
                  <c:v>0.17618600000000001</c:v>
                </c:pt>
                <c:pt idx="208">
                  <c:v>0.17878600000000017</c:v>
                </c:pt>
                <c:pt idx="209">
                  <c:v>0.18141100000000027</c:v>
                </c:pt>
                <c:pt idx="210">
                  <c:v>0.18406000000000017</c:v>
                </c:pt>
                <c:pt idx="211">
                  <c:v>0.18673300000000026</c:v>
                </c:pt>
                <c:pt idx="212">
                  <c:v>0.18943000000000026</c:v>
                </c:pt>
                <c:pt idx="213">
                  <c:v>0.19215000000000002</c:v>
                </c:pt>
                <c:pt idx="214">
                  <c:v>0.19489500000000004</c:v>
                </c:pt>
                <c:pt idx="215">
                  <c:v>0.19766300000000003</c:v>
                </c:pt>
                <c:pt idx="216">
                  <c:v>0.20045399999999999</c:v>
                </c:pt>
                <c:pt idx="217">
                  <c:v>0.20326900000000023</c:v>
                </c:pt>
                <c:pt idx="218">
                  <c:v>0.20610800000000001</c:v>
                </c:pt>
                <c:pt idx="219">
                  <c:v>0.20897000000000004</c:v>
                </c:pt>
                <c:pt idx="220">
                  <c:v>0.21185499999999999</c:v>
                </c:pt>
                <c:pt idx="221">
                  <c:v>0.21476400000000026</c:v>
                </c:pt>
                <c:pt idx="222">
                  <c:v>0.21769500000000017</c:v>
                </c:pt>
                <c:pt idx="223">
                  <c:v>0.22064999999999999</c:v>
                </c:pt>
                <c:pt idx="224">
                  <c:v>0.22362699999999988</c:v>
                </c:pt>
                <c:pt idx="225">
                  <c:v>0.22662700000000002</c:v>
                </c:pt>
                <c:pt idx="226">
                  <c:v>0.22965000000000002</c:v>
                </c:pt>
                <c:pt idx="227">
                  <c:v>0.23269500000000001</c:v>
                </c:pt>
                <c:pt idx="228">
                  <c:v>0.23576200000000017</c:v>
                </c:pt>
                <c:pt idx="229">
                  <c:v>0.23885200000000001</c:v>
                </c:pt>
                <c:pt idx="230">
                  <c:v>0.24196400000000026</c:v>
                </c:pt>
                <c:pt idx="231">
                  <c:v>0.24509700000000023</c:v>
                </c:pt>
                <c:pt idx="232">
                  <c:v>0.24825200000000017</c:v>
                </c:pt>
                <c:pt idx="233">
                  <c:v>0.25142900000000001</c:v>
                </c:pt>
                <c:pt idx="234">
                  <c:v>0.2546270000000001</c:v>
                </c:pt>
                <c:pt idx="235">
                  <c:v>0.25784600000000002</c:v>
                </c:pt>
                <c:pt idx="236">
                  <c:v>0.26108600000000032</c:v>
                </c:pt>
                <c:pt idx="237">
                  <c:v>0.264347</c:v>
                </c:pt>
                <c:pt idx="238">
                  <c:v>0.26762900000000001</c:v>
                </c:pt>
                <c:pt idx="239">
                  <c:v>0.27093100000000003</c:v>
                </c:pt>
                <c:pt idx="240">
                  <c:v>0.27425300000000002</c:v>
                </c:pt>
                <c:pt idx="241">
                  <c:v>0.27759500000000004</c:v>
                </c:pt>
                <c:pt idx="242">
                  <c:v>0.28095700000000001</c:v>
                </c:pt>
                <c:pt idx="243">
                  <c:v>0.28433900000000001</c:v>
                </c:pt>
                <c:pt idx="244">
                  <c:v>0.28774</c:v>
                </c:pt>
                <c:pt idx="245">
                  <c:v>0.29116000000000031</c:v>
                </c:pt>
                <c:pt idx="246">
                  <c:v>0.294599</c:v>
                </c:pt>
                <c:pt idx="247">
                  <c:v>0.29805600000000032</c:v>
                </c:pt>
                <c:pt idx="248">
                  <c:v>0.30153200000000002</c:v>
                </c:pt>
                <c:pt idx="249">
                  <c:v>0.30502600000000046</c:v>
                </c:pt>
                <c:pt idx="250">
                  <c:v>0.30853800000000031</c:v>
                </c:pt>
                <c:pt idx="251">
                  <c:v>0.31206700000000032</c:v>
                </c:pt>
                <c:pt idx="252">
                  <c:v>0.31561400000000039</c:v>
                </c:pt>
                <c:pt idx="253">
                  <c:v>0.31917800000000046</c:v>
                </c:pt>
                <c:pt idx="254">
                  <c:v>0.32275800000000032</c:v>
                </c:pt>
                <c:pt idx="255">
                  <c:v>0.32635500000000039</c:v>
                </c:pt>
                <c:pt idx="256">
                  <c:v>0.3299690000000004</c:v>
                </c:pt>
                <c:pt idx="257">
                  <c:v>0.33359800000000039</c:v>
                </c:pt>
                <c:pt idx="258">
                  <c:v>0.33724300000000001</c:v>
                </c:pt>
                <c:pt idx="259">
                  <c:v>0.34090300000000007</c:v>
                </c:pt>
                <c:pt idx="260">
                  <c:v>0.34457800000000038</c:v>
                </c:pt>
                <c:pt idx="261">
                  <c:v>0.34826800000000008</c:v>
                </c:pt>
                <c:pt idx="262">
                  <c:v>0.35197300000000031</c:v>
                </c:pt>
                <c:pt idx="263">
                  <c:v>0.35569100000000003</c:v>
                </c:pt>
                <c:pt idx="264">
                  <c:v>0.35942400000000047</c:v>
                </c:pt>
                <c:pt idx="265">
                  <c:v>0.36316900000000002</c:v>
                </c:pt>
                <c:pt idx="266">
                  <c:v>0.36692800000000048</c:v>
                </c:pt>
                <c:pt idx="267">
                  <c:v>0.37070000000000008</c:v>
                </c:pt>
                <c:pt idx="268">
                  <c:v>0.37448400000000054</c:v>
                </c:pt>
                <c:pt idx="269">
                  <c:v>0.37828000000000039</c:v>
                </c:pt>
                <c:pt idx="270">
                  <c:v>0.3820890000000004</c:v>
                </c:pt>
                <c:pt idx="271">
                  <c:v>0.38590800000000047</c:v>
                </c:pt>
                <c:pt idx="272">
                  <c:v>0.389739</c:v>
                </c:pt>
                <c:pt idx="273">
                  <c:v>0.39358000000000065</c:v>
                </c:pt>
                <c:pt idx="274">
                  <c:v>0.3974320000000004</c:v>
                </c:pt>
                <c:pt idx="275">
                  <c:v>0.40129399999999998</c:v>
                </c:pt>
                <c:pt idx="276">
                  <c:v>0.405165</c:v>
                </c:pt>
                <c:pt idx="277">
                  <c:v>0.40904600000000002</c:v>
                </c:pt>
                <c:pt idx="278">
                  <c:v>0.41293600000000008</c:v>
                </c:pt>
                <c:pt idx="279">
                  <c:v>0.41683400000000032</c:v>
                </c:pt>
                <c:pt idx="280">
                  <c:v>0.42074</c:v>
                </c:pt>
                <c:pt idx="281">
                  <c:v>0.424655</c:v>
                </c:pt>
                <c:pt idx="282">
                  <c:v>0.4285760000000004</c:v>
                </c:pt>
                <c:pt idx="283">
                  <c:v>0.43250500000000008</c:v>
                </c:pt>
                <c:pt idx="284">
                  <c:v>0.43644100000000002</c:v>
                </c:pt>
                <c:pt idx="285">
                  <c:v>0.44038200000000038</c:v>
                </c:pt>
                <c:pt idx="286">
                  <c:v>0.44433000000000006</c:v>
                </c:pt>
                <c:pt idx="287">
                  <c:v>0.44828300000000015</c:v>
                </c:pt>
                <c:pt idx="288">
                  <c:v>0.45224199999999998</c:v>
                </c:pt>
                <c:pt idx="289">
                  <c:v>0.45620500000000003</c:v>
                </c:pt>
                <c:pt idx="290">
                  <c:v>0.46017200000000008</c:v>
                </c:pt>
                <c:pt idx="291">
                  <c:v>0.464144</c:v>
                </c:pt>
                <c:pt idx="292">
                  <c:v>0.46811900000000001</c:v>
                </c:pt>
                <c:pt idx="293">
                  <c:v>0.4720970000000001</c:v>
                </c:pt>
                <c:pt idx="294">
                  <c:v>0.47607800000000033</c:v>
                </c:pt>
                <c:pt idx="295">
                  <c:v>0.48006100000000002</c:v>
                </c:pt>
                <c:pt idx="296">
                  <c:v>0.48404700000000001</c:v>
                </c:pt>
                <c:pt idx="297">
                  <c:v>0.48803400000000002</c:v>
                </c:pt>
                <c:pt idx="298">
                  <c:v>0.49202200000000046</c:v>
                </c:pt>
                <c:pt idx="299">
                  <c:v>0.49601100000000031</c:v>
                </c:pt>
                <c:pt idx="300">
                  <c:v>0.5</c:v>
                </c:pt>
                <c:pt idx="301">
                  <c:v>0.50398900000000002</c:v>
                </c:pt>
                <c:pt idx="302">
                  <c:v>0.50797800000000004</c:v>
                </c:pt>
                <c:pt idx="303">
                  <c:v>0.51196599999999959</c:v>
                </c:pt>
                <c:pt idx="304">
                  <c:v>0.51595299999999933</c:v>
                </c:pt>
                <c:pt idx="305">
                  <c:v>0.51993900000000004</c:v>
                </c:pt>
                <c:pt idx="306">
                  <c:v>0.523922</c:v>
                </c:pt>
                <c:pt idx="307">
                  <c:v>0.52790300000000001</c:v>
                </c:pt>
                <c:pt idx="308">
                  <c:v>0.53188100000000005</c:v>
                </c:pt>
                <c:pt idx="309">
                  <c:v>0.535856</c:v>
                </c:pt>
                <c:pt idx="310">
                  <c:v>0.53982799999999997</c:v>
                </c:pt>
                <c:pt idx="311">
                  <c:v>0.54379500000000092</c:v>
                </c:pt>
                <c:pt idx="312">
                  <c:v>0.54775799999999997</c:v>
                </c:pt>
                <c:pt idx="313">
                  <c:v>0.55171700000000001</c:v>
                </c:pt>
                <c:pt idx="314">
                  <c:v>0.55567000000000066</c:v>
                </c:pt>
                <c:pt idx="315">
                  <c:v>0.5596179999999995</c:v>
                </c:pt>
                <c:pt idx="316">
                  <c:v>0.56355900000000003</c:v>
                </c:pt>
                <c:pt idx="317">
                  <c:v>0.56749499999999997</c:v>
                </c:pt>
                <c:pt idx="318">
                  <c:v>0.57142400000000004</c:v>
                </c:pt>
                <c:pt idx="319">
                  <c:v>0.57534500000000066</c:v>
                </c:pt>
                <c:pt idx="320">
                  <c:v>0.57926</c:v>
                </c:pt>
                <c:pt idx="321">
                  <c:v>0.58316599999999919</c:v>
                </c:pt>
                <c:pt idx="322">
                  <c:v>0.58706399999999925</c:v>
                </c:pt>
                <c:pt idx="323">
                  <c:v>0.59095399999999931</c:v>
                </c:pt>
                <c:pt idx="324">
                  <c:v>0.59483500000000011</c:v>
                </c:pt>
                <c:pt idx="325">
                  <c:v>0.59870600000000007</c:v>
                </c:pt>
                <c:pt idx="326">
                  <c:v>0.60256799999999933</c:v>
                </c:pt>
                <c:pt idx="327">
                  <c:v>0.60641999999999996</c:v>
                </c:pt>
                <c:pt idx="328">
                  <c:v>0.61026100000000005</c:v>
                </c:pt>
                <c:pt idx="329">
                  <c:v>0.61409200000000064</c:v>
                </c:pt>
                <c:pt idx="330">
                  <c:v>0.61791099999999999</c:v>
                </c:pt>
                <c:pt idx="331">
                  <c:v>0.62172000000000094</c:v>
                </c:pt>
                <c:pt idx="332">
                  <c:v>0.62551599999999996</c:v>
                </c:pt>
                <c:pt idx="333">
                  <c:v>0.62930000000000064</c:v>
                </c:pt>
                <c:pt idx="334">
                  <c:v>0.63307200000000063</c:v>
                </c:pt>
                <c:pt idx="335">
                  <c:v>0.63683100000000092</c:v>
                </c:pt>
                <c:pt idx="336">
                  <c:v>0.64057600000000003</c:v>
                </c:pt>
                <c:pt idx="337">
                  <c:v>0.6443090000000008</c:v>
                </c:pt>
                <c:pt idx="338">
                  <c:v>0.6480270000000008</c:v>
                </c:pt>
                <c:pt idx="339">
                  <c:v>0.65173200000000064</c:v>
                </c:pt>
                <c:pt idx="340">
                  <c:v>0.65542199999999995</c:v>
                </c:pt>
                <c:pt idx="341">
                  <c:v>0.65909700000000093</c:v>
                </c:pt>
                <c:pt idx="342">
                  <c:v>0.66275700000000093</c:v>
                </c:pt>
                <c:pt idx="343">
                  <c:v>0.66640200000000005</c:v>
                </c:pt>
                <c:pt idx="344">
                  <c:v>0.67003100000000093</c:v>
                </c:pt>
                <c:pt idx="345">
                  <c:v>0.6736450000000016</c:v>
                </c:pt>
                <c:pt idx="346">
                  <c:v>0.67724200000000079</c:v>
                </c:pt>
                <c:pt idx="347">
                  <c:v>0.68082200000000015</c:v>
                </c:pt>
                <c:pt idx="348">
                  <c:v>0.68438599999999949</c:v>
                </c:pt>
                <c:pt idx="349">
                  <c:v>0.68793300000000013</c:v>
                </c:pt>
                <c:pt idx="350">
                  <c:v>0.69146199999999958</c:v>
                </c:pt>
                <c:pt idx="351">
                  <c:v>0.69497400000000065</c:v>
                </c:pt>
                <c:pt idx="352">
                  <c:v>0.69846799999999931</c:v>
                </c:pt>
                <c:pt idx="353">
                  <c:v>0.70194400000000079</c:v>
                </c:pt>
                <c:pt idx="354">
                  <c:v>0.7054009999999995</c:v>
                </c:pt>
                <c:pt idx="355">
                  <c:v>0.70884000000000091</c:v>
                </c:pt>
                <c:pt idx="356">
                  <c:v>0.71226</c:v>
                </c:pt>
                <c:pt idx="357">
                  <c:v>0.71566099999999999</c:v>
                </c:pt>
                <c:pt idx="358">
                  <c:v>0.71904299999999999</c:v>
                </c:pt>
                <c:pt idx="359">
                  <c:v>0.72240499999999996</c:v>
                </c:pt>
                <c:pt idx="360">
                  <c:v>0.72574700000000092</c:v>
                </c:pt>
                <c:pt idx="361">
                  <c:v>0.72906899999999997</c:v>
                </c:pt>
                <c:pt idx="362">
                  <c:v>0.73237099999999999</c:v>
                </c:pt>
                <c:pt idx="363">
                  <c:v>0.73565300000000078</c:v>
                </c:pt>
                <c:pt idx="364">
                  <c:v>0.73891399999999996</c:v>
                </c:pt>
                <c:pt idx="365">
                  <c:v>0.74215399999999998</c:v>
                </c:pt>
                <c:pt idx="366">
                  <c:v>0.74537299999999951</c:v>
                </c:pt>
                <c:pt idx="367">
                  <c:v>0.74857099999999999</c:v>
                </c:pt>
                <c:pt idx="368">
                  <c:v>0.75174800000000108</c:v>
                </c:pt>
                <c:pt idx="369">
                  <c:v>0.75490299999999999</c:v>
                </c:pt>
                <c:pt idx="370">
                  <c:v>0.75803600000000004</c:v>
                </c:pt>
                <c:pt idx="371">
                  <c:v>0.76114800000000093</c:v>
                </c:pt>
                <c:pt idx="372">
                  <c:v>0.76423799999999997</c:v>
                </c:pt>
                <c:pt idx="373">
                  <c:v>0.76730500000000079</c:v>
                </c:pt>
                <c:pt idx="374">
                  <c:v>0.77035000000000053</c:v>
                </c:pt>
                <c:pt idx="375">
                  <c:v>0.77337299999999987</c:v>
                </c:pt>
                <c:pt idx="376">
                  <c:v>0.77637299999999987</c:v>
                </c:pt>
                <c:pt idx="377">
                  <c:v>0.77935000000000054</c:v>
                </c:pt>
                <c:pt idx="378">
                  <c:v>0.78230500000000003</c:v>
                </c:pt>
                <c:pt idx="379">
                  <c:v>0.78523599999999949</c:v>
                </c:pt>
                <c:pt idx="380">
                  <c:v>0.78814499999999998</c:v>
                </c:pt>
                <c:pt idx="381">
                  <c:v>0.79103000000000001</c:v>
                </c:pt>
                <c:pt idx="382">
                  <c:v>0.79389200000000004</c:v>
                </c:pt>
                <c:pt idx="383">
                  <c:v>0.79673099999999997</c:v>
                </c:pt>
                <c:pt idx="384">
                  <c:v>0.79954599999999998</c:v>
                </c:pt>
                <c:pt idx="385">
                  <c:v>0.80233699999999919</c:v>
                </c:pt>
                <c:pt idx="386">
                  <c:v>0.80510499999999996</c:v>
                </c:pt>
                <c:pt idx="387">
                  <c:v>0.80785000000000062</c:v>
                </c:pt>
                <c:pt idx="388">
                  <c:v>0.81057000000000001</c:v>
                </c:pt>
                <c:pt idx="389">
                  <c:v>0.81326699999999907</c:v>
                </c:pt>
                <c:pt idx="390">
                  <c:v>0.81594000000000066</c:v>
                </c:pt>
                <c:pt idx="391">
                  <c:v>0.81858900000000001</c:v>
                </c:pt>
                <c:pt idx="392">
                  <c:v>0.821214</c:v>
                </c:pt>
                <c:pt idx="393">
                  <c:v>0.82381400000000005</c:v>
                </c:pt>
                <c:pt idx="394">
                  <c:v>0.82639099999999999</c:v>
                </c:pt>
                <c:pt idx="395">
                  <c:v>0.82894400000000079</c:v>
                </c:pt>
                <c:pt idx="396">
                  <c:v>0.83147199999999999</c:v>
                </c:pt>
                <c:pt idx="397">
                  <c:v>0.83397699999999997</c:v>
                </c:pt>
                <c:pt idx="398">
                  <c:v>0.83645700000000001</c:v>
                </c:pt>
                <c:pt idx="399">
                  <c:v>0.83891300000000002</c:v>
                </c:pt>
                <c:pt idx="400">
                  <c:v>0.84134500000000079</c:v>
                </c:pt>
                <c:pt idx="401">
                  <c:v>0.84375199999999995</c:v>
                </c:pt>
                <c:pt idx="402">
                  <c:v>0.846136</c:v>
                </c:pt>
                <c:pt idx="403">
                  <c:v>0.84849500000000067</c:v>
                </c:pt>
                <c:pt idx="404">
                  <c:v>0.85083000000000064</c:v>
                </c:pt>
                <c:pt idx="405">
                  <c:v>0.85314100000000093</c:v>
                </c:pt>
                <c:pt idx="406">
                  <c:v>0.85542799999999997</c:v>
                </c:pt>
                <c:pt idx="407">
                  <c:v>0.85768999999999995</c:v>
                </c:pt>
                <c:pt idx="408">
                  <c:v>0.85992900000000094</c:v>
                </c:pt>
                <c:pt idx="409">
                  <c:v>0.86214299999999999</c:v>
                </c:pt>
                <c:pt idx="410">
                  <c:v>0.86433400000000005</c:v>
                </c:pt>
                <c:pt idx="411">
                  <c:v>0.86650000000000005</c:v>
                </c:pt>
                <c:pt idx="412">
                  <c:v>0.86864300000000094</c:v>
                </c:pt>
                <c:pt idx="413">
                  <c:v>0.87076200000000004</c:v>
                </c:pt>
                <c:pt idx="414">
                  <c:v>0.87285699999999999</c:v>
                </c:pt>
                <c:pt idx="415">
                  <c:v>0.87492800000000093</c:v>
                </c:pt>
                <c:pt idx="416">
                  <c:v>0.87697600000000064</c:v>
                </c:pt>
                <c:pt idx="417">
                  <c:v>0.87900000000000078</c:v>
                </c:pt>
                <c:pt idx="418">
                  <c:v>0.88100000000000012</c:v>
                </c:pt>
                <c:pt idx="419">
                  <c:v>0.88297700000000012</c:v>
                </c:pt>
                <c:pt idx="420">
                  <c:v>0.88493000000000011</c:v>
                </c:pt>
                <c:pt idx="421">
                  <c:v>0.88686100000000012</c:v>
                </c:pt>
                <c:pt idx="422">
                  <c:v>0.88876800000000011</c:v>
                </c:pt>
                <c:pt idx="423">
                  <c:v>0.89065100000000064</c:v>
                </c:pt>
                <c:pt idx="424">
                  <c:v>0.89251199999999931</c:v>
                </c:pt>
                <c:pt idx="425">
                  <c:v>0.89435000000000009</c:v>
                </c:pt>
                <c:pt idx="426">
                  <c:v>0.89616499999999943</c:v>
                </c:pt>
                <c:pt idx="427">
                  <c:v>0.89795800000000014</c:v>
                </c:pt>
                <c:pt idx="428">
                  <c:v>0.89972700000000061</c:v>
                </c:pt>
                <c:pt idx="429">
                  <c:v>0.90147500000000003</c:v>
                </c:pt>
                <c:pt idx="430">
                  <c:v>0.9032</c:v>
                </c:pt>
                <c:pt idx="431">
                  <c:v>0.90490199999999998</c:v>
                </c:pt>
                <c:pt idx="432">
                  <c:v>0.90658199999999933</c:v>
                </c:pt>
                <c:pt idx="433">
                  <c:v>0.90824099999999997</c:v>
                </c:pt>
                <c:pt idx="434">
                  <c:v>0.90987700000000005</c:v>
                </c:pt>
                <c:pt idx="435">
                  <c:v>0.91149199999999997</c:v>
                </c:pt>
                <c:pt idx="436">
                  <c:v>0.91308500000000004</c:v>
                </c:pt>
                <c:pt idx="437">
                  <c:v>0.91465700000000005</c:v>
                </c:pt>
                <c:pt idx="438">
                  <c:v>0.91620699999999933</c:v>
                </c:pt>
                <c:pt idx="439">
                  <c:v>0.917736</c:v>
                </c:pt>
                <c:pt idx="440">
                  <c:v>0.91924300000000003</c:v>
                </c:pt>
                <c:pt idx="441">
                  <c:v>0.92073000000000005</c:v>
                </c:pt>
                <c:pt idx="442">
                  <c:v>0.92219600000000002</c:v>
                </c:pt>
                <c:pt idx="443">
                  <c:v>0.92364100000000093</c:v>
                </c:pt>
                <c:pt idx="444">
                  <c:v>0.9250659999999995</c:v>
                </c:pt>
                <c:pt idx="445">
                  <c:v>0.92647100000000004</c:v>
                </c:pt>
                <c:pt idx="446">
                  <c:v>0.92785499999999999</c:v>
                </c:pt>
                <c:pt idx="447">
                  <c:v>0.92921900000000002</c:v>
                </c:pt>
                <c:pt idx="448">
                  <c:v>0.93056299999999903</c:v>
                </c:pt>
                <c:pt idx="449">
                  <c:v>0.93188800000000005</c:v>
                </c:pt>
                <c:pt idx="450">
                  <c:v>0.93319300000000005</c:v>
                </c:pt>
                <c:pt idx="451">
                  <c:v>0.93447800000000003</c:v>
                </c:pt>
                <c:pt idx="452">
                  <c:v>0.93574500000000094</c:v>
                </c:pt>
                <c:pt idx="453">
                  <c:v>0.93699200000000005</c:v>
                </c:pt>
                <c:pt idx="454">
                  <c:v>0.93822000000000005</c:v>
                </c:pt>
                <c:pt idx="455">
                  <c:v>0.93942899999999996</c:v>
                </c:pt>
                <c:pt idx="456">
                  <c:v>0.94062000000000079</c:v>
                </c:pt>
                <c:pt idx="457">
                  <c:v>0.94179200000000063</c:v>
                </c:pt>
                <c:pt idx="458">
                  <c:v>0.94294699999999998</c:v>
                </c:pt>
                <c:pt idx="459">
                  <c:v>0.94408300000000001</c:v>
                </c:pt>
                <c:pt idx="460">
                  <c:v>0.94520099999999996</c:v>
                </c:pt>
                <c:pt idx="461">
                  <c:v>0.9463009999999995</c:v>
                </c:pt>
                <c:pt idx="462">
                  <c:v>0.947384</c:v>
                </c:pt>
                <c:pt idx="463">
                  <c:v>0.94844899999999999</c:v>
                </c:pt>
                <c:pt idx="464">
                  <c:v>0.94949700000000004</c:v>
                </c:pt>
                <c:pt idx="465">
                  <c:v>0.95052899999999996</c:v>
                </c:pt>
                <c:pt idx="466">
                  <c:v>0.95154300000000003</c:v>
                </c:pt>
                <c:pt idx="467">
                  <c:v>0.95254000000000005</c:v>
                </c:pt>
                <c:pt idx="468">
                  <c:v>0.95352099999999951</c:v>
                </c:pt>
                <c:pt idx="469">
                  <c:v>0.9544859999999995</c:v>
                </c:pt>
                <c:pt idx="470">
                  <c:v>0.95543500000000003</c:v>
                </c:pt>
                <c:pt idx="471">
                  <c:v>0.95636699999999919</c:v>
                </c:pt>
                <c:pt idx="472">
                  <c:v>0.95728400000000002</c:v>
                </c:pt>
                <c:pt idx="473">
                  <c:v>0.95818499999999951</c:v>
                </c:pt>
                <c:pt idx="474">
                  <c:v>0.95906999999999998</c:v>
                </c:pt>
                <c:pt idx="475">
                  <c:v>0.95994100000000093</c:v>
                </c:pt>
                <c:pt idx="476">
                  <c:v>0.96079600000000065</c:v>
                </c:pt>
                <c:pt idx="477">
                  <c:v>0.96163600000000005</c:v>
                </c:pt>
                <c:pt idx="478">
                  <c:v>0.96246199999999948</c:v>
                </c:pt>
                <c:pt idx="479">
                  <c:v>0.96327300000000005</c:v>
                </c:pt>
                <c:pt idx="480">
                  <c:v>0.96406999999999998</c:v>
                </c:pt>
                <c:pt idx="481">
                  <c:v>0.96485200000000004</c:v>
                </c:pt>
                <c:pt idx="482">
                  <c:v>0.96562000000000092</c:v>
                </c:pt>
                <c:pt idx="483">
                  <c:v>0.96637499999999998</c:v>
                </c:pt>
                <c:pt idx="484">
                  <c:v>0.96711599999999998</c:v>
                </c:pt>
                <c:pt idx="485">
                  <c:v>0.96784300000000079</c:v>
                </c:pt>
                <c:pt idx="486">
                  <c:v>0.968557</c:v>
                </c:pt>
                <c:pt idx="487">
                  <c:v>0.96925799999999951</c:v>
                </c:pt>
                <c:pt idx="488">
                  <c:v>0.96994600000000064</c:v>
                </c:pt>
                <c:pt idx="489">
                  <c:v>0.97062100000000084</c:v>
                </c:pt>
                <c:pt idx="490">
                  <c:v>0.97128299999999956</c:v>
                </c:pt>
                <c:pt idx="491">
                  <c:v>0.97193299999999949</c:v>
                </c:pt>
                <c:pt idx="492">
                  <c:v>0.97257099999999952</c:v>
                </c:pt>
                <c:pt idx="493">
                  <c:v>0.97319699999999987</c:v>
                </c:pt>
                <c:pt idx="494">
                  <c:v>0.97380999999999984</c:v>
                </c:pt>
                <c:pt idx="495">
                  <c:v>0.9744119999999995</c:v>
                </c:pt>
                <c:pt idx="496">
                  <c:v>0.97500199999999992</c:v>
                </c:pt>
                <c:pt idx="497">
                  <c:v>0.97558099999999959</c:v>
                </c:pt>
                <c:pt idx="498">
                  <c:v>0.97614800000000068</c:v>
                </c:pt>
                <c:pt idx="499">
                  <c:v>0.97670500000000082</c:v>
                </c:pt>
                <c:pt idx="500">
                  <c:v>0.97724999999999984</c:v>
                </c:pt>
                <c:pt idx="501">
                  <c:v>0.97778399999999988</c:v>
                </c:pt>
                <c:pt idx="502">
                  <c:v>0.97830799999999951</c:v>
                </c:pt>
                <c:pt idx="503">
                  <c:v>0.97882200000000052</c:v>
                </c:pt>
                <c:pt idx="504">
                  <c:v>0.97932500000000056</c:v>
                </c:pt>
                <c:pt idx="505">
                  <c:v>0.97981799999999986</c:v>
                </c:pt>
                <c:pt idx="506">
                  <c:v>0.9803009999999992</c:v>
                </c:pt>
                <c:pt idx="507">
                  <c:v>0.98077400000000003</c:v>
                </c:pt>
                <c:pt idx="508">
                  <c:v>0.98123699999999903</c:v>
                </c:pt>
                <c:pt idx="509">
                  <c:v>0.98169099999999998</c:v>
                </c:pt>
                <c:pt idx="510">
                  <c:v>0.98213599999999956</c:v>
                </c:pt>
                <c:pt idx="511">
                  <c:v>0.9825709999999992</c:v>
                </c:pt>
                <c:pt idx="512">
                  <c:v>0.98299700000000001</c:v>
                </c:pt>
                <c:pt idx="513">
                  <c:v>0.9834139999999989</c:v>
                </c:pt>
                <c:pt idx="514">
                  <c:v>0.983823</c:v>
                </c:pt>
                <c:pt idx="515">
                  <c:v>0.98422199999999949</c:v>
                </c:pt>
                <c:pt idx="516">
                  <c:v>0.98461399999999932</c:v>
                </c:pt>
                <c:pt idx="517">
                  <c:v>0.98499700000000001</c:v>
                </c:pt>
                <c:pt idx="518">
                  <c:v>0.985371</c:v>
                </c:pt>
                <c:pt idx="519">
                  <c:v>0.985738</c:v>
                </c:pt>
                <c:pt idx="520">
                  <c:v>0.986097</c:v>
                </c:pt>
                <c:pt idx="521">
                  <c:v>0.98644699999999907</c:v>
                </c:pt>
                <c:pt idx="522">
                  <c:v>0.98679099999999997</c:v>
                </c:pt>
                <c:pt idx="523">
                  <c:v>0.9871259999999995</c:v>
                </c:pt>
                <c:pt idx="524">
                  <c:v>0.98745499999999919</c:v>
                </c:pt>
                <c:pt idx="525">
                  <c:v>0.98777599999999999</c:v>
                </c:pt>
                <c:pt idx="526">
                  <c:v>0.988089</c:v>
                </c:pt>
                <c:pt idx="527">
                  <c:v>0.9883959999999995</c:v>
                </c:pt>
                <c:pt idx="528">
                  <c:v>0.98869600000000002</c:v>
                </c:pt>
                <c:pt idx="529">
                  <c:v>0.98898900000000001</c:v>
                </c:pt>
                <c:pt idx="530">
                  <c:v>0.98927599999999949</c:v>
                </c:pt>
                <c:pt idx="531">
                  <c:v>0.98955599999999933</c:v>
                </c:pt>
                <c:pt idx="532">
                  <c:v>0.98982999999999999</c:v>
                </c:pt>
                <c:pt idx="533">
                  <c:v>0.990097</c:v>
                </c:pt>
                <c:pt idx="534">
                  <c:v>0.99035799999999907</c:v>
                </c:pt>
                <c:pt idx="535">
                  <c:v>0.99061299999999908</c:v>
                </c:pt>
                <c:pt idx="536">
                  <c:v>0.99086299999999916</c:v>
                </c:pt>
                <c:pt idx="537">
                  <c:v>0.99110599999999949</c:v>
                </c:pt>
                <c:pt idx="538">
                  <c:v>0.991344</c:v>
                </c:pt>
                <c:pt idx="539">
                  <c:v>0.99157599999999957</c:v>
                </c:pt>
                <c:pt idx="540">
                  <c:v>0.99180199999999996</c:v>
                </c:pt>
                <c:pt idx="541">
                  <c:v>0.99202400000000002</c:v>
                </c:pt>
                <c:pt idx="542">
                  <c:v>0.99224000000000001</c:v>
                </c:pt>
                <c:pt idx="543">
                  <c:v>0.99245099999999919</c:v>
                </c:pt>
                <c:pt idx="544">
                  <c:v>0.99265599999999998</c:v>
                </c:pt>
                <c:pt idx="545">
                  <c:v>0.99285699999999932</c:v>
                </c:pt>
                <c:pt idx="546">
                  <c:v>0.99305299999999908</c:v>
                </c:pt>
                <c:pt idx="547">
                  <c:v>0.99324400000000002</c:v>
                </c:pt>
                <c:pt idx="548">
                  <c:v>0.99343099999999906</c:v>
                </c:pt>
                <c:pt idx="549">
                  <c:v>0.99361299999999919</c:v>
                </c:pt>
                <c:pt idx="550">
                  <c:v>0.99378999999999951</c:v>
                </c:pt>
                <c:pt idx="551">
                  <c:v>0.99396299999999915</c:v>
                </c:pt>
                <c:pt idx="552">
                  <c:v>0.99413199999999957</c:v>
                </c:pt>
                <c:pt idx="553">
                  <c:v>0.99429699999999921</c:v>
                </c:pt>
                <c:pt idx="554">
                  <c:v>0.99445699999999915</c:v>
                </c:pt>
                <c:pt idx="555">
                  <c:v>0.994614</c:v>
                </c:pt>
                <c:pt idx="556">
                  <c:v>0.99476599999999948</c:v>
                </c:pt>
                <c:pt idx="557">
                  <c:v>0.99491499999999933</c:v>
                </c:pt>
                <c:pt idx="558">
                  <c:v>0.9950599999999995</c:v>
                </c:pt>
                <c:pt idx="559">
                  <c:v>0.995201</c:v>
                </c:pt>
                <c:pt idx="560">
                  <c:v>0.9953389999999992</c:v>
                </c:pt>
                <c:pt idx="561">
                  <c:v>0.99547299999999916</c:v>
                </c:pt>
                <c:pt idx="562">
                  <c:v>0.99560400000000004</c:v>
                </c:pt>
                <c:pt idx="563">
                  <c:v>0.99573100000000003</c:v>
                </c:pt>
                <c:pt idx="564">
                  <c:v>0.99585500000000005</c:v>
                </c:pt>
                <c:pt idx="565">
                  <c:v>0.99597500000000005</c:v>
                </c:pt>
                <c:pt idx="566">
                  <c:v>0.99609300000000001</c:v>
                </c:pt>
                <c:pt idx="567">
                  <c:v>0.99620699999999907</c:v>
                </c:pt>
                <c:pt idx="568">
                  <c:v>0.99631899999999907</c:v>
                </c:pt>
                <c:pt idx="569">
                  <c:v>0.99642699999999906</c:v>
                </c:pt>
                <c:pt idx="570">
                  <c:v>0.99653299999999878</c:v>
                </c:pt>
                <c:pt idx="571">
                  <c:v>0.99663599999999997</c:v>
                </c:pt>
                <c:pt idx="572">
                  <c:v>0.99673599999999996</c:v>
                </c:pt>
                <c:pt idx="573">
                  <c:v>0.99683299999999919</c:v>
                </c:pt>
                <c:pt idx="574">
                  <c:v>0.99692800000000004</c:v>
                </c:pt>
                <c:pt idx="575">
                  <c:v>0.99702000000000002</c:v>
                </c:pt>
                <c:pt idx="576">
                  <c:v>0.9971099999999995</c:v>
                </c:pt>
                <c:pt idx="577">
                  <c:v>0.997197</c:v>
                </c:pt>
                <c:pt idx="578">
                  <c:v>0.99728199999999956</c:v>
                </c:pt>
                <c:pt idx="579">
                  <c:v>0.99736499999999906</c:v>
                </c:pt>
                <c:pt idx="580">
                  <c:v>0.99744500000000003</c:v>
                </c:pt>
                <c:pt idx="581">
                  <c:v>0.99752299999999916</c:v>
                </c:pt>
                <c:pt idx="582">
                  <c:v>0.99759900000000001</c:v>
                </c:pt>
                <c:pt idx="583">
                  <c:v>0.99767300000000003</c:v>
                </c:pt>
                <c:pt idx="584">
                  <c:v>0.99774399999999996</c:v>
                </c:pt>
                <c:pt idx="585">
                  <c:v>0.9978139999999992</c:v>
                </c:pt>
                <c:pt idx="586">
                  <c:v>0.99788199999999949</c:v>
                </c:pt>
                <c:pt idx="587">
                  <c:v>0.9979479999999995</c:v>
                </c:pt>
                <c:pt idx="588">
                  <c:v>0.99801199999999957</c:v>
                </c:pt>
                <c:pt idx="589">
                  <c:v>0.99807400000000002</c:v>
                </c:pt>
                <c:pt idx="590">
                  <c:v>0.99813399999999908</c:v>
                </c:pt>
                <c:pt idx="591">
                  <c:v>0.998193</c:v>
                </c:pt>
                <c:pt idx="592">
                  <c:v>0.99824999999999997</c:v>
                </c:pt>
                <c:pt idx="593">
                  <c:v>0.998305</c:v>
                </c:pt>
                <c:pt idx="594">
                  <c:v>0.998359</c:v>
                </c:pt>
                <c:pt idx="595">
                  <c:v>0.99841099999999916</c:v>
                </c:pt>
                <c:pt idx="596">
                  <c:v>0.99846199999999907</c:v>
                </c:pt>
                <c:pt idx="597">
                  <c:v>0.99851099999999915</c:v>
                </c:pt>
                <c:pt idx="598">
                  <c:v>0.9985589999999992</c:v>
                </c:pt>
                <c:pt idx="599">
                  <c:v>0.99860499999999996</c:v>
                </c:pt>
                <c:pt idx="600">
                  <c:v>0.99865000000000004</c:v>
                </c:pt>
              </c:numCache>
            </c:numRef>
          </c:yVal>
          <c:smooth val="1"/>
        </c:ser>
        <c:dLbls>
          <c:showLegendKey val="0"/>
          <c:showVal val="0"/>
          <c:showCatName val="0"/>
          <c:showSerName val="0"/>
          <c:showPercent val="0"/>
          <c:showBubbleSize val="0"/>
        </c:dLbls>
        <c:axId val="133469696"/>
        <c:axId val="133471616"/>
      </c:scatterChart>
      <c:valAx>
        <c:axId val="133469696"/>
        <c:scaling>
          <c:orientation val="minMax"/>
          <c:max val="3"/>
          <c:min val="-3"/>
        </c:scaling>
        <c:delete val="0"/>
        <c:axPos val="b"/>
        <c:majorGridlines/>
        <c:title>
          <c:tx>
            <c:rich>
              <a:bodyPr/>
              <a:lstStyle/>
              <a:p>
                <a:pPr>
                  <a:defRPr/>
                </a:pPr>
                <a:r>
                  <a:rPr lang="en-US"/>
                  <a:t>Z - Score</a:t>
                </a:r>
              </a:p>
            </c:rich>
          </c:tx>
          <c:layout/>
          <c:overlay val="0"/>
        </c:title>
        <c:numFmt formatCode="General" sourceLinked="1"/>
        <c:majorTickMark val="out"/>
        <c:minorTickMark val="none"/>
        <c:tickLblPos val="low"/>
        <c:crossAx val="133471616"/>
        <c:crosses val="autoZero"/>
        <c:crossBetween val="midCat"/>
      </c:valAx>
      <c:valAx>
        <c:axId val="133471616"/>
        <c:scaling>
          <c:orientation val="minMax"/>
          <c:max val="1"/>
        </c:scaling>
        <c:delete val="0"/>
        <c:axPos val="l"/>
        <c:majorGridlines/>
        <c:minorGridlines/>
        <c:title>
          <c:tx>
            <c:rich>
              <a:bodyPr rot="-5400000" vert="horz"/>
              <a:lstStyle/>
              <a:p>
                <a:pPr>
                  <a:defRPr/>
                </a:pPr>
                <a:r>
                  <a:rPr lang="en-US" dirty="0" smtClean="0"/>
                  <a:t>Score</a:t>
                </a:r>
                <a:endParaRPr lang="en-US" dirty="0"/>
              </a:p>
            </c:rich>
          </c:tx>
          <c:layout/>
          <c:overlay val="0"/>
        </c:title>
        <c:numFmt formatCode="General" sourceLinked="1"/>
        <c:majorTickMark val="out"/>
        <c:minorTickMark val="none"/>
        <c:tickLblPos val="nextTo"/>
        <c:crossAx val="133469696"/>
        <c:crosses val="autoZero"/>
        <c:crossBetween val="midCat"/>
        <c:majorUnit val="0.5"/>
      </c:valAx>
    </c:plotArea>
    <c:plotVisOnly val="1"/>
    <c:dispBlanksAs val="gap"/>
    <c:showDLblsOverMax val="0"/>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pPr>
            <a:r>
              <a:rPr lang="ja-JP" altLang="en-US" sz="1400" dirty="0" smtClean="0"/>
              <a:t>ティルト乗数</a:t>
            </a:r>
            <a:endParaRPr lang="en-GB" sz="1400" dirty="0"/>
          </a:p>
        </c:rich>
      </c:tx>
      <c:overlay val="0"/>
    </c:title>
    <c:autoTitleDeleted val="0"/>
    <c:plotArea>
      <c:layout/>
      <c:lineChart>
        <c:grouping val="standard"/>
        <c:varyColors val="0"/>
        <c:ser>
          <c:idx val="0"/>
          <c:order val="0"/>
          <c:tx>
            <c:strRef>
              <c:f>Sheet1!$C$1</c:f>
              <c:strCache>
                <c:ptCount val="1"/>
                <c:pt idx="0">
                  <c:v>Fixed Tilt</c:v>
                </c:pt>
              </c:strCache>
            </c:strRef>
          </c:tx>
          <c:spPr>
            <a:ln w="38100">
              <a:solidFill>
                <a:srgbClr val="0070C0"/>
              </a:solidFill>
            </a:ln>
          </c:spPr>
          <c:marker>
            <c:symbol val="none"/>
          </c:marker>
          <c:cat>
            <c:numRef>
              <c:f>Sheet1!$A$3:$A$40</c:f>
              <c:numCache>
                <c:formatCode>m/d/yyyy</c:formatCode>
                <c:ptCount val="38"/>
                <c:pt idx="0">
                  <c:v>36787</c:v>
                </c:pt>
                <c:pt idx="1">
                  <c:v>36969</c:v>
                </c:pt>
                <c:pt idx="2">
                  <c:v>37158</c:v>
                </c:pt>
                <c:pt idx="3">
                  <c:v>37333</c:v>
                </c:pt>
                <c:pt idx="4">
                  <c:v>37522</c:v>
                </c:pt>
                <c:pt idx="5">
                  <c:v>37704</c:v>
                </c:pt>
                <c:pt idx="6">
                  <c:v>37886</c:v>
                </c:pt>
                <c:pt idx="7">
                  <c:v>38068</c:v>
                </c:pt>
                <c:pt idx="8">
                  <c:v>38250</c:v>
                </c:pt>
                <c:pt idx="9">
                  <c:v>38432</c:v>
                </c:pt>
                <c:pt idx="10">
                  <c:v>38614</c:v>
                </c:pt>
                <c:pt idx="11">
                  <c:v>38796</c:v>
                </c:pt>
                <c:pt idx="12">
                  <c:v>38978</c:v>
                </c:pt>
                <c:pt idx="13">
                  <c:v>39160</c:v>
                </c:pt>
                <c:pt idx="14">
                  <c:v>39349</c:v>
                </c:pt>
                <c:pt idx="15">
                  <c:v>39531</c:v>
                </c:pt>
                <c:pt idx="16">
                  <c:v>39713</c:v>
                </c:pt>
                <c:pt idx="17">
                  <c:v>39895</c:v>
                </c:pt>
                <c:pt idx="18">
                  <c:v>40077</c:v>
                </c:pt>
                <c:pt idx="19">
                  <c:v>40259</c:v>
                </c:pt>
                <c:pt idx="20">
                  <c:v>40441</c:v>
                </c:pt>
                <c:pt idx="21">
                  <c:v>40623</c:v>
                </c:pt>
                <c:pt idx="22">
                  <c:v>40805</c:v>
                </c:pt>
                <c:pt idx="23">
                  <c:v>40987</c:v>
                </c:pt>
                <c:pt idx="24">
                  <c:v>41176</c:v>
                </c:pt>
                <c:pt idx="25">
                  <c:v>41351</c:v>
                </c:pt>
                <c:pt idx="26">
                  <c:v>41540</c:v>
                </c:pt>
                <c:pt idx="27">
                  <c:v>41722</c:v>
                </c:pt>
                <c:pt idx="28">
                  <c:v>41904</c:v>
                </c:pt>
                <c:pt idx="29">
                  <c:v>42086</c:v>
                </c:pt>
                <c:pt idx="30">
                  <c:v>42268</c:v>
                </c:pt>
                <c:pt idx="31">
                  <c:v>42450</c:v>
                </c:pt>
                <c:pt idx="32">
                  <c:v>42632</c:v>
                </c:pt>
                <c:pt idx="33">
                  <c:v>42814</c:v>
                </c:pt>
                <c:pt idx="34">
                  <c:v>42996</c:v>
                </c:pt>
                <c:pt idx="35">
                  <c:v>43178</c:v>
                </c:pt>
                <c:pt idx="36">
                  <c:v>43367</c:v>
                </c:pt>
                <c:pt idx="37">
                  <c:v>43542</c:v>
                </c:pt>
              </c:numCache>
            </c:numRef>
          </c:cat>
          <c:val>
            <c:numRef>
              <c:f>Sheet1!$C$3:$C$40</c:f>
              <c:numCache>
                <c:formatCode>General</c:formatCode>
                <c:ptCount val="38"/>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pt idx="15">
                  <c:v>1</c:v>
                </c:pt>
                <c:pt idx="16">
                  <c:v>1</c:v>
                </c:pt>
                <c:pt idx="17">
                  <c:v>1</c:v>
                </c:pt>
                <c:pt idx="18">
                  <c:v>1</c:v>
                </c:pt>
                <c:pt idx="19">
                  <c:v>1</c:v>
                </c:pt>
                <c:pt idx="20">
                  <c:v>1</c:v>
                </c:pt>
                <c:pt idx="21">
                  <c:v>1</c:v>
                </c:pt>
                <c:pt idx="22">
                  <c:v>1</c:v>
                </c:pt>
                <c:pt idx="23">
                  <c:v>1</c:v>
                </c:pt>
                <c:pt idx="24">
                  <c:v>1</c:v>
                </c:pt>
                <c:pt idx="25">
                  <c:v>1</c:v>
                </c:pt>
                <c:pt idx="26">
                  <c:v>1</c:v>
                </c:pt>
                <c:pt idx="27">
                  <c:v>1</c:v>
                </c:pt>
                <c:pt idx="28">
                  <c:v>1</c:v>
                </c:pt>
                <c:pt idx="29">
                  <c:v>1</c:v>
                </c:pt>
                <c:pt idx="30">
                  <c:v>1</c:v>
                </c:pt>
                <c:pt idx="31">
                  <c:v>1</c:v>
                </c:pt>
                <c:pt idx="32">
                  <c:v>1</c:v>
                </c:pt>
                <c:pt idx="33">
                  <c:v>1</c:v>
                </c:pt>
                <c:pt idx="34">
                  <c:v>1</c:v>
                </c:pt>
                <c:pt idx="35">
                  <c:v>1</c:v>
                </c:pt>
                <c:pt idx="36">
                  <c:v>1</c:v>
                </c:pt>
                <c:pt idx="37">
                  <c:v>1</c:v>
                </c:pt>
              </c:numCache>
            </c:numRef>
          </c:val>
          <c:smooth val="0"/>
        </c:ser>
        <c:ser>
          <c:idx val="1"/>
          <c:order val="1"/>
          <c:tx>
            <c:strRef>
              <c:f>Sheet1!$F$1</c:f>
              <c:strCache>
                <c:ptCount val="1"/>
                <c:pt idx="0">
                  <c:v>Fixed Exposure</c:v>
                </c:pt>
              </c:strCache>
            </c:strRef>
          </c:tx>
          <c:spPr>
            <a:ln w="38100">
              <a:solidFill>
                <a:srgbClr val="C00000"/>
              </a:solidFill>
            </a:ln>
          </c:spPr>
          <c:marker>
            <c:symbol val="none"/>
          </c:marker>
          <c:cat>
            <c:numRef>
              <c:f>Sheet1!$A$3:$A$40</c:f>
              <c:numCache>
                <c:formatCode>m/d/yyyy</c:formatCode>
                <c:ptCount val="38"/>
                <c:pt idx="0">
                  <c:v>36787</c:v>
                </c:pt>
                <c:pt idx="1">
                  <c:v>36969</c:v>
                </c:pt>
                <c:pt idx="2">
                  <c:v>37158</c:v>
                </c:pt>
                <c:pt idx="3">
                  <c:v>37333</c:v>
                </c:pt>
                <c:pt idx="4">
                  <c:v>37522</c:v>
                </c:pt>
                <c:pt idx="5">
                  <c:v>37704</c:v>
                </c:pt>
                <c:pt idx="6">
                  <c:v>37886</c:v>
                </c:pt>
                <c:pt idx="7">
                  <c:v>38068</c:v>
                </c:pt>
                <c:pt idx="8">
                  <c:v>38250</c:v>
                </c:pt>
                <c:pt idx="9">
                  <c:v>38432</c:v>
                </c:pt>
                <c:pt idx="10">
                  <c:v>38614</c:v>
                </c:pt>
                <c:pt idx="11">
                  <c:v>38796</c:v>
                </c:pt>
                <c:pt idx="12">
                  <c:v>38978</c:v>
                </c:pt>
                <c:pt idx="13">
                  <c:v>39160</c:v>
                </c:pt>
                <c:pt idx="14">
                  <c:v>39349</c:v>
                </c:pt>
                <c:pt idx="15">
                  <c:v>39531</c:v>
                </c:pt>
                <c:pt idx="16">
                  <c:v>39713</c:v>
                </c:pt>
                <c:pt idx="17">
                  <c:v>39895</c:v>
                </c:pt>
                <c:pt idx="18">
                  <c:v>40077</c:v>
                </c:pt>
                <c:pt idx="19">
                  <c:v>40259</c:v>
                </c:pt>
                <c:pt idx="20">
                  <c:v>40441</c:v>
                </c:pt>
                <c:pt idx="21">
                  <c:v>40623</c:v>
                </c:pt>
                <c:pt idx="22">
                  <c:v>40805</c:v>
                </c:pt>
                <c:pt idx="23">
                  <c:v>40987</c:v>
                </c:pt>
                <c:pt idx="24">
                  <c:v>41176</c:v>
                </c:pt>
                <c:pt idx="25">
                  <c:v>41351</c:v>
                </c:pt>
                <c:pt idx="26">
                  <c:v>41540</c:v>
                </c:pt>
                <c:pt idx="27">
                  <c:v>41722</c:v>
                </c:pt>
                <c:pt idx="28">
                  <c:v>41904</c:v>
                </c:pt>
                <c:pt idx="29">
                  <c:v>42086</c:v>
                </c:pt>
                <c:pt idx="30">
                  <c:v>42268</c:v>
                </c:pt>
                <c:pt idx="31">
                  <c:v>42450</c:v>
                </c:pt>
                <c:pt idx="32">
                  <c:v>42632</c:v>
                </c:pt>
                <c:pt idx="33">
                  <c:v>42814</c:v>
                </c:pt>
                <c:pt idx="34">
                  <c:v>42996</c:v>
                </c:pt>
                <c:pt idx="35">
                  <c:v>43178</c:v>
                </c:pt>
                <c:pt idx="36">
                  <c:v>43367</c:v>
                </c:pt>
                <c:pt idx="37">
                  <c:v>43542</c:v>
                </c:pt>
              </c:numCache>
            </c:numRef>
          </c:cat>
          <c:val>
            <c:numRef>
              <c:f>Sheet1!$F$3:$F$40</c:f>
              <c:numCache>
                <c:formatCode>General</c:formatCode>
                <c:ptCount val="38"/>
                <c:pt idx="0">
                  <c:v>1.0514600000000001</c:v>
                </c:pt>
                <c:pt idx="1">
                  <c:v>1.10345</c:v>
                </c:pt>
                <c:pt idx="2">
                  <c:v>1.20137</c:v>
                </c:pt>
                <c:pt idx="3">
                  <c:v>1.11826</c:v>
                </c:pt>
                <c:pt idx="4">
                  <c:v>1.23132</c:v>
                </c:pt>
                <c:pt idx="5">
                  <c:v>1.22438</c:v>
                </c:pt>
                <c:pt idx="6">
                  <c:v>0.93573600000000001</c:v>
                </c:pt>
                <c:pt idx="7">
                  <c:v>0.93287100000000001</c:v>
                </c:pt>
                <c:pt idx="8">
                  <c:v>1.0600700000000001</c:v>
                </c:pt>
                <c:pt idx="9">
                  <c:v>1.02071</c:v>
                </c:pt>
                <c:pt idx="10">
                  <c:v>0.917014</c:v>
                </c:pt>
                <c:pt idx="11">
                  <c:v>0.84409299999999998</c:v>
                </c:pt>
                <c:pt idx="12">
                  <c:v>0.78113299999999997</c:v>
                </c:pt>
                <c:pt idx="13">
                  <c:v>0.74675100000000005</c:v>
                </c:pt>
                <c:pt idx="14">
                  <c:v>0.80613500000000005</c:v>
                </c:pt>
                <c:pt idx="15">
                  <c:v>0.86919999999999997</c:v>
                </c:pt>
                <c:pt idx="16">
                  <c:v>1.00295</c:v>
                </c:pt>
                <c:pt idx="17">
                  <c:v>1.11877</c:v>
                </c:pt>
                <c:pt idx="18">
                  <c:v>1.0829899999999999</c:v>
                </c:pt>
                <c:pt idx="19">
                  <c:v>1.1524799999999999</c:v>
                </c:pt>
                <c:pt idx="20">
                  <c:v>1.1398299999999999</c:v>
                </c:pt>
                <c:pt idx="21">
                  <c:v>1.0424800000000001</c:v>
                </c:pt>
                <c:pt idx="22">
                  <c:v>1.0803799999999999</c:v>
                </c:pt>
                <c:pt idx="23">
                  <c:v>1.02765</c:v>
                </c:pt>
                <c:pt idx="24">
                  <c:v>1.1329199999999999</c:v>
                </c:pt>
                <c:pt idx="25">
                  <c:v>0.98907100000000003</c:v>
                </c:pt>
                <c:pt idx="26">
                  <c:v>0.96732399999999996</c:v>
                </c:pt>
                <c:pt idx="27">
                  <c:v>0.99370199999999997</c:v>
                </c:pt>
                <c:pt idx="28">
                  <c:v>1.0184200000000001</c:v>
                </c:pt>
                <c:pt idx="29">
                  <c:v>1.01671</c:v>
                </c:pt>
                <c:pt idx="30">
                  <c:v>0.97153900000000004</c:v>
                </c:pt>
                <c:pt idx="31">
                  <c:v>0.98228499999999996</c:v>
                </c:pt>
                <c:pt idx="32">
                  <c:v>0.98147700000000004</c:v>
                </c:pt>
                <c:pt idx="33">
                  <c:v>0.99069099999999999</c:v>
                </c:pt>
                <c:pt idx="34">
                  <c:v>1.0027200000000001</c:v>
                </c:pt>
                <c:pt idx="35">
                  <c:v>0.95065</c:v>
                </c:pt>
                <c:pt idx="36">
                  <c:v>0.95291999999999999</c:v>
                </c:pt>
                <c:pt idx="37">
                  <c:v>1.01024</c:v>
                </c:pt>
              </c:numCache>
            </c:numRef>
          </c:val>
          <c:smooth val="0"/>
        </c:ser>
        <c:dLbls>
          <c:showLegendKey val="0"/>
          <c:showVal val="0"/>
          <c:showCatName val="0"/>
          <c:showSerName val="0"/>
          <c:showPercent val="0"/>
          <c:showBubbleSize val="0"/>
        </c:dLbls>
        <c:marker val="1"/>
        <c:smooth val="0"/>
        <c:axId val="167759872"/>
        <c:axId val="167761408"/>
      </c:lineChart>
      <c:dateAx>
        <c:axId val="167759872"/>
        <c:scaling>
          <c:orientation val="minMax"/>
        </c:scaling>
        <c:delete val="0"/>
        <c:axPos val="b"/>
        <c:majorGridlines/>
        <c:numFmt formatCode="mmm\-yy" sourceLinked="0"/>
        <c:majorTickMark val="out"/>
        <c:minorTickMark val="none"/>
        <c:tickLblPos val="nextTo"/>
        <c:crossAx val="167761408"/>
        <c:crosses val="autoZero"/>
        <c:auto val="1"/>
        <c:lblOffset val="100"/>
        <c:baseTimeUnit val="months"/>
        <c:majorUnit val="4"/>
        <c:majorTimeUnit val="years"/>
      </c:dateAx>
      <c:valAx>
        <c:axId val="167761408"/>
        <c:scaling>
          <c:orientation val="minMax"/>
          <c:min val="0.4"/>
        </c:scaling>
        <c:delete val="0"/>
        <c:axPos val="l"/>
        <c:majorGridlines/>
        <c:numFmt formatCode="General" sourceLinked="1"/>
        <c:majorTickMark val="out"/>
        <c:minorTickMark val="none"/>
        <c:tickLblPos val="nextTo"/>
        <c:crossAx val="167759872"/>
        <c:crosses val="autoZero"/>
        <c:crossBetween val="between"/>
      </c:valAx>
    </c:plotArea>
    <c:legend>
      <c:legendPos val="b"/>
      <c:overlay val="0"/>
    </c:legend>
    <c:plotVisOnly val="1"/>
    <c:dispBlanksAs val="gap"/>
    <c:showDLblsOverMax val="0"/>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pPr>
            <a:r>
              <a:rPr lang="ja-JP" altLang="en-US" sz="1400" dirty="0" smtClean="0"/>
              <a:t>アクティブ・エクスポージャ</a:t>
            </a:r>
            <a:endParaRPr lang="en-GB" sz="1400" dirty="0"/>
          </a:p>
        </c:rich>
      </c:tx>
      <c:overlay val="0"/>
    </c:title>
    <c:autoTitleDeleted val="0"/>
    <c:plotArea>
      <c:layout/>
      <c:lineChart>
        <c:grouping val="standard"/>
        <c:varyColors val="0"/>
        <c:ser>
          <c:idx val="0"/>
          <c:order val="0"/>
          <c:tx>
            <c:strRef>
              <c:f>Sheet1!$C$1</c:f>
              <c:strCache>
                <c:ptCount val="1"/>
                <c:pt idx="0">
                  <c:v>Fixed Tilt</c:v>
                </c:pt>
              </c:strCache>
            </c:strRef>
          </c:tx>
          <c:spPr>
            <a:ln w="38100">
              <a:solidFill>
                <a:srgbClr val="0070C0"/>
              </a:solidFill>
            </a:ln>
          </c:spPr>
          <c:marker>
            <c:symbol val="none"/>
          </c:marker>
          <c:cat>
            <c:numRef>
              <c:f>Sheet1!$A$3:$A$40</c:f>
              <c:numCache>
                <c:formatCode>m/d/yyyy</c:formatCode>
                <c:ptCount val="38"/>
                <c:pt idx="0">
                  <c:v>36787</c:v>
                </c:pt>
                <c:pt idx="1">
                  <c:v>36969</c:v>
                </c:pt>
                <c:pt idx="2">
                  <c:v>37158</c:v>
                </c:pt>
                <c:pt idx="3">
                  <c:v>37333</c:v>
                </c:pt>
                <c:pt idx="4">
                  <c:v>37522</c:v>
                </c:pt>
                <c:pt idx="5">
                  <c:v>37704</c:v>
                </c:pt>
                <c:pt idx="6">
                  <c:v>37886</c:v>
                </c:pt>
                <c:pt idx="7">
                  <c:v>38068</c:v>
                </c:pt>
                <c:pt idx="8">
                  <c:v>38250</c:v>
                </c:pt>
                <c:pt idx="9">
                  <c:v>38432</c:v>
                </c:pt>
                <c:pt idx="10">
                  <c:v>38614</c:v>
                </c:pt>
                <c:pt idx="11">
                  <c:v>38796</c:v>
                </c:pt>
                <c:pt idx="12">
                  <c:v>38978</c:v>
                </c:pt>
                <c:pt idx="13">
                  <c:v>39160</c:v>
                </c:pt>
                <c:pt idx="14">
                  <c:v>39349</c:v>
                </c:pt>
                <c:pt idx="15">
                  <c:v>39531</c:v>
                </c:pt>
                <c:pt idx="16">
                  <c:v>39713</c:v>
                </c:pt>
                <c:pt idx="17">
                  <c:v>39895</c:v>
                </c:pt>
                <c:pt idx="18">
                  <c:v>40077</c:v>
                </c:pt>
                <c:pt idx="19">
                  <c:v>40259</c:v>
                </c:pt>
                <c:pt idx="20">
                  <c:v>40441</c:v>
                </c:pt>
                <c:pt idx="21">
                  <c:v>40623</c:v>
                </c:pt>
                <c:pt idx="22">
                  <c:v>40805</c:v>
                </c:pt>
                <c:pt idx="23">
                  <c:v>40987</c:v>
                </c:pt>
                <c:pt idx="24">
                  <c:v>41176</c:v>
                </c:pt>
                <c:pt idx="25">
                  <c:v>41351</c:v>
                </c:pt>
                <c:pt idx="26">
                  <c:v>41540</c:v>
                </c:pt>
                <c:pt idx="27">
                  <c:v>41722</c:v>
                </c:pt>
                <c:pt idx="28">
                  <c:v>41904</c:v>
                </c:pt>
                <c:pt idx="29">
                  <c:v>42086</c:v>
                </c:pt>
                <c:pt idx="30">
                  <c:v>42268</c:v>
                </c:pt>
                <c:pt idx="31">
                  <c:v>42450</c:v>
                </c:pt>
                <c:pt idx="32">
                  <c:v>42632</c:v>
                </c:pt>
                <c:pt idx="33">
                  <c:v>42814</c:v>
                </c:pt>
                <c:pt idx="34">
                  <c:v>42996</c:v>
                </c:pt>
                <c:pt idx="35">
                  <c:v>43178</c:v>
                </c:pt>
                <c:pt idx="36">
                  <c:v>43367</c:v>
                </c:pt>
                <c:pt idx="37">
                  <c:v>43542</c:v>
                </c:pt>
              </c:numCache>
            </c:numRef>
          </c:cat>
          <c:val>
            <c:numRef>
              <c:f>Sheet1!$D$3:$D$40</c:f>
              <c:numCache>
                <c:formatCode>General</c:formatCode>
                <c:ptCount val="38"/>
                <c:pt idx="0">
                  <c:v>0.42632599999999998</c:v>
                </c:pt>
                <c:pt idx="1">
                  <c:v>0.40765299999999999</c:v>
                </c:pt>
                <c:pt idx="2">
                  <c:v>0.37320599999999998</c:v>
                </c:pt>
                <c:pt idx="3">
                  <c:v>0.40385900000000002</c:v>
                </c:pt>
                <c:pt idx="4">
                  <c:v>0.36902299999999999</c:v>
                </c:pt>
                <c:pt idx="5">
                  <c:v>0.37345699999999998</c:v>
                </c:pt>
                <c:pt idx="6">
                  <c:v>0.47450900000000001</c:v>
                </c:pt>
                <c:pt idx="7">
                  <c:v>0.47518100000000002</c:v>
                </c:pt>
                <c:pt idx="8">
                  <c:v>0.429122</c:v>
                </c:pt>
                <c:pt idx="9">
                  <c:v>0.44253999999999999</c:v>
                </c:pt>
                <c:pt idx="10">
                  <c:v>0.48145100000000002</c:v>
                </c:pt>
                <c:pt idx="11">
                  <c:v>0.51220399999999999</c:v>
                </c:pt>
                <c:pt idx="12">
                  <c:v>0.55008299999999999</c:v>
                </c:pt>
                <c:pt idx="13">
                  <c:v>0.57346200000000003</c:v>
                </c:pt>
                <c:pt idx="14">
                  <c:v>0.53873099999999996</c:v>
                </c:pt>
                <c:pt idx="15">
                  <c:v>0.51075499999999996</c:v>
                </c:pt>
                <c:pt idx="16">
                  <c:v>0.44882</c:v>
                </c:pt>
                <c:pt idx="17">
                  <c:v>0.399119</c:v>
                </c:pt>
                <c:pt idx="18">
                  <c:v>0.42194700000000002</c:v>
                </c:pt>
                <c:pt idx="19">
                  <c:v>0.40139200000000003</c:v>
                </c:pt>
                <c:pt idx="20">
                  <c:v>0.40233999999999998</c:v>
                </c:pt>
                <c:pt idx="21">
                  <c:v>0.43417899999999998</c:v>
                </c:pt>
                <c:pt idx="22">
                  <c:v>0.41822900000000002</c:v>
                </c:pt>
                <c:pt idx="23">
                  <c:v>0.43861800000000001</c:v>
                </c:pt>
                <c:pt idx="24">
                  <c:v>0.39823599999999998</c:v>
                </c:pt>
                <c:pt idx="25">
                  <c:v>0.45462399999999997</c:v>
                </c:pt>
                <c:pt idx="26">
                  <c:v>0.463169</c:v>
                </c:pt>
                <c:pt idx="27">
                  <c:v>0.45247500000000002</c:v>
                </c:pt>
                <c:pt idx="28">
                  <c:v>0.44304700000000002</c:v>
                </c:pt>
                <c:pt idx="29">
                  <c:v>0.44356000000000001</c:v>
                </c:pt>
                <c:pt idx="30">
                  <c:v>0.46180900000000003</c:v>
                </c:pt>
                <c:pt idx="31">
                  <c:v>0.45741100000000001</c:v>
                </c:pt>
                <c:pt idx="32">
                  <c:v>0.458065</c:v>
                </c:pt>
                <c:pt idx="33">
                  <c:v>0.453982</c:v>
                </c:pt>
                <c:pt idx="34">
                  <c:v>0.44880599999999998</c:v>
                </c:pt>
                <c:pt idx="35">
                  <c:v>0.47213500000000003</c:v>
                </c:pt>
                <c:pt idx="36">
                  <c:v>0.472242</c:v>
                </c:pt>
                <c:pt idx="37">
                  <c:v>0.44557999999999998</c:v>
                </c:pt>
              </c:numCache>
            </c:numRef>
          </c:val>
          <c:smooth val="0"/>
        </c:ser>
        <c:ser>
          <c:idx val="1"/>
          <c:order val="1"/>
          <c:tx>
            <c:strRef>
              <c:f>Sheet1!$F$1</c:f>
              <c:strCache>
                <c:ptCount val="1"/>
                <c:pt idx="0">
                  <c:v>Fixed Exposure</c:v>
                </c:pt>
              </c:strCache>
            </c:strRef>
          </c:tx>
          <c:spPr>
            <a:ln w="38100">
              <a:solidFill>
                <a:srgbClr val="C00000"/>
              </a:solidFill>
            </a:ln>
          </c:spPr>
          <c:marker>
            <c:symbol val="none"/>
          </c:marker>
          <c:cat>
            <c:numRef>
              <c:f>Sheet1!$A$3:$A$40</c:f>
              <c:numCache>
                <c:formatCode>m/d/yyyy</c:formatCode>
                <c:ptCount val="38"/>
                <c:pt idx="0">
                  <c:v>36787</c:v>
                </c:pt>
                <c:pt idx="1">
                  <c:v>36969</c:v>
                </c:pt>
                <c:pt idx="2">
                  <c:v>37158</c:v>
                </c:pt>
                <c:pt idx="3">
                  <c:v>37333</c:v>
                </c:pt>
                <c:pt idx="4">
                  <c:v>37522</c:v>
                </c:pt>
                <c:pt idx="5">
                  <c:v>37704</c:v>
                </c:pt>
                <c:pt idx="6">
                  <c:v>37886</c:v>
                </c:pt>
                <c:pt idx="7">
                  <c:v>38068</c:v>
                </c:pt>
                <c:pt idx="8">
                  <c:v>38250</c:v>
                </c:pt>
                <c:pt idx="9">
                  <c:v>38432</c:v>
                </c:pt>
                <c:pt idx="10">
                  <c:v>38614</c:v>
                </c:pt>
                <c:pt idx="11">
                  <c:v>38796</c:v>
                </c:pt>
                <c:pt idx="12">
                  <c:v>38978</c:v>
                </c:pt>
                <c:pt idx="13">
                  <c:v>39160</c:v>
                </c:pt>
                <c:pt idx="14">
                  <c:v>39349</c:v>
                </c:pt>
                <c:pt idx="15">
                  <c:v>39531</c:v>
                </c:pt>
                <c:pt idx="16">
                  <c:v>39713</c:v>
                </c:pt>
                <c:pt idx="17">
                  <c:v>39895</c:v>
                </c:pt>
                <c:pt idx="18">
                  <c:v>40077</c:v>
                </c:pt>
                <c:pt idx="19">
                  <c:v>40259</c:v>
                </c:pt>
                <c:pt idx="20">
                  <c:v>40441</c:v>
                </c:pt>
                <c:pt idx="21">
                  <c:v>40623</c:v>
                </c:pt>
                <c:pt idx="22">
                  <c:v>40805</c:v>
                </c:pt>
                <c:pt idx="23">
                  <c:v>40987</c:v>
                </c:pt>
                <c:pt idx="24">
                  <c:v>41176</c:v>
                </c:pt>
                <c:pt idx="25">
                  <c:v>41351</c:v>
                </c:pt>
                <c:pt idx="26">
                  <c:v>41540</c:v>
                </c:pt>
                <c:pt idx="27">
                  <c:v>41722</c:v>
                </c:pt>
                <c:pt idx="28">
                  <c:v>41904</c:v>
                </c:pt>
                <c:pt idx="29">
                  <c:v>42086</c:v>
                </c:pt>
                <c:pt idx="30">
                  <c:v>42268</c:v>
                </c:pt>
                <c:pt idx="31">
                  <c:v>42450</c:v>
                </c:pt>
                <c:pt idx="32">
                  <c:v>42632</c:v>
                </c:pt>
                <c:pt idx="33">
                  <c:v>42814</c:v>
                </c:pt>
                <c:pt idx="34">
                  <c:v>42996</c:v>
                </c:pt>
                <c:pt idx="35">
                  <c:v>43178</c:v>
                </c:pt>
                <c:pt idx="36">
                  <c:v>43367</c:v>
                </c:pt>
                <c:pt idx="37">
                  <c:v>43542</c:v>
                </c:pt>
              </c:numCache>
            </c:numRef>
          </c:cat>
          <c:val>
            <c:numRef>
              <c:f>Sheet1!$H$3:$H$40</c:f>
              <c:numCache>
                <c:formatCode>General</c:formatCode>
                <c:ptCount val="38"/>
                <c:pt idx="0">
                  <c:v>0.45</c:v>
                </c:pt>
                <c:pt idx="1">
                  <c:v>0.45</c:v>
                </c:pt>
                <c:pt idx="2">
                  <c:v>0.45</c:v>
                </c:pt>
                <c:pt idx="3">
                  <c:v>0.45</c:v>
                </c:pt>
                <c:pt idx="4">
                  <c:v>0.45</c:v>
                </c:pt>
                <c:pt idx="5">
                  <c:v>0.45</c:v>
                </c:pt>
                <c:pt idx="6">
                  <c:v>0.45</c:v>
                </c:pt>
                <c:pt idx="7">
                  <c:v>0.45</c:v>
                </c:pt>
                <c:pt idx="8">
                  <c:v>0.45</c:v>
                </c:pt>
                <c:pt idx="9">
                  <c:v>0.45</c:v>
                </c:pt>
                <c:pt idx="10">
                  <c:v>0.45</c:v>
                </c:pt>
                <c:pt idx="11">
                  <c:v>0.45</c:v>
                </c:pt>
                <c:pt idx="12">
                  <c:v>0.45</c:v>
                </c:pt>
                <c:pt idx="13">
                  <c:v>0.45</c:v>
                </c:pt>
                <c:pt idx="14">
                  <c:v>0.45</c:v>
                </c:pt>
                <c:pt idx="15">
                  <c:v>0.45</c:v>
                </c:pt>
                <c:pt idx="16">
                  <c:v>0.45</c:v>
                </c:pt>
                <c:pt idx="17">
                  <c:v>0.45</c:v>
                </c:pt>
                <c:pt idx="18">
                  <c:v>0.45</c:v>
                </c:pt>
                <c:pt idx="19">
                  <c:v>0.45</c:v>
                </c:pt>
                <c:pt idx="20">
                  <c:v>0.45</c:v>
                </c:pt>
                <c:pt idx="21">
                  <c:v>0.45</c:v>
                </c:pt>
                <c:pt idx="22">
                  <c:v>0.45</c:v>
                </c:pt>
                <c:pt idx="23">
                  <c:v>0.45</c:v>
                </c:pt>
                <c:pt idx="24">
                  <c:v>0.45</c:v>
                </c:pt>
                <c:pt idx="25">
                  <c:v>0.45</c:v>
                </c:pt>
                <c:pt idx="26">
                  <c:v>0.45</c:v>
                </c:pt>
                <c:pt idx="27">
                  <c:v>0.45</c:v>
                </c:pt>
                <c:pt idx="28">
                  <c:v>0.45</c:v>
                </c:pt>
                <c:pt idx="29">
                  <c:v>0.45</c:v>
                </c:pt>
                <c:pt idx="30">
                  <c:v>0.45</c:v>
                </c:pt>
                <c:pt idx="31">
                  <c:v>0.45</c:v>
                </c:pt>
                <c:pt idx="32">
                  <c:v>0.45</c:v>
                </c:pt>
                <c:pt idx="33">
                  <c:v>0.45</c:v>
                </c:pt>
                <c:pt idx="34">
                  <c:v>0.45</c:v>
                </c:pt>
                <c:pt idx="35">
                  <c:v>0.45</c:v>
                </c:pt>
                <c:pt idx="36">
                  <c:v>0.45</c:v>
                </c:pt>
                <c:pt idx="37">
                  <c:v>0.45</c:v>
                </c:pt>
              </c:numCache>
            </c:numRef>
          </c:val>
          <c:smooth val="0"/>
        </c:ser>
        <c:dLbls>
          <c:showLegendKey val="0"/>
          <c:showVal val="0"/>
          <c:showCatName val="0"/>
          <c:showSerName val="0"/>
          <c:showPercent val="0"/>
          <c:showBubbleSize val="0"/>
        </c:dLbls>
        <c:marker val="1"/>
        <c:smooth val="0"/>
        <c:axId val="168397056"/>
        <c:axId val="168411136"/>
      </c:lineChart>
      <c:dateAx>
        <c:axId val="168397056"/>
        <c:scaling>
          <c:orientation val="minMax"/>
        </c:scaling>
        <c:delete val="0"/>
        <c:axPos val="b"/>
        <c:majorGridlines/>
        <c:numFmt formatCode="mmm\-yy" sourceLinked="0"/>
        <c:majorTickMark val="out"/>
        <c:minorTickMark val="none"/>
        <c:tickLblPos val="nextTo"/>
        <c:crossAx val="168411136"/>
        <c:crosses val="autoZero"/>
        <c:auto val="1"/>
        <c:lblOffset val="100"/>
        <c:baseTimeUnit val="months"/>
        <c:majorUnit val="4"/>
        <c:majorTimeUnit val="years"/>
      </c:dateAx>
      <c:valAx>
        <c:axId val="168411136"/>
        <c:scaling>
          <c:orientation val="minMax"/>
          <c:min val="0.2"/>
        </c:scaling>
        <c:delete val="0"/>
        <c:axPos val="l"/>
        <c:majorGridlines/>
        <c:numFmt formatCode="General" sourceLinked="1"/>
        <c:majorTickMark val="out"/>
        <c:minorTickMark val="none"/>
        <c:tickLblPos val="nextTo"/>
        <c:crossAx val="168397056"/>
        <c:crosses val="autoZero"/>
        <c:crossBetween val="between"/>
        <c:majorUnit val="0.1"/>
      </c:valAx>
    </c:plotArea>
    <c:legend>
      <c:legendPos val="b"/>
      <c:overlay val="0"/>
    </c:legend>
    <c:plotVisOnly val="1"/>
    <c:dispBlanksAs val="gap"/>
    <c:showDLblsOverMax val="0"/>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pPr>
            <a:r>
              <a:rPr lang="ja-JP" altLang="en-US" sz="1400" dirty="0" smtClean="0"/>
              <a:t>ティルト乗数</a:t>
            </a:r>
          </a:p>
        </c:rich>
      </c:tx>
      <c:overlay val="0"/>
    </c:title>
    <c:autoTitleDeleted val="0"/>
    <c:plotArea>
      <c:layout/>
      <c:lineChart>
        <c:grouping val="standard"/>
        <c:varyColors val="0"/>
        <c:ser>
          <c:idx val="0"/>
          <c:order val="0"/>
          <c:tx>
            <c:strRef>
              <c:f>Sheet2!$B$2</c:f>
              <c:strCache>
                <c:ptCount val="1"/>
                <c:pt idx="0">
                  <c:v>Value</c:v>
                </c:pt>
              </c:strCache>
            </c:strRef>
          </c:tx>
          <c:spPr>
            <a:ln w="38100">
              <a:solidFill>
                <a:srgbClr val="C00000"/>
              </a:solidFill>
            </a:ln>
          </c:spPr>
          <c:marker>
            <c:symbol val="none"/>
          </c:marker>
          <c:cat>
            <c:numRef>
              <c:f>Sheet2!$A$3:$A$40</c:f>
              <c:numCache>
                <c:formatCode>m/d/yyyy</c:formatCode>
                <c:ptCount val="38"/>
                <c:pt idx="0">
                  <c:v>36787</c:v>
                </c:pt>
                <c:pt idx="1">
                  <c:v>36969</c:v>
                </c:pt>
                <c:pt idx="2">
                  <c:v>37158</c:v>
                </c:pt>
                <c:pt idx="3">
                  <c:v>37333</c:v>
                </c:pt>
                <c:pt idx="4">
                  <c:v>37522</c:v>
                </c:pt>
                <c:pt idx="5">
                  <c:v>37704</c:v>
                </c:pt>
                <c:pt idx="6">
                  <c:v>37886</c:v>
                </c:pt>
                <c:pt idx="7">
                  <c:v>38068</c:v>
                </c:pt>
                <c:pt idx="8">
                  <c:v>38250</c:v>
                </c:pt>
                <c:pt idx="9">
                  <c:v>38432</c:v>
                </c:pt>
                <c:pt idx="10">
                  <c:v>38614</c:v>
                </c:pt>
                <c:pt idx="11">
                  <c:v>38796</c:v>
                </c:pt>
                <c:pt idx="12">
                  <c:v>38978</c:v>
                </c:pt>
                <c:pt idx="13">
                  <c:v>39160</c:v>
                </c:pt>
                <c:pt idx="14">
                  <c:v>39349</c:v>
                </c:pt>
                <c:pt idx="15">
                  <c:v>39531</c:v>
                </c:pt>
                <c:pt idx="16">
                  <c:v>39713</c:v>
                </c:pt>
                <c:pt idx="17">
                  <c:v>39895</c:v>
                </c:pt>
                <c:pt idx="18">
                  <c:v>40077</c:v>
                </c:pt>
                <c:pt idx="19">
                  <c:v>40259</c:v>
                </c:pt>
                <c:pt idx="20">
                  <c:v>40441</c:v>
                </c:pt>
                <c:pt idx="21">
                  <c:v>40623</c:v>
                </c:pt>
                <c:pt idx="22">
                  <c:v>40805</c:v>
                </c:pt>
                <c:pt idx="23">
                  <c:v>40987</c:v>
                </c:pt>
                <c:pt idx="24">
                  <c:v>41176</c:v>
                </c:pt>
                <c:pt idx="25">
                  <c:v>41351</c:v>
                </c:pt>
                <c:pt idx="26">
                  <c:v>41540</c:v>
                </c:pt>
                <c:pt idx="27">
                  <c:v>41722</c:v>
                </c:pt>
                <c:pt idx="28">
                  <c:v>41904</c:v>
                </c:pt>
                <c:pt idx="29">
                  <c:v>42086</c:v>
                </c:pt>
                <c:pt idx="30">
                  <c:v>42268</c:v>
                </c:pt>
                <c:pt idx="31">
                  <c:v>42450</c:v>
                </c:pt>
                <c:pt idx="32">
                  <c:v>42632</c:v>
                </c:pt>
                <c:pt idx="33">
                  <c:v>42814</c:v>
                </c:pt>
                <c:pt idx="34">
                  <c:v>42996</c:v>
                </c:pt>
                <c:pt idx="35">
                  <c:v>43178</c:v>
                </c:pt>
                <c:pt idx="36">
                  <c:v>43367</c:v>
                </c:pt>
                <c:pt idx="37">
                  <c:v>43542</c:v>
                </c:pt>
              </c:numCache>
            </c:numRef>
          </c:cat>
          <c:val>
            <c:numRef>
              <c:f>Sheet2!$B$3:$B$40</c:f>
              <c:numCache>
                <c:formatCode>General</c:formatCode>
                <c:ptCount val="38"/>
                <c:pt idx="0">
                  <c:v>1.4543200000000001</c:v>
                </c:pt>
                <c:pt idx="1">
                  <c:v>1.1591899999999999</c:v>
                </c:pt>
                <c:pt idx="2">
                  <c:v>1.24508</c:v>
                </c:pt>
                <c:pt idx="3">
                  <c:v>1.23108</c:v>
                </c:pt>
                <c:pt idx="4">
                  <c:v>1.4186700000000001</c:v>
                </c:pt>
                <c:pt idx="5">
                  <c:v>1.4739100000000001</c:v>
                </c:pt>
                <c:pt idx="6">
                  <c:v>1.1310800000000001</c:v>
                </c:pt>
                <c:pt idx="7">
                  <c:v>0.98757799999999996</c:v>
                </c:pt>
                <c:pt idx="8">
                  <c:v>1.22462</c:v>
                </c:pt>
                <c:pt idx="9">
                  <c:v>1.2109000000000001</c:v>
                </c:pt>
                <c:pt idx="10">
                  <c:v>1.09453</c:v>
                </c:pt>
                <c:pt idx="11">
                  <c:v>0.99272400000000005</c:v>
                </c:pt>
                <c:pt idx="12">
                  <c:v>0.98303799999999997</c:v>
                </c:pt>
                <c:pt idx="13">
                  <c:v>0.90306900000000001</c:v>
                </c:pt>
                <c:pt idx="14">
                  <c:v>1.06779</c:v>
                </c:pt>
                <c:pt idx="15">
                  <c:v>1.33256</c:v>
                </c:pt>
                <c:pt idx="16">
                  <c:v>1.59585</c:v>
                </c:pt>
                <c:pt idx="17">
                  <c:v>2.14093</c:v>
                </c:pt>
                <c:pt idx="18">
                  <c:v>1.13087</c:v>
                </c:pt>
                <c:pt idx="19">
                  <c:v>1.2708699999999999</c:v>
                </c:pt>
                <c:pt idx="20">
                  <c:v>1.43319</c:v>
                </c:pt>
                <c:pt idx="21">
                  <c:v>1.42177</c:v>
                </c:pt>
                <c:pt idx="22">
                  <c:v>1.5382100000000001</c:v>
                </c:pt>
                <c:pt idx="23">
                  <c:v>1.47997</c:v>
                </c:pt>
                <c:pt idx="24">
                  <c:v>1.57134</c:v>
                </c:pt>
                <c:pt idx="25">
                  <c:v>1.28898</c:v>
                </c:pt>
                <c:pt idx="26">
                  <c:v>1.1168199999999999</c:v>
                </c:pt>
                <c:pt idx="27">
                  <c:v>1.1357999999999999</c:v>
                </c:pt>
                <c:pt idx="28">
                  <c:v>1.3948799999999999</c:v>
                </c:pt>
                <c:pt idx="29">
                  <c:v>1.39445</c:v>
                </c:pt>
                <c:pt idx="30">
                  <c:v>1.4255199999999999</c:v>
                </c:pt>
                <c:pt idx="31">
                  <c:v>1.6472</c:v>
                </c:pt>
                <c:pt idx="32">
                  <c:v>1.61049</c:v>
                </c:pt>
                <c:pt idx="33">
                  <c:v>1.43529</c:v>
                </c:pt>
                <c:pt idx="34">
                  <c:v>1.4307300000000001</c:v>
                </c:pt>
                <c:pt idx="35">
                  <c:v>1.2655099999999999</c:v>
                </c:pt>
                <c:pt idx="36">
                  <c:v>1.45034</c:v>
                </c:pt>
                <c:pt idx="37">
                  <c:v>1.42079</c:v>
                </c:pt>
              </c:numCache>
            </c:numRef>
          </c:val>
          <c:smooth val="0"/>
        </c:ser>
        <c:ser>
          <c:idx val="1"/>
          <c:order val="1"/>
          <c:tx>
            <c:strRef>
              <c:f>Sheet2!$C$2</c:f>
              <c:strCache>
                <c:ptCount val="1"/>
                <c:pt idx="0">
                  <c:v>Quality</c:v>
                </c:pt>
              </c:strCache>
            </c:strRef>
          </c:tx>
          <c:spPr>
            <a:ln w="38100">
              <a:solidFill>
                <a:schemeClr val="bg1">
                  <a:lumMod val="50000"/>
                </a:schemeClr>
              </a:solidFill>
            </a:ln>
          </c:spPr>
          <c:marker>
            <c:symbol val="none"/>
          </c:marker>
          <c:cat>
            <c:numRef>
              <c:f>Sheet2!$A$3:$A$40</c:f>
              <c:numCache>
                <c:formatCode>m/d/yyyy</c:formatCode>
                <c:ptCount val="38"/>
                <c:pt idx="0">
                  <c:v>36787</c:v>
                </c:pt>
                <c:pt idx="1">
                  <c:v>36969</c:v>
                </c:pt>
                <c:pt idx="2">
                  <c:v>37158</c:v>
                </c:pt>
                <c:pt idx="3">
                  <c:v>37333</c:v>
                </c:pt>
                <c:pt idx="4">
                  <c:v>37522</c:v>
                </c:pt>
                <c:pt idx="5">
                  <c:v>37704</c:v>
                </c:pt>
                <c:pt idx="6">
                  <c:v>37886</c:v>
                </c:pt>
                <c:pt idx="7">
                  <c:v>38068</c:v>
                </c:pt>
                <c:pt idx="8">
                  <c:v>38250</c:v>
                </c:pt>
                <c:pt idx="9">
                  <c:v>38432</c:v>
                </c:pt>
                <c:pt idx="10">
                  <c:v>38614</c:v>
                </c:pt>
                <c:pt idx="11">
                  <c:v>38796</c:v>
                </c:pt>
                <c:pt idx="12">
                  <c:v>38978</c:v>
                </c:pt>
                <c:pt idx="13">
                  <c:v>39160</c:v>
                </c:pt>
                <c:pt idx="14">
                  <c:v>39349</c:v>
                </c:pt>
                <c:pt idx="15">
                  <c:v>39531</c:v>
                </c:pt>
                <c:pt idx="16">
                  <c:v>39713</c:v>
                </c:pt>
                <c:pt idx="17">
                  <c:v>39895</c:v>
                </c:pt>
                <c:pt idx="18">
                  <c:v>40077</c:v>
                </c:pt>
                <c:pt idx="19">
                  <c:v>40259</c:v>
                </c:pt>
                <c:pt idx="20">
                  <c:v>40441</c:v>
                </c:pt>
                <c:pt idx="21">
                  <c:v>40623</c:v>
                </c:pt>
                <c:pt idx="22">
                  <c:v>40805</c:v>
                </c:pt>
                <c:pt idx="23">
                  <c:v>40987</c:v>
                </c:pt>
                <c:pt idx="24">
                  <c:v>41176</c:v>
                </c:pt>
                <c:pt idx="25">
                  <c:v>41351</c:v>
                </c:pt>
                <c:pt idx="26">
                  <c:v>41540</c:v>
                </c:pt>
                <c:pt idx="27">
                  <c:v>41722</c:v>
                </c:pt>
                <c:pt idx="28">
                  <c:v>41904</c:v>
                </c:pt>
                <c:pt idx="29">
                  <c:v>42086</c:v>
                </c:pt>
                <c:pt idx="30">
                  <c:v>42268</c:v>
                </c:pt>
                <c:pt idx="31">
                  <c:v>42450</c:v>
                </c:pt>
                <c:pt idx="32">
                  <c:v>42632</c:v>
                </c:pt>
                <c:pt idx="33">
                  <c:v>42814</c:v>
                </c:pt>
                <c:pt idx="34">
                  <c:v>42996</c:v>
                </c:pt>
                <c:pt idx="35">
                  <c:v>43178</c:v>
                </c:pt>
                <c:pt idx="36">
                  <c:v>43367</c:v>
                </c:pt>
                <c:pt idx="37">
                  <c:v>43542</c:v>
                </c:pt>
              </c:numCache>
            </c:numRef>
          </c:cat>
          <c:val>
            <c:numRef>
              <c:f>Sheet2!$C$3:$C$40</c:f>
              <c:numCache>
                <c:formatCode>General</c:formatCode>
                <c:ptCount val="38"/>
                <c:pt idx="0">
                  <c:v>0.45259899999999997</c:v>
                </c:pt>
                <c:pt idx="1">
                  <c:v>0.48022599999999999</c:v>
                </c:pt>
                <c:pt idx="2">
                  <c:v>0.46462700000000001</c:v>
                </c:pt>
                <c:pt idx="3">
                  <c:v>0.493172</c:v>
                </c:pt>
                <c:pt idx="4">
                  <c:v>0.649756</c:v>
                </c:pt>
                <c:pt idx="5">
                  <c:v>0.59084700000000001</c:v>
                </c:pt>
                <c:pt idx="6">
                  <c:v>0.58464700000000003</c:v>
                </c:pt>
                <c:pt idx="7">
                  <c:v>0.60066799999999998</c:v>
                </c:pt>
                <c:pt idx="8">
                  <c:v>0.54576499999999994</c:v>
                </c:pt>
                <c:pt idx="9">
                  <c:v>0.57941799999999999</c:v>
                </c:pt>
                <c:pt idx="10">
                  <c:v>0.46595700000000001</c:v>
                </c:pt>
                <c:pt idx="11">
                  <c:v>0.41276600000000002</c:v>
                </c:pt>
                <c:pt idx="12">
                  <c:v>0.46363500000000002</c:v>
                </c:pt>
                <c:pt idx="13">
                  <c:v>0.405331</c:v>
                </c:pt>
                <c:pt idx="14">
                  <c:v>0.47392200000000001</c:v>
                </c:pt>
                <c:pt idx="15">
                  <c:v>0.51015500000000003</c:v>
                </c:pt>
                <c:pt idx="16">
                  <c:v>0.650868</c:v>
                </c:pt>
                <c:pt idx="17">
                  <c:v>0.84902</c:v>
                </c:pt>
                <c:pt idx="18">
                  <c:v>0.44278699999999999</c:v>
                </c:pt>
                <c:pt idx="19">
                  <c:v>0.59489199999999998</c:v>
                </c:pt>
                <c:pt idx="20">
                  <c:v>0.70135199999999998</c:v>
                </c:pt>
                <c:pt idx="21">
                  <c:v>0.63453899999999996</c:v>
                </c:pt>
                <c:pt idx="22">
                  <c:v>0.59145499999999995</c:v>
                </c:pt>
                <c:pt idx="23">
                  <c:v>0.47523500000000002</c:v>
                </c:pt>
                <c:pt idx="24">
                  <c:v>0.54005499999999995</c:v>
                </c:pt>
                <c:pt idx="25">
                  <c:v>0.52213299999999996</c:v>
                </c:pt>
                <c:pt idx="26">
                  <c:v>0.53957900000000003</c:v>
                </c:pt>
                <c:pt idx="27">
                  <c:v>0.49691600000000002</c:v>
                </c:pt>
                <c:pt idx="28">
                  <c:v>0.61468199999999995</c:v>
                </c:pt>
                <c:pt idx="29">
                  <c:v>0.61553999999999998</c:v>
                </c:pt>
                <c:pt idx="30">
                  <c:v>0.60282400000000003</c:v>
                </c:pt>
                <c:pt idx="31">
                  <c:v>0.69347599999999998</c:v>
                </c:pt>
                <c:pt idx="32">
                  <c:v>0.69821299999999997</c:v>
                </c:pt>
                <c:pt idx="33">
                  <c:v>0.779775</c:v>
                </c:pt>
                <c:pt idx="34">
                  <c:v>0.76566100000000004</c:v>
                </c:pt>
                <c:pt idx="35">
                  <c:v>0.59604699999999999</c:v>
                </c:pt>
                <c:pt idx="36">
                  <c:v>0.66730900000000004</c:v>
                </c:pt>
                <c:pt idx="37">
                  <c:v>0.64355899999999999</c:v>
                </c:pt>
              </c:numCache>
            </c:numRef>
          </c:val>
          <c:smooth val="0"/>
        </c:ser>
        <c:ser>
          <c:idx val="2"/>
          <c:order val="2"/>
          <c:tx>
            <c:strRef>
              <c:f>Sheet2!$D$2</c:f>
              <c:strCache>
                <c:ptCount val="1"/>
                <c:pt idx="0">
                  <c:v>Momentum</c:v>
                </c:pt>
              </c:strCache>
            </c:strRef>
          </c:tx>
          <c:spPr>
            <a:ln w="38100">
              <a:solidFill>
                <a:srgbClr val="0070C0"/>
              </a:solidFill>
            </a:ln>
          </c:spPr>
          <c:marker>
            <c:symbol val="none"/>
          </c:marker>
          <c:cat>
            <c:numRef>
              <c:f>Sheet2!$A$3:$A$40</c:f>
              <c:numCache>
                <c:formatCode>m/d/yyyy</c:formatCode>
                <c:ptCount val="38"/>
                <c:pt idx="0">
                  <c:v>36787</c:v>
                </c:pt>
                <c:pt idx="1">
                  <c:v>36969</c:v>
                </c:pt>
                <c:pt idx="2">
                  <c:v>37158</c:v>
                </c:pt>
                <c:pt idx="3">
                  <c:v>37333</c:v>
                </c:pt>
                <c:pt idx="4">
                  <c:v>37522</c:v>
                </c:pt>
                <c:pt idx="5">
                  <c:v>37704</c:v>
                </c:pt>
                <c:pt idx="6">
                  <c:v>37886</c:v>
                </c:pt>
                <c:pt idx="7">
                  <c:v>38068</c:v>
                </c:pt>
                <c:pt idx="8">
                  <c:v>38250</c:v>
                </c:pt>
                <c:pt idx="9">
                  <c:v>38432</c:v>
                </c:pt>
                <c:pt idx="10">
                  <c:v>38614</c:v>
                </c:pt>
                <c:pt idx="11">
                  <c:v>38796</c:v>
                </c:pt>
                <c:pt idx="12">
                  <c:v>38978</c:v>
                </c:pt>
                <c:pt idx="13">
                  <c:v>39160</c:v>
                </c:pt>
                <c:pt idx="14">
                  <c:v>39349</c:v>
                </c:pt>
                <c:pt idx="15">
                  <c:v>39531</c:v>
                </c:pt>
                <c:pt idx="16">
                  <c:v>39713</c:v>
                </c:pt>
                <c:pt idx="17">
                  <c:v>39895</c:v>
                </c:pt>
                <c:pt idx="18">
                  <c:v>40077</c:v>
                </c:pt>
                <c:pt idx="19">
                  <c:v>40259</c:v>
                </c:pt>
                <c:pt idx="20">
                  <c:v>40441</c:v>
                </c:pt>
                <c:pt idx="21">
                  <c:v>40623</c:v>
                </c:pt>
                <c:pt idx="22">
                  <c:v>40805</c:v>
                </c:pt>
                <c:pt idx="23">
                  <c:v>40987</c:v>
                </c:pt>
                <c:pt idx="24">
                  <c:v>41176</c:v>
                </c:pt>
                <c:pt idx="25">
                  <c:v>41351</c:v>
                </c:pt>
                <c:pt idx="26">
                  <c:v>41540</c:v>
                </c:pt>
                <c:pt idx="27">
                  <c:v>41722</c:v>
                </c:pt>
                <c:pt idx="28">
                  <c:v>41904</c:v>
                </c:pt>
                <c:pt idx="29">
                  <c:v>42086</c:v>
                </c:pt>
                <c:pt idx="30">
                  <c:v>42268</c:v>
                </c:pt>
                <c:pt idx="31">
                  <c:v>42450</c:v>
                </c:pt>
                <c:pt idx="32">
                  <c:v>42632</c:v>
                </c:pt>
                <c:pt idx="33">
                  <c:v>42814</c:v>
                </c:pt>
                <c:pt idx="34">
                  <c:v>42996</c:v>
                </c:pt>
                <c:pt idx="35">
                  <c:v>43178</c:v>
                </c:pt>
                <c:pt idx="36">
                  <c:v>43367</c:v>
                </c:pt>
                <c:pt idx="37">
                  <c:v>43542</c:v>
                </c:pt>
              </c:numCache>
            </c:numRef>
          </c:cat>
          <c:val>
            <c:numRef>
              <c:f>Sheet2!$D$3:$D$40</c:f>
              <c:numCache>
                <c:formatCode>General</c:formatCode>
                <c:ptCount val="38"/>
                <c:pt idx="0">
                  <c:v>1.0081199999999999</c:v>
                </c:pt>
                <c:pt idx="1">
                  <c:v>-0.123017</c:v>
                </c:pt>
                <c:pt idx="2">
                  <c:v>-6.0362100000000002E-2</c:v>
                </c:pt>
                <c:pt idx="3">
                  <c:v>8.9899999999999994E-2</c:v>
                </c:pt>
                <c:pt idx="4">
                  <c:v>0.100434</c:v>
                </c:pt>
                <c:pt idx="5">
                  <c:v>0.172179</c:v>
                </c:pt>
                <c:pt idx="6">
                  <c:v>0.47635300000000003</c:v>
                </c:pt>
                <c:pt idx="7">
                  <c:v>0.32291999999999998</c:v>
                </c:pt>
                <c:pt idx="8">
                  <c:v>-4.6352999999999998E-2</c:v>
                </c:pt>
                <c:pt idx="9">
                  <c:v>-5.2465199999999997E-2</c:v>
                </c:pt>
                <c:pt idx="10">
                  <c:v>5.31762E-2</c:v>
                </c:pt>
                <c:pt idx="11">
                  <c:v>0.32436300000000001</c:v>
                </c:pt>
                <c:pt idx="12">
                  <c:v>0.22573199999999999</c:v>
                </c:pt>
                <c:pt idx="13">
                  <c:v>0.13711300000000001</c:v>
                </c:pt>
                <c:pt idx="14">
                  <c:v>0.190552</c:v>
                </c:pt>
                <c:pt idx="15">
                  <c:v>0.37586199999999997</c:v>
                </c:pt>
                <c:pt idx="16">
                  <c:v>0.56789400000000001</c:v>
                </c:pt>
                <c:pt idx="17">
                  <c:v>0.601495</c:v>
                </c:pt>
                <c:pt idx="18">
                  <c:v>5.31499E-2</c:v>
                </c:pt>
                <c:pt idx="19">
                  <c:v>0.41815799999999997</c:v>
                </c:pt>
                <c:pt idx="20">
                  <c:v>0.16817399999999999</c:v>
                </c:pt>
                <c:pt idx="21">
                  <c:v>0.50981500000000002</c:v>
                </c:pt>
                <c:pt idx="22">
                  <c:v>0.21519099999999999</c:v>
                </c:pt>
                <c:pt idx="23">
                  <c:v>0.40531400000000001</c:v>
                </c:pt>
                <c:pt idx="24">
                  <c:v>0.56989900000000004</c:v>
                </c:pt>
                <c:pt idx="25">
                  <c:v>0.40737400000000001</c:v>
                </c:pt>
                <c:pt idx="26">
                  <c:v>0.391876</c:v>
                </c:pt>
                <c:pt idx="27">
                  <c:v>0.41925800000000002</c:v>
                </c:pt>
                <c:pt idx="28">
                  <c:v>0.18307200000000001</c:v>
                </c:pt>
                <c:pt idx="29">
                  <c:v>0.223944</c:v>
                </c:pt>
                <c:pt idx="30">
                  <c:v>0.42875600000000003</c:v>
                </c:pt>
                <c:pt idx="31">
                  <c:v>0.41477700000000001</c:v>
                </c:pt>
                <c:pt idx="32">
                  <c:v>0.383521</c:v>
                </c:pt>
                <c:pt idx="33">
                  <c:v>0.28931499999999999</c:v>
                </c:pt>
                <c:pt idx="34">
                  <c:v>0.21027199999999999</c:v>
                </c:pt>
                <c:pt idx="35">
                  <c:v>0.33113100000000001</c:v>
                </c:pt>
                <c:pt idx="36">
                  <c:v>0.43244199999999999</c:v>
                </c:pt>
                <c:pt idx="37">
                  <c:v>0.23377600000000001</c:v>
                </c:pt>
              </c:numCache>
            </c:numRef>
          </c:val>
          <c:smooth val="0"/>
        </c:ser>
        <c:dLbls>
          <c:showLegendKey val="0"/>
          <c:showVal val="0"/>
          <c:showCatName val="0"/>
          <c:showSerName val="0"/>
          <c:showPercent val="0"/>
          <c:showBubbleSize val="0"/>
        </c:dLbls>
        <c:marker val="1"/>
        <c:smooth val="0"/>
        <c:axId val="176644864"/>
        <c:axId val="176646400"/>
      </c:lineChart>
      <c:dateAx>
        <c:axId val="176644864"/>
        <c:scaling>
          <c:orientation val="minMax"/>
        </c:scaling>
        <c:delete val="0"/>
        <c:axPos val="b"/>
        <c:majorGridlines/>
        <c:numFmt formatCode="mmm\-yy" sourceLinked="0"/>
        <c:majorTickMark val="out"/>
        <c:minorTickMark val="none"/>
        <c:tickLblPos val="low"/>
        <c:crossAx val="176646400"/>
        <c:crosses val="autoZero"/>
        <c:auto val="1"/>
        <c:lblOffset val="100"/>
        <c:baseTimeUnit val="months"/>
        <c:majorUnit val="4"/>
        <c:majorTimeUnit val="years"/>
      </c:dateAx>
      <c:valAx>
        <c:axId val="176646400"/>
        <c:scaling>
          <c:orientation val="minMax"/>
        </c:scaling>
        <c:delete val="0"/>
        <c:axPos val="l"/>
        <c:majorGridlines/>
        <c:numFmt formatCode="General" sourceLinked="1"/>
        <c:majorTickMark val="out"/>
        <c:minorTickMark val="none"/>
        <c:tickLblPos val="nextTo"/>
        <c:crossAx val="176644864"/>
        <c:crosses val="autoZero"/>
        <c:crossBetween val="between"/>
      </c:valAx>
    </c:plotArea>
    <c:legend>
      <c:legendPos val="b"/>
      <c:overlay val="0"/>
    </c:legend>
    <c:plotVisOnly val="1"/>
    <c:dispBlanksAs val="gap"/>
    <c:showDLblsOverMax val="0"/>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pPr>
            <a:r>
              <a:rPr lang="ja-JP" altLang="en-US" sz="1400" dirty="0" smtClean="0"/>
              <a:t>アクティブエクスポージャ</a:t>
            </a:r>
            <a:endParaRPr lang="ja-JP" altLang="en-US" sz="1400" dirty="0"/>
          </a:p>
        </c:rich>
      </c:tx>
      <c:overlay val="0"/>
    </c:title>
    <c:autoTitleDeleted val="0"/>
    <c:plotArea>
      <c:layout/>
      <c:lineChart>
        <c:grouping val="standard"/>
        <c:varyColors val="0"/>
        <c:ser>
          <c:idx val="0"/>
          <c:order val="0"/>
          <c:tx>
            <c:strRef>
              <c:f>Sheet2!$E$2</c:f>
              <c:strCache>
                <c:ptCount val="1"/>
                <c:pt idx="0">
                  <c:v>Value</c:v>
                </c:pt>
              </c:strCache>
            </c:strRef>
          </c:tx>
          <c:spPr>
            <a:ln w="38100">
              <a:solidFill>
                <a:srgbClr val="C00000"/>
              </a:solidFill>
            </a:ln>
          </c:spPr>
          <c:marker>
            <c:symbol val="none"/>
          </c:marker>
          <c:cat>
            <c:numRef>
              <c:f>Sheet2!$A$3:$A$40</c:f>
              <c:numCache>
                <c:formatCode>m/d/yyyy</c:formatCode>
                <c:ptCount val="38"/>
                <c:pt idx="0">
                  <c:v>36787</c:v>
                </c:pt>
                <c:pt idx="1">
                  <c:v>36969</c:v>
                </c:pt>
                <c:pt idx="2">
                  <c:v>37158</c:v>
                </c:pt>
                <c:pt idx="3">
                  <c:v>37333</c:v>
                </c:pt>
                <c:pt idx="4">
                  <c:v>37522</c:v>
                </c:pt>
                <c:pt idx="5">
                  <c:v>37704</c:v>
                </c:pt>
                <c:pt idx="6">
                  <c:v>37886</c:v>
                </c:pt>
                <c:pt idx="7">
                  <c:v>38068</c:v>
                </c:pt>
                <c:pt idx="8">
                  <c:v>38250</c:v>
                </c:pt>
                <c:pt idx="9">
                  <c:v>38432</c:v>
                </c:pt>
                <c:pt idx="10">
                  <c:v>38614</c:v>
                </c:pt>
                <c:pt idx="11">
                  <c:v>38796</c:v>
                </c:pt>
                <c:pt idx="12">
                  <c:v>38978</c:v>
                </c:pt>
                <c:pt idx="13">
                  <c:v>39160</c:v>
                </c:pt>
                <c:pt idx="14">
                  <c:v>39349</c:v>
                </c:pt>
                <c:pt idx="15">
                  <c:v>39531</c:v>
                </c:pt>
                <c:pt idx="16">
                  <c:v>39713</c:v>
                </c:pt>
                <c:pt idx="17">
                  <c:v>39895</c:v>
                </c:pt>
                <c:pt idx="18">
                  <c:v>40077</c:v>
                </c:pt>
                <c:pt idx="19">
                  <c:v>40259</c:v>
                </c:pt>
                <c:pt idx="20">
                  <c:v>40441</c:v>
                </c:pt>
                <c:pt idx="21">
                  <c:v>40623</c:v>
                </c:pt>
                <c:pt idx="22">
                  <c:v>40805</c:v>
                </c:pt>
                <c:pt idx="23">
                  <c:v>40987</c:v>
                </c:pt>
                <c:pt idx="24">
                  <c:v>41176</c:v>
                </c:pt>
                <c:pt idx="25">
                  <c:v>41351</c:v>
                </c:pt>
                <c:pt idx="26">
                  <c:v>41540</c:v>
                </c:pt>
                <c:pt idx="27">
                  <c:v>41722</c:v>
                </c:pt>
                <c:pt idx="28">
                  <c:v>41904</c:v>
                </c:pt>
                <c:pt idx="29">
                  <c:v>42086</c:v>
                </c:pt>
                <c:pt idx="30">
                  <c:v>42268</c:v>
                </c:pt>
                <c:pt idx="31">
                  <c:v>42450</c:v>
                </c:pt>
                <c:pt idx="32">
                  <c:v>42632</c:v>
                </c:pt>
                <c:pt idx="33">
                  <c:v>42814</c:v>
                </c:pt>
                <c:pt idx="34">
                  <c:v>42996</c:v>
                </c:pt>
                <c:pt idx="35">
                  <c:v>43178</c:v>
                </c:pt>
                <c:pt idx="36">
                  <c:v>43367</c:v>
                </c:pt>
                <c:pt idx="37">
                  <c:v>43542</c:v>
                </c:pt>
              </c:numCache>
            </c:numRef>
          </c:cat>
          <c:val>
            <c:numRef>
              <c:f>Sheet2!$E$3:$E$40</c:f>
              <c:numCache>
                <c:formatCode>General</c:formatCode>
                <c:ptCount val="38"/>
                <c:pt idx="0">
                  <c:v>0.45</c:v>
                </c:pt>
                <c:pt idx="1">
                  <c:v>0.45</c:v>
                </c:pt>
                <c:pt idx="2">
                  <c:v>0.45</c:v>
                </c:pt>
                <c:pt idx="3">
                  <c:v>0.45</c:v>
                </c:pt>
                <c:pt idx="4">
                  <c:v>0.45</c:v>
                </c:pt>
                <c:pt idx="5">
                  <c:v>0.45</c:v>
                </c:pt>
                <c:pt idx="6">
                  <c:v>0.45</c:v>
                </c:pt>
                <c:pt idx="7">
                  <c:v>0.45</c:v>
                </c:pt>
                <c:pt idx="8">
                  <c:v>0.45</c:v>
                </c:pt>
                <c:pt idx="9">
                  <c:v>0.45</c:v>
                </c:pt>
                <c:pt idx="10">
                  <c:v>0.45</c:v>
                </c:pt>
                <c:pt idx="11">
                  <c:v>0.45</c:v>
                </c:pt>
                <c:pt idx="12">
                  <c:v>0.45</c:v>
                </c:pt>
                <c:pt idx="13">
                  <c:v>0.45</c:v>
                </c:pt>
                <c:pt idx="14">
                  <c:v>0.45</c:v>
                </c:pt>
                <c:pt idx="15">
                  <c:v>0.45</c:v>
                </c:pt>
                <c:pt idx="16">
                  <c:v>0.45</c:v>
                </c:pt>
                <c:pt idx="17">
                  <c:v>0.45</c:v>
                </c:pt>
                <c:pt idx="18">
                  <c:v>0.45</c:v>
                </c:pt>
                <c:pt idx="19">
                  <c:v>0.45</c:v>
                </c:pt>
                <c:pt idx="20">
                  <c:v>0.45</c:v>
                </c:pt>
                <c:pt idx="21">
                  <c:v>0.45</c:v>
                </c:pt>
                <c:pt idx="22">
                  <c:v>0.45</c:v>
                </c:pt>
                <c:pt idx="23">
                  <c:v>0.45</c:v>
                </c:pt>
                <c:pt idx="24">
                  <c:v>0.45</c:v>
                </c:pt>
                <c:pt idx="25">
                  <c:v>0.45</c:v>
                </c:pt>
                <c:pt idx="26">
                  <c:v>0.45</c:v>
                </c:pt>
                <c:pt idx="27">
                  <c:v>0.45</c:v>
                </c:pt>
                <c:pt idx="28">
                  <c:v>0.45</c:v>
                </c:pt>
                <c:pt idx="29">
                  <c:v>0.45</c:v>
                </c:pt>
                <c:pt idx="30">
                  <c:v>0.45</c:v>
                </c:pt>
                <c:pt idx="31">
                  <c:v>0.45</c:v>
                </c:pt>
                <c:pt idx="32">
                  <c:v>0.45</c:v>
                </c:pt>
                <c:pt idx="33">
                  <c:v>0.45</c:v>
                </c:pt>
                <c:pt idx="34">
                  <c:v>0.45</c:v>
                </c:pt>
                <c:pt idx="35">
                  <c:v>0.45</c:v>
                </c:pt>
                <c:pt idx="36">
                  <c:v>0.45</c:v>
                </c:pt>
                <c:pt idx="37">
                  <c:v>0.45</c:v>
                </c:pt>
              </c:numCache>
            </c:numRef>
          </c:val>
          <c:smooth val="0"/>
        </c:ser>
        <c:ser>
          <c:idx val="1"/>
          <c:order val="1"/>
          <c:tx>
            <c:strRef>
              <c:f>Sheet2!$F$2</c:f>
              <c:strCache>
                <c:ptCount val="1"/>
                <c:pt idx="0">
                  <c:v>Quality</c:v>
                </c:pt>
              </c:strCache>
            </c:strRef>
          </c:tx>
          <c:spPr>
            <a:ln w="38100">
              <a:solidFill>
                <a:schemeClr val="bg1">
                  <a:lumMod val="50000"/>
                </a:schemeClr>
              </a:solidFill>
            </a:ln>
          </c:spPr>
          <c:marker>
            <c:symbol val="none"/>
          </c:marker>
          <c:cat>
            <c:numRef>
              <c:f>Sheet2!$A$3:$A$40</c:f>
              <c:numCache>
                <c:formatCode>m/d/yyyy</c:formatCode>
                <c:ptCount val="38"/>
                <c:pt idx="0">
                  <c:v>36787</c:v>
                </c:pt>
                <c:pt idx="1">
                  <c:v>36969</c:v>
                </c:pt>
                <c:pt idx="2">
                  <c:v>37158</c:v>
                </c:pt>
                <c:pt idx="3">
                  <c:v>37333</c:v>
                </c:pt>
                <c:pt idx="4">
                  <c:v>37522</c:v>
                </c:pt>
                <c:pt idx="5">
                  <c:v>37704</c:v>
                </c:pt>
                <c:pt idx="6">
                  <c:v>37886</c:v>
                </c:pt>
                <c:pt idx="7">
                  <c:v>38068</c:v>
                </c:pt>
                <c:pt idx="8">
                  <c:v>38250</c:v>
                </c:pt>
                <c:pt idx="9">
                  <c:v>38432</c:v>
                </c:pt>
                <c:pt idx="10">
                  <c:v>38614</c:v>
                </c:pt>
                <c:pt idx="11">
                  <c:v>38796</c:v>
                </c:pt>
                <c:pt idx="12">
                  <c:v>38978</c:v>
                </c:pt>
                <c:pt idx="13">
                  <c:v>39160</c:v>
                </c:pt>
                <c:pt idx="14">
                  <c:v>39349</c:v>
                </c:pt>
                <c:pt idx="15">
                  <c:v>39531</c:v>
                </c:pt>
                <c:pt idx="16">
                  <c:v>39713</c:v>
                </c:pt>
                <c:pt idx="17">
                  <c:v>39895</c:v>
                </c:pt>
                <c:pt idx="18">
                  <c:v>40077</c:v>
                </c:pt>
                <c:pt idx="19">
                  <c:v>40259</c:v>
                </c:pt>
                <c:pt idx="20">
                  <c:v>40441</c:v>
                </c:pt>
                <c:pt idx="21">
                  <c:v>40623</c:v>
                </c:pt>
                <c:pt idx="22">
                  <c:v>40805</c:v>
                </c:pt>
                <c:pt idx="23">
                  <c:v>40987</c:v>
                </c:pt>
                <c:pt idx="24">
                  <c:v>41176</c:v>
                </c:pt>
                <c:pt idx="25">
                  <c:v>41351</c:v>
                </c:pt>
                <c:pt idx="26">
                  <c:v>41540</c:v>
                </c:pt>
                <c:pt idx="27">
                  <c:v>41722</c:v>
                </c:pt>
                <c:pt idx="28">
                  <c:v>41904</c:v>
                </c:pt>
                <c:pt idx="29">
                  <c:v>42086</c:v>
                </c:pt>
                <c:pt idx="30">
                  <c:v>42268</c:v>
                </c:pt>
                <c:pt idx="31">
                  <c:v>42450</c:v>
                </c:pt>
                <c:pt idx="32">
                  <c:v>42632</c:v>
                </c:pt>
                <c:pt idx="33">
                  <c:v>42814</c:v>
                </c:pt>
                <c:pt idx="34">
                  <c:v>42996</c:v>
                </c:pt>
                <c:pt idx="35">
                  <c:v>43178</c:v>
                </c:pt>
                <c:pt idx="36">
                  <c:v>43367</c:v>
                </c:pt>
                <c:pt idx="37">
                  <c:v>43542</c:v>
                </c:pt>
              </c:numCache>
            </c:numRef>
          </c:cat>
          <c:val>
            <c:numRef>
              <c:f>Sheet2!$F$3:$F$40</c:f>
              <c:numCache>
                <c:formatCode>General</c:formatCode>
                <c:ptCount val="38"/>
                <c:pt idx="0">
                  <c:v>0.3</c:v>
                </c:pt>
                <c:pt idx="1">
                  <c:v>0.3</c:v>
                </c:pt>
                <c:pt idx="2">
                  <c:v>0.3</c:v>
                </c:pt>
                <c:pt idx="3">
                  <c:v>0.3</c:v>
                </c:pt>
                <c:pt idx="4">
                  <c:v>0.3</c:v>
                </c:pt>
                <c:pt idx="5">
                  <c:v>0.3</c:v>
                </c:pt>
                <c:pt idx="6">
                  <c:v>0.3</c:v>
                </c:pt>
                <c:pt idx="7">
                  <c:v>0.3</c:v>
                </c:pt>
                <c:pt idx="8">
                  <c:v>0.3</c:v>
                </c:pt>
                <c:pt idx="9">
                  <c:v>0.3</c:v>
                </c:pt>
                <c:pt idx="10">
                  <c:v>0.3</c:v>
                </c:pt>
                <c:pt idx="11">
                  <c:v>0.3</c:v>
                </c:pt>
                <c:pt idx="12">
                  <c:v>0.3</c:v>
                </c:pt>
                <c:pt idx="13">
                  <c:v>0.3</c:v>
                </c:pt>
                <c:pt idx="14">
                  <c:v>0.3</c:v>
                </c:pt>
                <c:pt idx="15">
                  <c:v>0.3</c:v>
                </c:pt>
                <c:pt idx="16">
                  <c:v>0.3</c:v>
                </c:pt>
                <c:pt idx="17">
                  <c:v>0.3</c:v>
                </c:pt>
                <c:pt idx="18">
                  <c:v>0.3</c:v>
                </c:pt>
                <c:pt idx="19">
                  <c:v>0.3</c:v>
                </c:pt>
                <c:pt idx="20">
                  <c:v>0.3</c:v>
                </c:pt>
                <c:pt idx="21">
                  <c:v>0.3</c:v>
                </c:pt>
                <c:pt idx="22">
                  <c:v>0.3</c:v>
                </c:pt>
                <c:pt idx="23">
                  <c:v>0.3</c:v>
                </c:pt>
                <c:pt idx="24">
                  <c:v>0.3</c:v>
                </c:pt>
                <c:pt idx="25">
                  <c:v>0.3</c:v>
                </c:pt>
                <c:pt idx="26">
                  <c:v>0.3</c:v>
                </c:pt>
                <c:pt idx="27">
                  <c:v>0.3</c:v>
                </c:pt>
                <c:pt idx="28">
                  <c:v>0.3</c:v>
                </c:pt>
                <c:pt idx="29">
                  <c:v>0.3</c:v>
                </c:pt>
                <c:pt idx="30">
                  <c:v>0.3</c:v>
                </c:pt>
                <c:pt idx="31">
                  <c:v>0.3</c:v>
                </c:pt>
                <c:pt idx="32">
                  <c:v>0.3</c:v>
                </c:pt>
                <c:pt idx="33">
                  <c:v>0.3</c:v>
                </c:pt>
                <c:pt idx="34">
                  <c:v>0.3</c:v>
                </c:pt>
                <c:pt idx="35">
                  <c:v>0.3</c:v>
                </c:pt>
                <c:pt idx="36">
                  <c:v>0.3</c:v>
                </c:pt>
                <c:pt idx="37">
                  <c:v>0.3</c:v>
                </c:pt>
              </c:numCache>
            </c:numRef>
          </c:val>
          <c:smooth val="0"/>
        </c:ser>
        <c:ser>
          <c:idx val="2"/>
          <c:order val="2"/>
          <c:tx>
            <c:strRef>
              <c:f>Sheet2!$G$2</c:f>
              <c:strCache>
                <c:ptCount val="1"/>
                <c:pt idx="0">
                  <c:v>Momentum</c:v>
                </c:pt>
              </c:strCache>
            </c:strRef>
          </c:tx>
          <c:spPr>
            <a:ln w="38100">
              <a:solidFill>
                <a:srgbClr val="0070C0"/>
              </a:solidFill>
            </a:ln>
          </c:spPr>
          <c:marker>
            <c:symbol val="none"/>
          </c:marker>
          <c:cat>
            <c:numRef>
              <c:f>Sheet2!$A$3:$A$40</c:f>
              <c:numCache>
                <c:formatCode>m/d/yyyy</c:formatCode>
                <c:ptCount val="38"/>
                <c:pt idx="0">
                  <c:v>36787</c:v>
                </c:pt>
                <c:pt idx="1">
                  <c:v>36969</c:v>
                </c:pt>
                <c:pt idx="2">
                  <c:v>37158</c:v>
                </c:pt>
                <c:pt idx="3">
                  <c:v>37333</c:v>
                </c:pt>
                <c:pt idx="4">
                  <c:v>37522</c:v>
                </c:pt>
                <c:pt idx="5">
                  <c:v>37704</c:v>
                </c:pt>
                <c:pt idx="6">
                  <c:v>37886</c:v>
                </c:pt>
                <c:pt idx="7">
                  <c:v>38068</c:v>
                </c:pt>
                <c:pt idx="8">
                  <c:v>38250</c:v>
                </c:pt>
                <c:pt idx="9">
                  <c:v>38432</c:v>
                </c:pt>
                <c:pt idx="10">
                  <c:v>38614</c:v>
                </c:pt>
                <c:pt idx="11">
                  <c:v>38796</c:v>
                </c:pt>
                <c:pt idx="12">
                  <c:v>38978</c:v>
                </c:pt>
                <c:pt idx="13">
                  <c:v>39160</c:v>
                </c:pt>
                <c:pt idx="14">
                  <c:v>39349</c:v>
                </c:pt>
                <c:pt idx="15">
                  <c:v>39531</c:v>
                </c:pt>
                <c:pt idx="16">
                  <c:v>39713</c:v>
                </c:pt>
                <c:pt idx="17">
                  <c:v>39895</c:v>
                </c:pt>
                <c:pt idx="18">
                  <c:v>40077</c:v>
                </c:pt>
                <c:pt idx="19">
                  <c:v>40259</c:v>
                </c:pt>
                <c:pt idx="20">
                  <c:v>40441</c:v>
                </c:pt>
                <c:pt idx="21">
                  <c:v>40623</c:v>
                </c:pt>
                <c:pt idx="22">
                  <c:v>40805</c:v>
                </c:pt>
                <c:pt idx="23">
                  <c:v>40987</c:v>
                </c:pt>
                <c:pt idx="24">
                  <c:v>41176</c:v>
                </c:pt>
                <c:pt idx="25">
                  <c:v>41351</c:v>
                </c:pt>
                <c:pt idx="26">
                  <c:v>41540</c:v>
                </c:pt>
                <c:pt idx="27">
                  <c:v>41722</c:v>
                </c:pt>
                <c:pt idx="28">
                  <c:v>41904</c:v>
                </c:pt>
                <c:pt idx="29">
                  <c:v>42086</c:v>
                </c:pt>
                <c:pt idx="30">
                  <c:v>42268</c:v>
                </c:pt>
                <c:pt idx="31">
                  <c:v>42450</c:v>
                </c:pt>
                <c:pt idx="32">
                  <c:v>42632</c:v>
                </c:pt>
                <c:pt idx="33">
                  <c:v>42814</c:v>
                </c:pt>
                <c:pt idx="34">
                  <c:v>42996</c:v>
                </c:pt>
                <c:pt idx="35">
                  <c:v>43178</c:v>
                </c:pt>
                <c:pt idx="36">
                  <c:v>43367</c:v>
                </c:pt>
                <c:pt idx="37">
                  <c:v>43542</c:v>
                </c:pt>
              </c:numCache>
            </c:numRef>
          </c:cat>
          <c:val>
            <c:numRef>
              <c:f>Sheet2!$G$3:$G$40</c:f>
              <c:numCache>
                <c:formatCode>General</c:formatCode>
                <c:ptCount val="3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numCache>
            </c:numRef>
          </c:val>
          <c:smooth val="0"/>
        </c:ser>
        <c:dLbls>
          <c:showLegendKey val="0"/>
          <c:showVal val="0"/>
          <c:showCatName val="0"/>
          <c:showSerName val="0"/>
          <c:showPercent val="0"/>
          <c:showBubbleSize val="0"/>
        </c:dLbls>
        <c:marker val="1"/>
        <c:smooth val="0"/>
        <c:axId val="176754688"/>
        <c:axId val="176756224"/>
      </c:lineChart>
      <c:dateAx>
        <c:axId val="176754688"/>
        <c:scaling>
          <c:orientation val="minMax"/>
        </c:scaling>
        <c:delete val="0"/>
        <c:axPos val="b"/>
        <c:majorGridlines/>
        <c:numFmt formatCode="mmm\-yy" sourceLinked="0"/>
        <c:majorTickMark val="out"/>
        <c:minorTickMark val="none"/>
        <c:tickLblPos val="low"/>
        <c:crossAx val="176756224"/>
        <c:crosses val="autoZero"/>
        <c:auto val="1"/>
        <c:lblOffset val="100"/>
        <c:baseTimeUnit val="months"/>
        <c:majorUnit val="4"/>
        <c:majorTimeUnit val="years"/>
      </c:dateAx>
      <c:valAx>
        <c:axId val="176756224"/>
        <c:scaling>
          <c:orientation val="minMax"/>
          <c:max val="0.5"/>
          <c:min val="-0.1"/>
        </c:scaling>
        <c:delete val="0"/>
        <c:axPos val="l"/>
        <c:majorGridlines/>
        <c:numFmt formatCode="General" sourceLinked="1"/>
        <c:majorTickMark val="out"/>
        <c:minorTickMark val="none"/>
        <c:tickLblPos val="nextTo"/>
        <c:crossAx val="176754688"/>
        <c:crosses val="autoZero"/>
        <c:crossBetween val="between"/>
      </c:valAx>
    </c:plotArea>
    <c:legend>
      <c:legendPos val="b"/>
      <c:overlay val="0"/>
    </c:legend>
    <c:plotVisOnly val="1"/>
    <c:dispBlanksAs val="gap"/>
    <c:showDLblsOverMax val="0"/>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6437290926869436"/>
          <c:y val="7.4713375639572477E-2"/>
          <c:w val="0.77423833050280477"/>
          <c:h val="0.71472522663178573"/>
        </c:manualLayout>
      </c:layout>
      <c:scatterChart>
        <c:scatterStyle val="smoothMarker"/>
        <c:varyColors val="0"/>
        <c:ser>
          <c:idx val="0"/>
          <c:order val="0"/>
          <c:tx>
            <c:v>Target Carbon Index</c:v>
          </c:tx>
          <c:spPr>
            <a:ln>
              <a:solidFill>
                <a:srgbClr val="C00000"/>
              </a:solidFill>
            </a:ln>
          </c:spPr>
          <c:marker>
            <c:symbol val="circle"/>
            <c:size val="5"/>
            <c:spPr>
              <a:solidFill>
                <a:srgbClr val="C00000"/>
              </a:solidFill>
              <a:ln>
                <a:solidFill>
                  <a:srgbClr val="C00000"/>
                </a:solidFill>
              </a:ln>
            </c:spPr>
          </c:marker>
          <c:xVal>
            <c:numRef>
              <c:f>PerformanceSummary!$C$41:$K$41</c:f>
              <c:numCache>
                <c:formatCode>0%</c:formatCode>
                <c:ptCount val="9"/>
                <c:pt idx="0">
                  <c:v>0</c:v>
                </c:pt>
                <c:pt idx="1">
                  <c:v>0.10406462681771311</c:v>
                </c:pt>
                <c:pt idx="2">
                  <c:v>0.20295079929503457</c:v>
                </c:pt>
                <c:pt idx="3">
                  <c:v>0.30042658842869152</c:v>
                </c:pt>
                <c:pt idx="4">
                  <c:v>0.39692601660062254</c:v>
                </c:pt>
                <c:pt idx="5">
                  <c:v>0.49238420707256714</c:v>
                </c:pt>
                <c:pt idx="6">
                  <c:v>0.58671428984942597</c:v>
                </c:pt>
                <c:pt idx="7">
                  <c:v>0.67971507986367241</c:v>
                </c:pt>
                <c:pt idx="8">
                  <c:v>0.78737890730930149</c:v>
                </c:pt>
              </c:numCache>
            </c:numRef>
          </c:xVal>
          <c:yVal>
            <c:numRef>
              <c:f>PerformanceSummary!$C$12:$K$12</c:f>
              <c:numCache>
                <c:formatCode>0.00</c:formatCode>
                <c:ptCount val="9"/>
                <c:pt idx="0">
                  <c:v>0</c:v>
                </c:pt>
                <c:pt idx="1">
                  <c:v>6.1533195619986901E-2</c:v>
                </c:pt>
                <c:pt idx="2">
                  <c:v>0.101381838373979</c:v>
                </c:pt>
                <c:pt idx="3">
                  <c:v>0.145927474182974</c:v>
                </c:pt>
                <c:pt idx="4">
                  <c:v>0.19273610042057501</c:v>
                </c:pt>
                <c:pt idx="5">
                  <c:v>0.24301668558213799</c:v>
                </c:pt>
                <c:pt idx="6">
                  <c:v>0.30099519042838202</c:v>
                </c:pt>
                <c:pt idx="7">
                  <c:v>0.38090800248413897</c:v>
                </c:pt>
                <c:pt idx="8">
                  <c:v>0.56910302111839495</c:v>
                </c:pt>
              </c:numCache>
            </c:numRef>
          </c:yVal>
          <c:smooth val="1"/>
        </c:ser>
        <c:ser>
          <c:idx val="1"/>
          <c:order val="1"/>
          <c:tx>
            <c:v>no TE control</c:v>
          </c:tx>
          <c:spPr>
            <a:ln>
              <a:solidFill>
                <a:schemeClr val="accent2">
                  <a:lumMod val="60000"/>
                  <a:lumOff val="40000"/>
                </a:schemeClr>
              </a:solidFill>
            </a:ln>
          </c:spPr>
          <c:marker>
            <c:symbol val="circle"/>
            <c:size val="7"/>
            <c:spPr>
              <a:solidFill>
                <a:schemeClr val="accent2">
                  <a:lumMod val="40000"/>
                  <a:lumOff val="60000"/>
                </a:schemeClr>
              </a:solidFill>
              <a:ln>
                <a:solidFill>
                  <a:schemeClr val="accent2">
                    <a:lumMod val="60000"/>
                    <a:lumOff val="40000"/>
                  </a:schemeClr>
                </a:solidFill>
              </a:ln>
            </c:spPr>
          </c:marker>
          <c:xVal>
            <c:numRef>
              <c:f>PerformanceSummary!$O$94:$W$94</c:f>
              <c:numCache>
                <c:formatCode>General</c:formatCode>
                <c:ptCount val="9"/>
                <c:pt idx="0">
                  <c:v>0</c:v>
                </c:pt>
                <c:pt idx="1">
                  <c:v>9.6174304747676895E-2</c:v>
                </c:pt>
                <c:pt idx="2">
                  <c:v>0.193149498015631</c:v>
                </c:pt>
                <c:pt idx="3">
                  <c:v>0.29097712139469101</c:v>
                </c:pt>
                <c:pt idx="4">
                  <c:v>0.38972825533446098</c:v>
                </c:pt>
                <c:pt idx="5">
                  <c:v>0.48951051963332798</c:v>
                </c:pt>
                <c:pt idx="6">
                  <c:v>0.59051232614432503</c:v>
                </c:pt>
                <c:pt idx="7">
                  <c:v>0.69315718424796502</c:v>
                </c:pt>
                <c:pt idx="8">
                  <c:v>0.79900759592038995</c:v>
                </c:pt>
              </c:numCache>
            </c:numRef>
          </c:xVal>
          <c:yVal>
            <c:numRef>
              <c:f>PerformanceSummary!$O$82:$W$82</c:f>
              <c:numCache>
                <c:formatCode>General</c:formatCode>
                <c:ptCount val="9"/>
                <c:pt idx="0">
                  <c:v>0</c:v>
                </c:pt>
                <c:pt idx="1">
                  <c:v>9.4846268751783397E-2</c:v>
                </c:pt>
                <c:pt idx="2">
                  <c:v>0.175051548477587</c:v>
                </c:pt>
                <c:pt idx="3">
                  <c:v>0.26289758475639902</c:v>
                </c:pt>
                <c:pt idx="4">
                  <c:v>0.35803701774276803</c:v>
                </c:pt>
                <c:pt idx="5">
                  <c:v>0.46278203617775099</c:v>
                </c:pt>
                <c:pt idx="6">
                  <c:v>0.58231983340367399</c:v>
                </c:pt>
                <c:pt idx="7">
                  <c:v>0.72943017767573604</c:v>
                </c:pt>
                <c:pt idx="8">
                  <c:v>0.95170918236809599</c:v>
                </c:pt>
              </c:numCache>
            </c:numRef>
          </c:yVal>
          <c:smooth val="1"/>
        </c:ser>
        <c:dLbls>
          <c:showLegendKey val="0"/>
          <c:showVal val="0"/>
          <c:showCatName val="0"/>
          <c:showSerName val="0"/>
          <c:showPercent val="0"/>
          <c:showBubbleSize val="0"/>
        </c:dLbls>
        <c:axId val="134243456"/>
        <c:axId val="134245760"/>
      </c:scatterChart>
      <c:valAx>
        <c:axId val="134243456"/>
        <c:scaling>
          <c:orientation val="minMax"/>
          <c:max val="1"/>
        </c:scaling>
        <c:delete val="0"/>
        <c:axPos val="b"/>
        <c:majorGridlines/>
        <c:title>
          <c:tx>
            <c:rich>
              <a:bodyPr/>
              <a:lstStyle/>
              <a:p>
                <a:pPr>
                  <a:defRPr/>
                </a:pPr>
                <a:r>
                  <a:rPr lang="en-GB"/>
                  <a:t>Reduction</a:t>
                </a:r>
                <a:r>
                  <a:rPr lang="en-GB" baseline="0"/>
                  <a:t> in </a:t>
                </a:r>
                <a:r>
                  <a:rPr lang="en-GB"/>
                  <a:t>Emission Intensity</a:t>
                </a:r>
              </a:p>
            </c:rich>
          </c:tx>
          <c:overlay val="0"/>
        </c:title>
        <c:numFmt formatCode="0%" sourceLinked="0"/>
        <c:majorTickMark val="out"/>
        <c:minorTickMark val="none"/>
        <c:tickLblPos val="nextTo"/>
        <c:crossAx val="134245760"/>
        <c:crosses val="autoZero"/>
        <c:crossBetween val="midCat"/>
        <c:majorUnit val="0.1"/>
      </c:valAx>
      <c:valAx>
        <c:axId val="134245760"/>
        <c:scaling>
          <c:orientation val="minMax"/>
          <c:max val="1"/>
          <c:min val="0"/>
        </c:scaling>
        <c:delete val="0"/>
        <c:axPos val="l"/>
        <c:majorGridlines/>
        <c:title>
          <c:tx>
            <c:rich>
              <a:bodyPr rot="-5400000" vert="horz"/>
              <a:lstStyle/>
              <a:p>
                <a:pPr>
                  <a:defRPr/>
                </a:pPr>
                <a:r>
                  <a:rPr lang="en-GB"/>
                  <a:t>Tracking</a:t>
                </a:r>
                <a:r>
                  <a:rPr lang="en-GB" baseline="0"/>
                  <a:t> Error (%.p.a.)</a:t>
                </a:r>
                <a:endParaRPr lang="en-GB"/>
              </a:p>
            </c:rich>
          </c:tx>
          <c:layout>
            <c:manualLayout>
              <c:xMode val="edge"/>
              <c:yMode val="edge"/>
              <c:x val="1.9857786310854605E-2"/>
              <c:y val="0.19784444712170871"/>
            </c:manualLayout>
          </c:layout>
          <c:overlay val="0"/>
        </c:title>
        <c:numFmt formatCode="0.00" sourceLinked="1"/>
        <c:majorTickMark val="out"/>
        <c:minorTickMark val="none"/>
        <c:tickLblPos val="nextTo"/>
        <c:crossAx val="134243456"/>
        <c:crosses val="autoZero"/>
        <c:crossBetween val="midCat"/>
      </c:valAx>
    </c:plotArea>
    <c:legend>
      <c:legendPos val="b"/>
      <c:layout>
        <c:manualLayout>
          <c:xMode val="edge"/>
          <c:yMode val="edge"/>
          <c:x val="0.13931867137297496"/>
          <c:y val="0.88420621709935898"/>
          <c:w val="0.79171581138564573"/>
          <c:h val="0.10954865422394441"/>
        </c:manualLayout>
      </c:layout>
      <c:overlay val="0"/>
    </c:legend>
    <c:plotVisOnly val="1"/>
    <c:dispBlanksAs val="gap"/>
    <c:showDLblsOverMax val="0"/>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3"/>
          <c:order val="0"/>
          <c:tx>
            <c:strRef>
              <c:f>'fixed target'!$O$18</c:f>
              <c:strCache>
                <c:ptCount val="1"/>
                <c:pt idx="0">
                  <c:v>80% reduction target</c:v>
                </c:pt>
              </c:strCache>
            </c:strRef>
          </c:tx>
          <c:marker>
            <c:symbol val="none"/>
          </c:marker>
          <c:cat>
            <c:numRef>
              <c:f>'fixed target'!$B$19:$B$1898</c:f>
              <c:numCache>
                <c:formatCode>m/d/yyyy</c:formatCode>
                <c:ptCount val="1880"/>
                <c:pt idx="0">
                  <c:v>40987</c:v>
                </c:pt>
                <c:pt idx="1">
                  <c:v>40988</c:v>
                </c:pt>
                <c:pt idx="2">
                  <c:v>40989</c:v>
                </c:pt>
                <c:pt idx="3">
                  <c:v>40990</c:v>
                </c:pt>
                <c:pt idx="4">
                  <c:v>40991</c:v>
                </c:pt>
                <c:pt idx="5">
                  <c:v>40994</c:v>
                </c:pt>
                <c:pt idx="6">
                  <c:v>40995</c:v>
                </c:pt>
                <c:pt idx="7">
                  <c:v>40996</c:v>
                </c:pt>
                <c:pt idx="8">
                  <c:v>40997</c:v>
                </c:pt>
                <c:pt idx="9">
                  <c:v>40998</c:v>
                </c:pt>
                <c:pt idx="10">
                  <c:v>41001</c:v>
                </c:pt>
                <c:pt idx="11">
                  <c:v>41002</c:v>
                </c:pt>
                <c:pt idx="12">
                  <c:v>41003</c:v>
                </c:pt>
                <c:pt idx="13">
                  <c:v>41004</c:v>
                </c:pt>
                <c:pt idx="14">
                  <c:v>41005</c:v>
                </c:pt>
                <c:pt idx="15">
                  <c:v>41008</c:v>
                </c:pt>
                <c:pt idx="16">
                  <c:v>41009</c:v>
                </c:pt>
                <c:pt idx="17">
                  <c:v>41010</c:v>
                </c:pt>
                <c:pt idx="18">
                  <c:v>41011</c:v>
                </c:pt>
                <c:pt idx="19">
                  <c:v>41012</c:v>
                </c:pt>
                <c:pt idx="20">
                  <c:v>41015</c:v>
                </c:pt>
                <c:pt idx="21">
                  <c:v>41016</c:v>
                </c:pt>
                <c:pt idx="22">
                  <c:v>41017</c:v>
                </c:pt>
                <c:pt idx="23">
                  <c:v>41018</c:v>
                </c:pt>
                <c:pt idx="24">
                  <c:v>41019</c:v>
                </c:pt>
                <c:pt idx="25">
                  <c:v>41022</c:v>
                </c:pt>
                <c:pt idx="26">
                  <c:v>41023</c:v>
                </c:pt>
                <c:pt idx="27">
                  <c:v>41024</c:v>
                </c:pt>
                <c:pt idx="28">
                  <c:v>41025</c:v>
                </c:pt>
                <c:pt idx="29">
                  <c:v>41026</c:v>
                </c:pt>
                <c:pt idx="30">
                  <c:v>41029</c:v>
                </c:pt>
                <c:pt idx="31">
                  <c:v>41030</c:v>
                </c:pt>
                <c:pt idx="32">
                  <c:v>41031</c:v>
                </c:pt>
                <c:pt idx="33">
                  <c:v>41032</c:v>
                </c:pt>
                <c:pt idx="34">
                  <c:v>41033</c:v>
                </c:pt>
                <c:pt idx="35">
                  <c:v>41036</c:v>
                </c:pt>
                <c:pt idx="36">
                  <c:v>41037</c:v>
                </c:pt>
                <c:pt idx="37">
                  <c:v>41038</c:v>
                </c:pt>
                <c:pt idx="38">
                  <c:v>41039</c:v>
                </c:pt>
                <c:pt idx="39">
                  <c:v>41040</c:v>
                </c:pt>
                <c:pt idx="40">
                  <c:v>41043</c:v>
                </c:pt>
                <c:pt idx="41">
                  <c:v>41044</c:v>
                </c:pt>
                <c:pt idx="42">
                  <c:v>41045</c:v>
                </c:pt>
                <c:pt idx="43">
                  <c:v>41046</c:v>
                </c:pt>
                <c:pt idx="44">
                  <c:v>41047</c:v>
                </c:pt>
                <c:pt idx="45">
                  <c:v>41050</c:v>
                </c:pt>
                <c:pt idx="46">
                  <c:v>41051</c:v>
                </c:pt>
                <c:pt idx="47">
                  <c:v>41052</c:v>
                </c:pt>
                <c:pt idx="48">
                  <c:v>41053</c:v>
                </c:pt>
                <c:pt idx="49">
                  <c:v>41054</c:v>
                </c:pt>
                <c:pt idx="50">
                  <c:v>41057</c:v>
                </c:pt>
                <c:pt idx="51">
                  <c:v>41058</c:v>
                </c:pt>
                <c:pt idx="52">
                  <c:v>41059</c:v>
                </c:pt>
                <c:pt idx="53">
                  <c:v>41060</c:v>
                </c:pt>
                <c:pt idx="54">
                  <c:v>41061</c:v>
                </c:pt>
                <c:pt idx="55">
                  <c:v>41064</c:v>
                </c:pt>
                <c:pt idx="56">
                  <c:v>41065</c:v>
                </c:pt>
                <c:pt idx="57">
                  <c:v>41066</c:v>
                </c:pt>
                <c:pt idx="58">
                  <c:v>41067</c:v>
                </c:pt>
                <c:pt idx="59">
                  <c:v>41068</c:v>
                </c:pt>
                <c:pt idx="60">
                  <c:v>41071</c:v>
                </c:pt>
                <c:pt idx="61">
                  <c:v>41072</c:v>
                </c:pt>
                <c:pt idx="62">
                  <c:v>41073</c:v>
                </c:pt>
                <c:pt idx="63">
                  <c:v>41074</c:v>
                </c:pt>
                <c:pt idx="64">
                  <c:v>41075</c:v>
                </c:pt>
                <c:pt idx="65">
                  <c:v>41078</c:v>
                </c:pt>
                <c:pt idx="66">
                  <c:v>41079</c:v>
                </c:pt>
                <c:pt idx="67">
                  <c:v>41080</c:v>
                </c:pt>
                <c:pt idx="68">
                  <c:v>41081</c:v>
                </c:pt>
                <c:pt idx="69">
                  <c:v>41082</c:v>
                </c:pt>
                <c:pt idx="70">
                  <c:v>41085</c:v>
                </c:pt>
                <c:pt idx="71">
                  <c:v>41086</c:v>
                </c:pt>
                <c:pt idx="72">
                  <c:v>41087</c:v>
                </c:pt>
                <c:pt idx="73">
                  <c:v>41088</c:v>
                </c:pt>
                <c:pt idx="74">
                  <c:v>41089</c:v>
                </c:pt>
                <c:pt idx="75">
                  <c:v>41092</c:v>
                </c:pt>
                <c:pt idx="76">
                  <c:v>41093</c:v>
                </c:pt>
                <c:pt idx="77">
                  <c:v>41094</c:v>
                </c:pt>
                <c:pt idx="78">
                  <c:v>41095</c:v>
                </c:pt>
                <c:pt idx="79">
                  <c:v>41096</c:v>
                </c:pt>
                <c:pt idx="80">
                  <c:v>41099</c:v>
                </c:pt>
                <c:pt idx="81">
                  <c:v>41100</c:v>
                </c:pt>
                <c:pt idx="82">
                  <c:v>41101</c:v>
                </c:pt>
                <c:pt idx="83">
                  <c:v>41102</c:v>
                </c:pt>
                <c:pt idx="84">
                  <c:v>41103</c:v>
                </c:pt>
                <c:pt idx="85">
                  <c:v>41106</c:v>
                </c:pt>
                <c:pt idx="86">
                  <c:v>41107</c:v>
                </c:pt>
                <c:pt idx="87">
                  <c:v>41108</c:v>
                </c:pt>
                <c:pt idx="88">
                  <c:v>41109</c:v>
                </c:pt>
                <c:pt idx="89">
                  <c:v>41110</c:v>
                </c:pt>
                <c:pt idx="90">
                  <c:v>41113</c:v>
                </c:pt>
                <c:pt idx="91">
                  <c:v>41114</c:v>
                </c:pt>
                <c:pt idx="92">
                  <c:v>41115</c:v>
                </c:pt>
                <c:pt idx="93">
                  <c:v>41116</c:v>
                </c:pt>
                <c:pt idx="94">
                  <c:v>41117</c:v>
                </c:pt>
                <c:pt idx="95">
                  <c:v>41120</c:v>
                </c:pt>
                <c:pt idx="96">
                  <c:v>41121</c:v>
                </c:pt>
                <c:pt idx="97">
                  <c:v>41122</c:v>
                </c:pt>
                <c:pt idx="98">
                  <c:v>41123</c:v>
                </c:pt>
                <c:pt idx="99">
                  <c:v>41124</c:v>
                </c:pt>
                <c:pt idx="100">
                  <c:v>41127</c:v>
                </c:pt>
                <c:pt idx="101">
                  <c:v>41128</c:v>
                </c:pt>
                <c:pt idx="102">
                  <c:v>41129</c:v>
                </c:pt>
                <c:pt idx="103">
                  <c:v>41130</c:v>
                </c:pt>
                <c:pt idx="104">
                  <c:v>41131</c:v>
                </c:pt>
                <c:pt idx="105">
                  <c:v>41134</c:v>
                </c:pt>
                <c:pt idx="106">
                  <c:v>41135</c:v>
                </c:pt>
                <c:pt idx="107">
                  <c:v>41136</c:v>
                </c:pt>
                <c:pt idx="108">
                  <c:v>41137</c:v>
                </c:pt>
                <c:pt idx="109">
                  <c:v>41138</c:v>
                </c:pt>
                <c:pt idx="110">
                  <c:v>41141</c:v>
                </c:pt>
                <c:pt idx="111">
                  <c:v>41142</c:v>
                </c:pt>
                <c:pt idx="112">
                  <c:v>41143</c:v>
                </c:pt>
                <c:pt idx="113">
                  <c:v>41144</c:v>
                </c:pt>
                <c:pt idx="114">
                  <c:v>41145</c:v>
                </c:pt>
                <c:pt idx="115">
                  <c:v>41148</c:v>
                </c:pt>
                <c:pt idx="116">
                  <c:v>41149</c:v>
                </c:pt>
                <c:pt idx="117">
                  <c:v>41150</c:v>
                </c:pt>
                <c:pt idx="118">
                  <c:v>41151</c:v>
                </c:pt>
                <c:pt idx="119">
                  <c:v>41152</c:v>
                </c:pt>
                <c:pt idx="120">
                  <c:v>41155</c:v>
                </c:pt>
                <c:pt idx="121">
                  <c:v>41156</c:v>
                </c:pt>
                <c:pt idx="122">
                  <c:v>41157</c:v>
                </c:pt>
                <c:pt idx="123">
                  <c:v>41158</c:v>
                </c:pt>
                <c:pt idx="124">
                  <c:v>41159</c:v>
                </c:pt>
                <c:pt idx="125">
                  <c:v>41162</c:v>
                </c:pt>
                <c:pt idx="126">
                  <c:v>41163</c:v>
                </c:pt>
                <c:pt idx="127">
                  <c:v>41164</c:v>
                </c:pt>
                <c:pt idx="128">
                  <c:v>41165</c:v>
                </c:pt>
                <c:pt idx="129">
                  <c:v>41166</c:v>
                </c:pt>
                <c:pt idx="130">
                  <c:v>41169</c:v>
                </c:pt>
                <c:pt idx="131">
                  <c:v>41170</c:v>
                </c:pt>
                <c:pt idx="132">
                  <c:v>41171</c:v>
                </c:pt>
                <c:pt idx="133">
                  <c:v>41172</c:v>
                </c:pt>
                <c:pt idx="134">
                  <c:v>41173</c:v>
                </c:pt>
                <c:pt idx="135">
                  <c:v>41176</c:v>
                </c:pt>
                <c:pt idx="136">
                  <c:v>41177</c:v>
                </c:pt>
                <c:pt idx="137">
                  <c:v>41178</c:v>
                </c:pt>
                <c:pt idx="138">
                  <c:v>41179</c:v>
                </c:pt>
                <c:pt idx="139">
                  <c:v>41180</c:v>
                </c:pt>
                <c:pt idx="140">
                  <c:v>41183</c:v>
                </c:pt>
                <c:pt idx="141">
                  <c:v>41184</c:v>
                </c:pt>
                <c:pt idx="142">
                  <c:v>41185</c:v>
                </c:pt>
                <c:pt idx="143">
                  <c:v>41186</c:v>
                </c:pt>
                <c:pt idx="144">
                  <c:v>41187</c:v>
                </c:pt>
                <c:pt idx="145">
                  <c:v>41190</c:v>
                </c:pt>
                <c:pt idx="146">
                  <c:v>41191</c:v>
                </c:pt>
                <c:pt idx="147">
                  <c:v>41192</c:v>
                </c:pt>
                <c:pt idx="148">
                  <c:v>41193</c:v>
                </c:pt>
                <c:pt idx="149">
                  <c:v>41194</c:v>
                </c:pt>
                <c:pt idx="150">
                  <c:v>41197</c:v>
                </c:pt>
                <c:pt idx="151">
                  <c:v>41198</c:v>
                </c:pt>
                <c:pt idx="152">
                  <c:v>41199</c:v>
                </c:pt>
                <c:pt idx="153">
                  <c:v>41200</c:v>
                </c:pt>
                <c:pt idx="154">
                  <c:v>41201</c:v>
                </c:pt>
                <c:pt idx="155">
                  <c:v>41204</c:v>
                </c:pt>
                <c:pt idx="156">
                  <c:v>41205</c:v>
                </c:pt>
                <c:pt idx="157">
                  <c:v>41206</c:v>
                </c:pt>
                <c:pt idx="158">
                  <c:v>41207</c:v>
                </c:pt>
                <c:pt idx="159">
                  <c:v>41208</c:v>
                </c:pt>
                <c:pt idx="160">
                  <c:v>41211</c:v>
                </c:pt>
                <c:pt idx="161">
                  <c:v>41212</c:v>
                </c:pt>
                <c:pt idx="162">
                  <c:v>41213</c:v>
                </c:pt>
                <c:pt idx="163">
                  <c:v>41214</c:v>
                </c:pt>
                <c:pt idx="164">
                  <c:v>41215</c:v>
                </c:pt>
                <c:pt idx="165">
                  <c:v>41218</c:v>
                </c:pt>
                <c:pt idx="166">
                  <c:v>41219</c:v>
                </c:pt>
                <c:pt idx="167">
                  <c:v>41220</c:v>
                </c:pt>
                <c:pt idx="168">
                  <c:v>41221</c:v>
                </c:pt>
                <c:pt idx="169">
                  <c:v>41222</c:v>
                </c:pt>
                <c:pt idx="170">
                  <c:v>41225</c:v>
                </c:pt>
                <c:pt idx="171">
                  <c:v>41226</c:v>
                </c:pt>
                <c:pt idx="172">
                  <c:v>41227</c:v>
                </c:pt>
                <c:pt idx="173">
                  <c:v>41228</c:v>
                </c:pt>
                <c:pt idx="174">
                  <c:v>41229</c:v>
                </c:pt>
                <c:pt idx="175">
                  <c:v>41232</c:v>
                </c:pt>
                <c:pt idx="176">
                  <c:v>41233</c:v>
                </c:pt>
                <c:pt idx="177">
                  <c:v>41234</c:v>
                </c:pt>
                <c:pt idx="178">
                  <c:v>41235</c:v>
                </c:pt>
                <c:pt idx="179">
                  <c:v>41236</c:v>
                </c:pt>
                <c:pt idx="180">
                  <c:v>41239</c:v>
                </c:pt>
                <c:pt idx="181">
                  <c:v>41240</c:v>
                </c:pt>
                <c:pt idx="182">
                  <c:v>41241</c:v>
                </c:pt>
                <c:pt idx="183">
                  <c:v>41242</c:v>
                </c:pt>
                <c:pt idx="184">
                  <c:v>41243</c:v>
                </c:pt>
                <c:pt idx="185">
                  <c:v>41246</c:v>
                </c:pt>
                <c:pt idx="186">
                  <c:v>41247</c:v>
                </c:pt>
                <c:pt idx="187">
                  <c:v>41248</c:v>
                </c:pt>
                <c:pt idx="188">
                  <c:v>41249</c:v>
                </c:pt>
                <c:pt idx="189">
                  <c:v>41250</c:v>
                </c:pt>
                <c:pt idx="190">
                  <c:v>41253</c:v>
                </c:pt>
                <c:pt idx="191">
                  <c:v>41254</c:v>
                </c:pt>
                <c:pt idx="192">
                  <c:v>41255</c:v>
                </c:pt>
                <c:pt idx="193">
                  <c:v>41256</c:v>
                </c:pt>
                <c:pt idx="194">
                  <c:v>41257</c:v>
                </c:pt>
                <c:pt idx="195">
                  <c:v>41260</c:v>
                </c:pt>
                <c:pt idx="196">
                  <c:v>41261</c:v>
                </c:pt>
                <c:pt idx="197">
                  <c:v>41262</c:v>
                </c:pt>
                <c:pt idx="198">
                  <c:v>41263</c:v>
                </c:pt>
                <c:pt idx="199">
                  <c:v>41264</c:v>
                </c:pt>
                <c:pt idx="200">
                  <c:v>41267</c:v>
                </c:pt>
                <c:pt idx="201">
                  <c:v>41268</c:v>
                </c:pt>
                <c:pt idx="202">
                  <c:v>41269</c:v>
                </c:pt>
                <c:pt idx="203">
                  <c:v>41270</c:v>
                </c:pt>
                <c:pt idx="204">
                  <c:v>41271</c:v>
                </c:pt>
                <c:pt idx="205">
                  <c:v>41274</c:v>
                </c:pt>
                <c:pt idx="206">
                  <c:v>41275</c:v>
                </c:pt>
                <c:pt idx="207">
                  <c:v>41276</c:v>
                </c:pt>
                <c:pt idx="208">
                  <c:v>41277</c:v>
                </c:pt>
                <c:pt idx="209">
                  <c:v>41278</c:v>
                </c:pt>
                <c:pt idx="210">
                  <c:v>41281</c:v>
                </c:pt>
                <c:pt idx="211">
                  <c:v>41282</c:v>
                </c:pt>
                <c:pt idx="212">
                  <c:v>41283</c:v>
                </c:pt>
                <c:pt idx="213">
                  <c:v>41284</c:v>
                </c:pt>
                <c:pt idx="214">
                  <c:v>41285</c:v>
                </c:pt>
                <c:pt idx="215">
                  <c:v>41288</c:v>
                </c:pt>
                <c:pt idx="216">
                  <c:v>41289</c:v>
                </c:pt>
                <c:pt idx="217">
                  <c:v>41290</c:v>
                </c:pt>
                <c:pt idx="218">
                  <c:v>41291</c:v>
                </c:pt>
                <c:pt idx="219">
                  <c:v>41292</c:v>
                </c:pt>
                <c:pt idx="220">
                  <c:v>41295</c:v>
                </c:pt>
                <c:pt idx="221">
                  <c:v>41296</c:v>
                </c:pt>
                <c:pt idx="222">
                  <c:v>41297</c:v>
                </c:pt>
                <c:pt idx="223">
                  <c:v>41298</c:v>
                </c:pt>
                <c:pt idx="224">
                  <c:v>41299</c:v>
                </c:pt>
                <c:pt idx="225">
                  <c:v>41302</c:v>
                </c:pt>
                <c:pt idx="226">
                  <c:v>41303</c:v>
                </c:pt>
                <c:pt idx="227">
                  <c:v>41304</c:v>
                </c:pt>
                <c:pt idx="228">
                  <c:v>41305</c:v>
                </c:pt>
                <c:pt idx="229">
                  <c:v>41306</c:v>
                </c:pt>
                <c:pt idx="230">
                  <c:v>41309</c:v>
                </c:pt>
                <c:pt idx="231">
                  <c:v>41310</c:v>
                </c:pt>
                <c:pt idx="232">
                  <c:v>41311</c:v>
                </c:pt>
                <c:pt idx="233">
                  <c:v>41312</c:v>
                </c:pt>
                <c:pt idx="234">
                  <c:v>41313</c:v>
                </c:pt>
                <c:pt idx="235">
                  <c:v>41316</c:v>
                </c:pt>
                <c:pt idx="236">
                  <c:v>41317</c:v>
                </c:pt>
                <c:pt idx="237">
                  <c:v>41318</c:v>
                </c:pt>
                <c:pt idx="238">
                  <c:v>41319</c:v>
                </c:pt>
                <c:pt idx="239">
                  <c:v>41320</c:v>
                </c:pt>
                <c:pt idx="240">
                  <c:v>41323</c:v>
                </c:pt>
                <c:pt idx="241">
                  <c:v>41324</c:v>
                </c:pt>
                <c:pt idx="242">
                  <c:v>41325</c:v>
                </c:pt>
                <c:pt idx="243">
                  <c:v>41326</c:v>
                </c:pt>
                <c:pt idx="244">
                  <c:v>41327</c:v>
                </c:pt>
                <c:pt idx="245">
                  <c:v>41330</c:v>
                </c:pt>
                <c:pt idx="246">
                  <c:v>41331</c:v>
                </c:pt>
                <c:pt idx="247">
                  <c:v>41332</c:v>
                </c:pt>
                <c:pt idx="248">
                  <c:v>41333</c:v>
                </c:pt>
                <c:pt idx="249">
                  <c:v>41334</c:v>
                </c:pt>
                <c:pt idx="250">
                  <c:v>41337</c:v>
                </c:pt>
                <c:pt idx="251">
                  <c:v>41338</c:v>
                </c:pt>
                <c:pt idx="252">
                  <c:v>41339</c:v>
                </c:pt>
                <c:pt idx="253">
                  <c:v>41340</c:v>
                </c:pt>
                <c:pt idx="254">
                  <c:v>41341</c:v>
                </c:pt>
                <c:pt idx="255">
                  <c:v>41344</c:v>
                </c:pt>
                <c:pt idx="256">
                  <c:v>41345</c:v>
                </c:pt>
                <c:pt idx="257">
                  <c:v>41346</c:v>
                </c:pt>
                <c:pt idx="258">
                  <c:v>41347</c:v>
                </c:pt>
                <c:pt idx="259">
                  <c:v>41348</c:v>
                </c:pt>
                <c:pt idx="260">
                  <c:v>41351</c:v>
                </c:pt>
                <c:pt idx="261">
                  <c:v>41352</c:v>
                </c:pt>
                <c:pt idx="262">
                  <c:v>41353</c:v>
                </c:pt>
                <c:pt idx="263">
                  <c:v>41354</c:v>
                </c:pt>
                <c:pt idx="264">
                  <c:v>41355</c:v>
                </c:pt>
                <c:pt idx="265">
                  <c:v>41358</c:v>
                </c:pt>
                <c:pt idx="266">
                  <c:v>41359</c:v>
                </c:pt>
                <c:pt idx="267">
                  <c:v>41360</c:v>
                </c:pt>
                <c:pt idx="268">
                  <c:v>41361</c:v>
                </c:pt>
                <c:pt idx="269">
                  <c:v>41362</c:v>
                </c:pt>
                <c:pt idx="270">
                  <c:v>41365</c:v>
                </c:pt>
                <c:pt idx="271">
                  <c:v>41366</c:v>
                </c:pt>
                <c:pt idx="272">
                  <c:v>41367</c:v>
                </c:pt>
                <c:pt idx="273">
                  <c:v>41368</c:v>
                </c:pt>
                <c:pt idx="274">
                  <c:v>41369</c:v>
                </c:pt>
                <c:pt idx="275">
                  <c:v>41372</c:v>
                </c:pt>
                <c:pt idx="276">
                  <c:v>41373</c:v>
                </c:pt>
                <c:pt idx="277">
                  <c:v>41374</c:v>
                </c:pt>
                <c:pt idx="278">
                  <c:v>41375</c:v>
                </c:pt>
                <c:pt idx="279">
                  <c:v>41376</c:v>
                </c:pt>
                <c:pt idx="280">
                  <c:v>41379</c:v>
                </c:pt>
                <c:pt idx="281">
                  <c:v>41380</c:v>
                </c:pt>
                <c:pt idx="282">
                  <c:v>41381</c:v>
                </c:pt>
                <c:pt idx="283">
                  <c:v>41382</c:v>
                </c:pt>
                <c:pt idx="284">
                  <c:v>41383</c:v>
                </c:pt>
                <c:pt idx="285">
                  <c:v>41386</c:v>
                </c:pt>
                <c:pt idx="286">
                  <c:v>41387</c:v>
                </c:pt>
                <c:pt idx="287">
                  <c:v>41388</c:v>
                </c:pt>
                <c:pt idx="288">
                  <c:v>41389</c:v>
                </c:pt>
                <c:pt idx="289">
                  <c:v>41390</c:v>
                </c:pt>
                <c:pt idx="290">
                  <c:v>41393</c:v>
                </c:pt>
                <c:pt idx="291">
                  <c:v>41394</c:v>
                </c:pt>
                <c:pt idx="292">
                  <c:v>41395</c:v>
                </c:pt>
                <c:pt idx="293">
                  <c:v>41396</c:v>
                </c:pt>
                <c:pt idx="294">
                  <c:v>41397</c:v>
                </c:pt>
                <c:pt idx="295">
                  <c:v>41400</c:v>
                </c:pt>
                <c:pt idx="296">
                  <c:v>41401</c:v>
                </c:pt>
                <c:pt idx="297">
                  <c:v>41402</c:v>
                </c:pt>
                <c:pt idx="298">
                  <c:v>41403</c:v>
                </c:pt>
                <c:pt idx="299">
                  <c:v>41404</c:v>
                </c:pt>
                <c:pt idx="300">
                  <c:v>41407</c:v>
                </c:pt>
                <c:pt idx="301">
                  <c:v>41408</c:v>
                </c:pt>
                <c:pt idx="302">
                  <c:v>41409</c:v>
                </c:pt>
                <c:pt idx="303">
                  <c:v>41410</c:v>
                </c:pt>
                <c:pt idx="304">
                  <c:v>41411</c:v>
                </c:pt>
                <c:pt idx="305">
                  <c:v>41414</c:v>
                </c:pt>
                <c:pt idx="306">
                  <c:v>41415</c:v>
                </c:pt>
                <c:pt idx="307">
                  <c:v>41416</c:v>
                </c:pt>
                <c:pt idx="308">
                  <c:v>41417</c:v>
                </c:pt>
                <c:pt idx="309">
                  <c:v>41418</c:v>
                </c:pt>
                <c:pt idx="310">
                  <c:v>41421</c:v>
                </c:pt>
                <c:pt idx="311">
                  <c:v>41422</c:v>
                </c:pt>
                <c:pt idx="312">
                  <c:v>41423</c:v>
                </c:pt>
                <c:pt idx="313">
                  <c:v>41424</c:v>
                </c:pt>
                <c:pt idx="314">
                  <c:v>41425</c:v>
                </c:pt>
                <c:pt idx="315">
                  <c:v>41428</c:v>
                </c:pt>
                <c:pt idx="316">
                  <c:v>41429</c:v>
                </c:pt>
                <c:pt idx="317">
                  <c:v>41430</c:v>
                </c:pt>
                <c:pt idx="318">
                  <c:v>41431</c:v>
                </c:pt>
                <c:pt idx="319">
                  <c:v>41432</c:v>
                </c:pt>
                <c:pt idx="320">
                  <c:v>41435</c:v>
                </c:pt>
                <c:pt idx="321">
                  <c:v>41436</c:v>
                </c:pt>
                <c:pt idx="322">
                  <c:v>41437</c:v>
                </c:pt>
                <c:pt idx="323">
                  <c:v>41438</c:v>
                </c:pt>
                <c:pt idx="324">
                  <c:v>41439</c:v>
                </c:pt>
                <c:pt idx="325">
                  <c:v>41442</c:v>
                </c:pt>
                <c:pt idx="326">
                  <c:v>41443</c:v>
                </c:pt>
                <c:pt idx="327">
                  <c:v>41444</c:v>
                </c:pt>
                <c:pt idx="328">
                  <c:v>41445</c:v>
                </c:pt>
                <c:pt idx="329">
                  <c:v>41446</c:v>
                </c:pt>
                <c:pt idx="330">
                  <c:v>41449</c:v>
                </c:pt>
                <c:pt idx="331">
                  <c:v>41450</c:v>
                </c:pt>
                <c:pt idx="332">
                  <c:v>41451</c:v>
                </c:pt>
                <c:pt idx="333">
                  <c:v>41452</c:v>
                </c:pt>
                <c:pt idx="334">
                  <c:v>41453</c:v>
                </c:pt>
                <c:pt idx="335">
                  <c:v>41456</c:v>
                </c:pt>
                <c:pt idx="336">
                  <c:v>41457</c:v>
                </c:pt>
                <c:pt idx="337">
                  <c:v>41458</c:v>
                </c:pt>
                <c:pt idx="338">
                  <c:v>41459</c:v>
                </c:pt>
                <c:pt idx="339">
                  <c:v>41460</c:v>
                </c:pt>
                <c:pt idx="340">
                  <c:v>41463</c:v>
                </c:pt>
                <c:pt idx="341">
                  <c:v>41464</c:v>
                </c:pt>
                <c:pt idx="342">
                  <c:v>41465</c:v>
                </c:pt>
                <c:pt idx="343">
                  <c:v>41466</c:v>
                </c:pt>
                <c:pt idx="344">
                  <c:v>41467</c:v>
                </c:pt>
                <c:pt idx="345">
                  <c:v>41470</c:v>
                </c:pt>
                <c:pt idx="346">
                  <c:v>41471</c:v>
                </c:pt>
                <c:pt idx="347">
                  <c:v>41472</c:v>
                </c:pt>
                <c:pt idx="348">
                  <c:v>41473</c:v>
                </c:pt>
                <c:pt idx="349">
                  <c:v>41474</c:v>
                </c:pt>
                <c:pt idx="350">
                  <c:v>41477</c:v>
                </c:pt>
                <c:pt idx="351">
                  <c:v>41478</c:v>
                </c:pt>
                <c:pt idx="352">
                  <c:v>41479</c:v>
                </c:pt>
                <c:pt idx="353">
                  <c:v>41480</c:v>
                </c:pt>
                <c:pt idx="354">
                  <c:v>41481</c:v>
                </c:pt>
                <c:pt idx="355">
                  <c:v>41484</c:v>
                </c:pt>
                <c:pt idx="356">
                  <c:v>41485</c:v>
                </c:pt>
                <c:pt idx="357">
                  <c:v>41486</c:v>
                </c:pt>
                <c:pt idx="358">
                  <c:v>41487</c:v>
                </c:pt>
                <c:pt idx="359">
                  <c:v>41488</c:v>
                </c:pt>
                <c:pt idx="360">
                  <c:v>41491</c:v>
                </c:pt>
                <c:pt idx="361">
                  <c:v>41492</c:v>
                </c:pt>
                <c:pt idx="362">
                  <c:v>41493</c:v>
                </c:pt>
                <c:pt idx="363">
                  <c:v>41494</c:v>
                </c:pt>
                <c:pt idx="364">
                  <c:v>41495</c:v>
                </c:pt>
                <c:pt idx="365">
                  <c:v>41498</c:v>
                </c:pt>
                <c:pt idx="366">
                  <c:v>41499</c:v>
                </c:pt>
                <c:pt idx="367">
                  <c:v>41500</c:v>
                </c:pt>
                <c:pt idx="368">
                  <c:v>41501</c:v>
                </c:pt>
                <c:pt idx="369">
                  <c:v>41502</c:v>
                </c:pt>
                <c:pt idx="370">
                  <c:v>41505</c:v>
                </c:pt>
                <c:pt idx="371">
                  <c:v>41506</c:v>
                </c:pt>
                <c:pt idx="372">
                  <c:v>41507</c:v>
                </c:pt>
                <c:pt idx="373">
                  <c:v>41508</c:v>
                </c:pt>
                <c:pt idx="374">
                  <c:v>41509</c:v>
                </c:pt>
                <c:pt idx="375">
                  <c:v>41512</c:v>
                </c:pt>
                <c:pt idx="376">
                  <c:v>41513</c:v>
                </c:pt>
                <c:pt idx="377">
                  <c:v>41514</c:v>
                </c:pt>
                <c:pt idx="378">
                  <c:v>41515</c:v>
                </c:pt>
                <c:pt idx="379">
                  <c:v>41516</c:v>
                </c:pt>
                <c:pt idx="380">
                  <c:v>41519</c:v>
                </c:pt>
                <c:pt idx="381">
                  <c:v>41520</c:v>
                </c:pt>
                <c:pt idx="382">
                  <c:v>41521</c:v>
                </c:pt>
                <c:pt idx="383">
                  <c:v>41522</c:v>
                </c:pt>
                <c:pt idx="384">
                  <c:v>41523</c:v>
                </c:pt>
                <c:pt idx="385">
                  <c:v>41526</c:v>
                </c:pt>
                <c:pt idx="386">
                  <c:v>41527</c:v>
                </c:pt>
                <c:pt idx="387">
                  <c:v>41528</c:v>
                </c:pt>
                <c:pt idx="388">
                  <c:v>41529</c:v>
                </c:pt>
                <c:pt idx="389">
                  <c:v>41530</c:v>
                </c:pt>
                <c:pt idx="390">
                  <c:v>41533</c:v>
                </c:pt>
                <c:pt idx="391">
                  <c:v>41534</c:v>
                </c:pt>
                <c:pt idx="392">
                  <c:v>41535</c:v>
                </c:pt>
                <c:pt idx="393">
                  <c:v>41536</c:v>
                </c:pt>
                <c:pt idx="394">
                  <c:v>41537</c:v>
                </c:pt>
                <c:pt idx="395">
                  <c:v>41540</c:v>
                </c:pt>
                <c:pt idx="396">
                  <c:v>41541</c:v>
                </c:pt>
                <c:pt idx="397">
                  <c:v>41542</c:v>
                </c:pt>
                <c:pt idx="398">
                  <c:v>41543</c:v>
                </c:pt>
                <c:pt idx="399">
                  <c:v>41544</c:v>
                </c:pt>
                <c:pt idx="400">
                  <c:v>41547</c:v>
                </c:pt>
                <c:pt idx="401">
                  <c:v>41548</c:v>
                </c:pt>
                <c:pt idx="402">
                  <c:v>41549</c:v>
                </c:pt>
                <c:pt idx="403">
                  <c:v>41550</c:v>
                </c:pt>
                <c:pt idx="404">
                  <c:v>41551</c:v>
                </c:pt>
                <c:pt idx="405">
                  <c:v>41554</c:v>
                </c:pt>
                <c:pt idx="406">
                  <c:v>41555</c:v>
                </c:pt>
                <c:pt idx="407">
                  <c:v>41556</c:v>
                </c:pt>
                <c:pt idx="408">
                  <c:v>41557</c:v>
                </c:pt>
                <c:pt idx="409">
                  <c:v>41558</c:v>
                </c:pt>
                <c:pt idx="410">
                  <c:v>41561</c:v>
                </c:pt>
                <c:pt idx="411">
                  <c:v>41562</c:v>
                </c:pt>
                <c:pt idx="412">
                  <c:v>41563</c:v>
                </c:pt>
                <c:pt idx="413">
                  <c:v>41564</c:v>
                </c:pt>
                <c:pt idx="414">
                  <c:v>41565</c:v>
                </c:pt>
                <c:pt idx="415">
                  <c:v>41568</c:v>
                </c:pt>
                <c:pt idx="416">
                  <c:v>41569</c:v>
                </c:pt>
                <c:pt idx="417">
                  <c:v>41570</c:v>
                </c:pt>
                <c:pt idx="418">
                  <c:v>41571</c:v>
                </c:pt>
                <c:pt idx="419">
                  <c:v>41572</c:v>
                </c:pt>
                <c:pt idx="420">
                  <c:v>41575</c:v>
                </c:pt>
                <c:pt idx="421">
                  <c:v>41576</c:v>
                </c:pt>
                <c:pt idx="422">
                  <c:v>41577</c:v>
                </c:pt>
                <c:pt idx="423">
                  <c:v>41578</c:v>
                </c:pt>
                <c:pt idx="424">
                  <c:v>41579</c:v>
                </c:pt>
                <c:pt idx="425">
                  <c:v>41582</c:v>
                </c:pt>
                <c:pt idx="426">
                  <c:v>41583</c:v>
                </c:pt>
                <c:pt idx="427">
                  <c:v>41584</c:v>
                </c:pt>
                <c:pt idx="428">
                  <c:v>41585</c:v>
                </c:pt>
                <c:pt idx="429">
                  <c:v>41586</c:v>
                </c:pt>
                <c:pt idx="430">
                  <c:v>41589</c:v>
                </c:pt>
                <c:pt idx="431">
                  <c:v>41590</c:v>
                </c:pt>
                <c:pt idx="432">
                  <c:v>41591</c:v>
                </c:pt>
                <c:pt idx="433">
                  <c:v>41592</c:v>
                </c:pt>
                <c:pt idx="434">
                  <c:v>41593</c:v>
                </c:pt>
                <c:pt idx="435">
                  <c:v>41596</c:v>
                </c:pt>
                <c:pt idx="436">
                  <c:v>41597</c:v>
                </c:pt>
                <c:pt idx="437">
                  <c:v>41598</c:v>
                </c:pt>
                <c:pt idx="438">
                  <c:v>41599</c:v>
                </c:pt>
                <c:pt idx="439">
                  <c:v>41600</c:v>
                </c:pt>
                <c:pt idx="440">
                  <c:v>41603</c:v>
                </c:pt>
                <c:pt idx="441">
                  <c:v>41604</c:v>
                </c:pt>
                <c:pt idx="442">
                  <c:v>41605</c:v>
                </c:pt>
                <c:pt idx="443">
                  <c:v>41606</c:v>
                </c:pt>
                <c:pt idx="444">
                  <c:v>41607</c:v>
                </c:pt>
                <c:pt idx="445">
                  <c:v>41610</c:v>
                </c:pt>
                <c:pt idx="446">
                  <c:v>41611</c:v>
                </c:pt>
                <c:pt idx="447">
                  <c:v>41612</c:v>
                </c:pt>
                <c:pt idx="448">
                  <c:v>41613</c:v>
                </c:pt>
                <c:pt idx="449">
                  <c:v>41614</c:v>
                </c:pt>
                <c:pt idx="450">
                  <c:v>41617</c:v>
                </c:pt>
                <c:pt idx="451">
                  <c:v>41618</c:v>
                </c:pt>
                <c:pt idx="452">
                  <c:v>41619</c:v>
                </c:pt>
                <c:pt idx="453">
                  <c:v>41620</c:v>
                </c:pt>
                <c:pt idx="454">
                  <c:v>41621</c:v>
                </c:pt>
                <c:pt idx="455">
                  <c:v>41624</c:v>
                </c:pt>
                <c:pt idx="456">
                  <c:v>41625</c:v>
                </c:pt>
                <c:pt idx="457">
                  <c:v>41626</c:v>
                </c:pt>
                <c:pt idx="458">
                  <c:v>41627</c:v>
                </c:pt>
                <c:pt idx="459">
                  <c:v>41628</c:v>
                </c:pt>
                <c:pt idx="460">
                  <c:v>41631</c:v>
                </c:pt>
                <c:pt idx="461">
                  <c:v>41632</c:v>
                </c:pt>
                <c:pt idx="462">
                  <c:v>41633</c:v>
                </c:pt>
                <c:pt idx="463">
                  <c:v>41634</c:v>
                </c:pt>
                <c:pt idx="464">
                  <c:v>41635</c:v>
                </c:pt>
                <c:pt idx="465">
                  <c:v>41638</c:v>
                </c:pt>
                <c:pt idx="466">
                  <c:v>41639</c:v>
                </c:pt>
                <c:pt idx="467">
                  <c:v>41640</c:v>
                </c:pt>
                <c:pt idx="468">
                  <c:v>41641</c:v>
                </c:pt>
                <c:pt idx="469">
                  <c:v>41642</c:v>
                </c:pt>
                <c:pt idx="470">
                  <c:v>41645</c:v>
                </c:pt>
                <c:pt idx="471">
                  <c:v>41646</c:v>
                </c:pt>
                <c:pt idx="472">
                  <c:v>41647</c:v>
                </c:pt>
                <c:pt idx="473">
                  <c:v>41648</c:v>
                </c:pt>
                <c:pt idx="474">
                  <c:v>41649</c:v>
                </c:pt>
                <c:pt idx="475">
                  <c:v>41652</c:v>
                </c:pt>
                <c:pt idx="476">
                  <c:v>41653</c:v>
                </c:pt>
                <c:pt idx="477">
                  <c:v>41654</c:v>
                </c:pt>
                <c:pt idx="478">
                  <c:v>41655</c:v>
                </c:pt>
                <c:pt idx="479">
                  <c:v>41656</c:v>
                </c:pt>
                <c:pt idx="480">
                  <c:v>41659</c:v>
                </c:pt>
                <c:pt idx="481">
                  <c:v>41660</c:v>
                </c:pt>
                <c:pt idx="482">
                  <c:v>41661</c:v>
                </c:pt>
                <c:pt idx="483">
                  <c:v>41662</c:v>
                </c:pt>
                <c:pt idx="484">
                  <c:v>41663</c:v>
                </c:pt>
                <c:pt idx="485">
                  <c:v>41666</c:v>
                </c:pt>
                <c:pt idx="486">
                  <c:v>41667</c:v>
                </c:pt>
                <c:pt idx="487">
                  <c:v>41668</c:v>
                </c:pt>
                <c:pt idx="488">
                  <c:v>41669</c:v>
                </c:pt>
                <c:pt idx="489">
                  <c:v>41670</c:v>
                </c:pt>
                <c:pt idx="490">
                  <c:v>41673</c:v>
                </c:pt>
                <c:pt idx="491">
                  <c:v>41674</c:v>
                </c:pt>
                <c:pt idx="492">
                  <c:v>41675</c:v>
                </c:pt>
                <c:pt idx="493">
                  <c:v>41676</c:v>
                </c:pt>
                <c:pt idx="494">
                  <c:v>41677</c:v>
                </c:pt>
                <c:pt idx="495">
                  <c:v>41680</c:v>
                </c:pt>
                <c:pt idx="496">
                  <c:v>41681</c:v>
                </c:pt>
                <c:pt idx="497">
                  <c:v>41682</c:v>
                </c:pt>
                <c:pt idx="498">
                  <c:v>41683</c:v>
                </c:pt>
                <c:pt idx="499">
                  <c:v>41684</c:v>
                </c:pt>
                <c:pt idx="500">
                  <c:v>41687</c:v>
                </c:pt>
                <c:pt idx="501">
                  <c:v>41688</c:v>
                </c:pt>
                <c:pt idx="502">
                  <c:v>41689</c:v>
                </c:pt>
                <c:pt idx="503">
                  <c:v>41690</c:v>
                </c:pt>
                <c:pt idx="504">
                  <c:v>41691</c:v>
                </c:pt>
                <c:pt idx="505">
                  <c:v>41694</c:v>
                </c:pt>
                <c:pt idx="506">
                  <c:v>41695</c:v>
                </c:pt>
                <c:pt idx="507">
                  <c:v>41696</c:v>
                </c:pt>
                <c:pt idx="508">
                  <c:v>41697</c:v>
                </c:pt>
                <c:pt idx="509">
                  <c:v>41698</c:v>
                </c:pt>
                <c:pt idx="510">
                  <c:v>41701</c:v>
                </c:pt>
                <c:pt idx="511">
                  <c:v>41702</c:v>
                </c:pt>
                <c:pt idx="512">
                  <c:v>41703</c:v>
                </c:pt>
                <c:pt idx="513">
                  <c:v>41704</c:v>
                </c:pt>
                <c:pt idx="514">
                  <c:v>41705</c:v>
                </c:pt>
                <c:pt idx="515">
                  <c:v>41708</c:v>
                </c:pt>
                <c:pt idx="516">
                  <c:v>41709</c:v>
                </c:pt>
                <c:pt idx="517">
                  <c:v>41710</c:v>
                </c:pt>
                <c:pt idx="518">
                  <c:v>41711</c:v>
                </c:pt>
                <c:pt idx="519">
                  <c:v>41712</c:v>
                </c:pt>
                <c:pt idx="520">
                  <c:v>41715</c:v>
                </c:pt>
                <c:pt idx="521">
                  <c:v>41716</c:v>
                </c:pt>
                <c:pt idx="522">
                  <c:v>41717</c:v>
                </c:pt>
                <c:pt idx="523">
                  <c:v>41718</c:v>
                </c:pt>
                <c:pt idx="524">
                  <c:v>41719</c:v>
                </c:pt>
                <c:pt idx="525">
                  <c:v>41722</c:v>
                </c:pt>
                <c:pt idx="526">
                  <c:v>41723</c:v>
                </c:pt>
                <c:pt idx="527">
                  <c:v>41724</c:v>
                </c:pt>
                <c:pt idx="528">
                  <c:v>41725</c:v>
                </c:pt>
                <c:pt idx="529">
                  <c:v>41726</c:v>
                </c:pt>
                <c:pt idx="530">
                  <c:v>41729</c:v>
                </c:pt>
                <c:pt idx="531">
                  <c:v>41730</c:v>
                </c:pt>
                <c:pt idx="532">
                  <c:v>41731</c:v>
                </c:pt>
                <c:pt idx="533">
                  <c:v>41732</c:v>
                </c:pt>
                <c:pt idx="534">
                  <c:v>41733</c:v>
                </c:pt>
                <c:pt idx="535">
                  <c:v>41736</c:v>
                </c:pt>
                <c:pt idx="536">
                  <c:v>41737</c:v>
                </c:pt>
                <c:pt idx="537">
                  <c:v>41738</c:v>
                </c:pt>
                <c:pt idx="538">
                  <c:v>41739</c:v>
                </c:pt>
                <c:pt idx="539">
                  <c:v>41740</c:v>
                </c:pt>
                <c:pt idx="540">
                  <c:v>41743</c:v>
                </c:pt>
                <c:pt idx="541">
                  <c:v>41744</c:v>
                </c:pt>
                <c:pt idx="542">
                  <c:v>41745</c:v>
                </c:pt>
                <c:pt idx="543">
                  <c:v>41746</c:v>
                </c:pt>
                <c:pt idx="544">
                  <c:v>41747</c:v>
                </c:pt>
                <c:pt idx="545">
                  <c:v>41750</c:v>
                </c:pt>
                <c:pt idx="546">
                  <c:v>41751</c:v>
                </c:pt>
                <c:pt idx="547">
                  <c:v>41752</c:v>
                </c:pt>
                <c:pt idx="548">
                  <c:v>41753</c:v>
                </c:pt>
                <c:pt idx="549">
                  <c:v>41754</c:v>
                </c:pt>
                <c:pt idx="550">
                  <c:v>41757</c:v>
                </c:pt>
                <c:pt idx="551">
                  <c:v>41758</c:v>
                </c:pt>
                <c:pt idx="552">
                  <c:v>41759</c:v>
                </c:pt>
                <c:pt idx="553">
                  <c:v>41760</c:v>
                </c:pt>
                <c:pt idx="554">
                  <c:v>41761</c:v>
                </c:pt>
                <c:pt idx="555">
                  <c:v>41764</c:v>
                </c:pt>
                <c:pt idx="556">
                  <c:v>41765</c:v>
                </c:pt>
                <c:pt idx="557">
                  <c:v>41766</c:v>
                </c:pt>
                <c:pt idx="558">
                  <c:v>41767</c:v>
                </c:pt>
                <c:pt idx="559">
                  <c:v>41768</c:v>
                </c:pt>
                <c:pt idx="560">
                  <c:v>41771</c:v>
                </c:pt>
                <c:pt idx="561">
                  <c:v>41772</c:v>
                </c:pt>
                <c:pt idx="562">
                  <c:v>41773</c:v>
                </c:pt>
                <c:pt idx="563">
                  <c:v>41774</c:v>
                </c:pt>
                <c:pt idx="564">
                  <c:v>41775</c:v>
                </c:pt>
                <c:pt idx="565">
                  <c:v>41778</c:v>
                </c:pt>
                <c:pt idx="566">
                  <c:v>41779</c:v>
                </c:pt>
                <c:pt idx="567">
                  <c:v>41780</c:v>
                </c:pt>
                <c:pt idx="568">
                  <c:v>41781</c:v>
                </c:pt>
                <c:pt idx="569">
                  <c:v>41782</c:v>
                </c:pt>
                <c:pt idx="570">
                  <c:v>41785</c:v>
                </c:pt>
                <c:pt idx="571">
                  <c:v>41786</c:v>
                </c:pt>
                <c:pt idx="572">
                  <c:v>41787</c:v>
                </c:pt>
                <c:pt idx="573">
                  <c:v>41788</c:v>
                </c:pt>
                <c:pt idx="574">
                  <c:v>41789</c:v>
                </c:pt>
                <c:pt idx="575">
                  <c:v>41792</c:v>
                </c:pt>
                <c:pt idx="576">
                  <c:v>41793</c:v>
                </c:pt>
                <c:pt idx="577">
                  <c:v>41794</c:v>
                </c:pt>
                <c:pt idx="578">
                  <c:v>41795</c:v>
                </c:pt>
                <c:pt idx="579">
                  <c:v>41796</c:v>
                </c:pt>
                <c:pt idx="580">
                  <c:v>41799</c:v>
                </c:pt>
                <c:pt idx="581">
                  <c:v>41800</c:v>
                </c:pt>
                <c:pt idx="582">
                  <c:v>41801</c:v>
                </c:pt>
                <c:pt idx="583">
                  <c:v>41802</c:v>
                </c:pt>
                <c:pt idx="584">
                  <c:v>41803</c:v>
                </c:pt>
                <c:pt idx="585">
                  <c:v>41806</c:v>
                </c:pt>
                <c:pt idx="586">
                  <c:v>41807</c:v>
                </c:pt>
                <c:pt idx="587">
                  <c:v>41808</c:v>
                </c:pt>
                <c:pt idx="588">
                  <c:v>41809</c:v>
                </c:pt>
                <c:pt idx="589">
                  <c:v>41810</c:v>
                </c:pt>
                <c:pt idx="590">
                  <c:v>41813</c:v>
                </c:pt>
                <c:pt idx="591">
                  <c:v>41814</c:v>
                </c:pt>
                <c:pt idx="592">
                  <c:v>41815</c:v>
                </c:pt>
                <c:pt idx="593">
                  <c:v>41816</c:v>
                </c:pt>
                <c:pt idx="594">
                  <c:v>41817</c:v>
                </c:pt>
                <c:pt idx="595">
                  <c:v>41820</c:v>
                </c:pt>
                <c:pt idx="596">
                  <c:v>41821</c:v>
                </c:pt>
                <c:pt idx="597">
                  <c:v>41822</c:v>
                </c:pt>
                <c:pt idx="598">
                  <c:v>41823</c:v>
                </c:pt>
                <c:pt idx="599">
                  <c:v>41824</c:v>
                </c:pt>
                <c:pt idx="600">
                  <c:v>41827</c:v>
                </c:pt>
                <c:pt idx="601">
                  <c:v>41828</c:v>
                </c:pt>
                <c:pt idx="602">
                  <c:v>41829</c:v>
                </c:pt>
                <c:pt idx="603">
                  <c:v>41830</c:v>
                </c:pt>
                <c:pt idx="604">
                  <c:v>41831</c:v>
                </c:pt>
                <c:pt idx="605">
                  <c:v>41834</c:v>
                </c:pt>
                <c:pt idx="606">
                  <c:v>41835</c:v>
                </c:pt>
                <c:pt idx="607">
                  <c:v>41836</c:v>
                </c:pt>
                <c:pt idx="608">
                  <c:v>41837</c:v>
                </c:pt>
                <c:pt idx="609">
                  <c:v>41838</c:v>
                </c:pt>
                <c:pt idx="610">
                  <c:v>41841</c:v>
                </c:pt>
                <c:pt idx="611">
                  <c:v>41842</c:v>
                </c:pt>
                <c:pt idx="612">
                  <c:v>41843</c:v>
                </c:pt>
                <c:pt idx="613">
                  <c:v>41844</c:v>
                </c:pt>
                <c:pt idx="614">
                  <c:v>41845</c:v>
                </c:pt>
                <c:pt idx="615">
                  <c:v>41848</c:v>
                </c:pt>
                <c:pt idx="616">
                  <c:v>41849</c:v>
                </c:pt>
                <c:pt idx="617">
                  <c:v>41850</c:v>
                </c:pt>
                <c:pt idx="618">
                  <c:v>41851</c:v>
                </c:pt>
                <c:pt idx="619">
                  <c:v>41852</c:v>
                </c:pt>
                <c:pt idx="620">
                  <c:v>41855</c:v>
                </c:pt>
                <c:pt idx="621">
                  <c:v>41856</c:v>
                </c:pt>
                <c:pt idx="622">
                  <c:v>41857</c:v>
                </c:pt>
                <c:pt idx="623">
                  <c:v>41858</c:v>
                </c:pt>
                <c:pt idx="624">
                  <c:v>41859</c:v>
                </c:pt>
                <c:pt idx="625">
                  <c:v>41862</c:v>
                </c:pt>
                <c:pt idx="626">
                  <c:v>41863</c:v>
                </c:pt>
                <c:pt idx="627">
                  <c:v>41864</c:v>
                </c:pt>
                <c:pt idx="628">
                  <c:v>41865</c:v>
                </c:pt>
                <c:pt idx="629">
                  <c:v>41866</c:v>
                </c:pt>
                <c:pt idx="630">
                  <c:v>41869</c:v>
                </c:pt>
                <c:pt idx="631">
                  <c:v>41870</c:v>
                </c:pt>
                <c:pt idx="632">
                  <c:v>41871</c:v>
                </c:pt>
                <c:pt idx="633">
                  <c:v>41872</c:v>
                </c:pt>
                <c:pt idx="634">
                  <c:v>41873</c:v>
                </c:pt>
                <c:pt idx="635">
                  <c:v>41876</c:v>
                </c:pt>
                <c:pt idx="636">
                  <c:v>41877</c:v>
                </c:pt>
                <c:pt idx="637">
                  <c:v>41878</c:v>
                </c:pt>
                <c:pt idx="638">
                  <c:v>41879</c:v>
                </c:pt>
                <c:pt idx="639">
                  <c:v>41880</c:v>
                </c:pt>
                <c:pt idx="640">
                  <c:v>41883</c:v>
                </c:pt>
                <c:pt idx="641">
                  <c:v>41884</c:v>
                </c:pt>
                <c:pt idx="642">
                  <c:v>41885</c:v>
                </c:pt>
                <c:pt idx="643">
                  <c:v>41886</c:v>
                </c:pt>
                <c:pt idx="644">
                  <c:v>41887</c:v>
                </c:pt>
                <c:pt idx="645">
                  <c:v>41890</c:v>
                </c:pt>
                <c:pt idx="646">
                  <c:v>41891</c:v>
                </c:pt>
                <c:pt idx="647">
                  <c:v>41892</c:v>
                </c:pt>
                <c:pt idx="648">
                  <c:v>41893</c:v>
                </c:pt>
                <c:pt idx="649">
                  <c:v>41894</c:v>
                </c:pt>
                <c:pt idx="650">
                  <c:v>41897</c:v>
                </c:pt>
                <c:pt idx="651">
                  <c:v>41898</c:v>
                </c:pt>
                <c:pt idx="652">
                  <c:v>41899</c:v>
                </c:pt>
                <c:pt idx="653">
                  <c:v>41900</c:v>
                </c:pt>
                <c:pt idx="654">
                  <c:v>41901</c:v>
                </c:pt>
                <c:pt idx="655">
                  <c:v>41904</c:v>
                </c:pt>
                <c:pt idx="656">
                  <c:v>41905</c:v>
                </c:pt>
                <c:pt idx="657">
                  <c:v>41906</c:v>
                </c:pt>
                <c:pt idx="658">
                  <c:v>41907</c:v>
                </c:pt>
                <c:pt idx="659">
                  <c:v>41908</c:v>
                </c:pt>
                <c:pt idx="660">
                  <c:v>41911</c:v>
                </c:pt>
                <c:pt idx="661">
                  <c:v>41912</c:v>
                </c:pt>
                <c:pt idx="662">
                  <c:v>41913</c:v>
                </c:pt>
                <c:pt idx="663">
                  <c:v>41914</c:v>
                </c:pt>
                <c:pt idx="664">
                  <c:v>41915</c:v>
                </c:pt>
                <c:pt idx="665">
                  <c:v>41918</c:v>
                </c:pt>
                <c:pt idx="666">
                  <c:v>41919</c:v>
                </c:pt>
                <c:pt idx="667">
                  <c:v>41920</c:v>
                </c:pt>
                <c:pt idx="668">
                  <c:v>41921</c:v>
                </c:pt>
                <c:pt idx="669">
                  <c:v>41922</c:v>
                </c:pt>
                <c:pt idx="670">
                  <c:v>41925</c:v>
                </c:pt>
                <c:pt idx="671">
                  <c:v>41926</c:v>
                </c:pt>
                <c:pt idx="672">
                  <c:v>41927</c:v>
                </c:pt>
                <c:pt idx="673">
                  <c:v>41928</c:v>
                </c:pt>
                <c:pt idx="674">
                  <c:v>41929</c:v>
                </c:pt>
                <c:pt idx="675">
                  <c:v>41932</c:v>
                </c:pt>
                <c:pt idx="676">
                  <c:v>41933</c:v>
                </c:pt>
                <c:pt idx="677">
                  <c:v>41934</c:v>
                </c:pt>
                <c:pt idx="678">
                  <c:v>41935</c:v>
                </c:pt>
                <c:pt idx="679">
                  <c:v>41936</c:v>
                </c:pt>
                <c:pt idx="680">
                  <c:v>41939</c:v>
                </c:pt>
                <c:pt idx="681">
                  <c:v>41940</c:v>
                </c:pt>
                <c:pt idx="682">
                  <c:v>41941</c:v>
                </c:pt>
                <c:pt idx="683">
                  <c:v>41942</c:v>
                </c:pt>
                <c:pt idx="684">
                  <c:v>41943</c:v>
                </c:pt>
                <c:pt idx="685">
                  <c:v>41946</c:v>
                </c:pt>
                <c:pt idx="686">
                  <c:v>41947</c:v>
                </c:pt>
                <c:pt idx="687">
                  <c:v>41948</c:v>
                </c:pt>
                <c:pt idx="688">
                  <c:v>41949</c:v>
                </c:pt>
                <c:pt idx="689">
                  <c:v>41950</c:v>
                </c:pt>
                <c:pt idx="690">
                  <c:v>41953</c:v>
                </c:pt>
                <c:pt idx="691">
                  <c:v>41954</c:v>
                </c:pt>
                <c:pt idx="692">
                  <c:v>41955</c:v>
                </c:pt>
                <c:pt idx="693">
                  <c:v>41956</c:v>
                </c:pt>
                <c:pt idx="694">
                  <c:v>41957</c:v>
                </c:pt>
                <c:pt idx="695">
                  <c:v>41960</c:v>
                </c:pt>
                <c:pt idx="696">
                  <c:v>41961</c:v>
                </c:pt>
                <c:pt idx="697">
                  <c:v>41962</c:v>
                </c:pt>
                <c:pt idx="698">
                  <c:v>41963</c:v>
                </c:pt>
                <c:pt idx="699">
                  <c:v>41964</c:v>
                </c:pt>
                <c:pt idx="700">
                  <c:v>41967</c:v>
                </c:pt>
                <c:pt idx="701">
                  <c:v>41968</c:v>
                </c:pt>
                <c:pt idx="702">
                  <c:v>41969</c:v>
                </c:pt>
                <c:pt idx="703">
                  <c:v>41970</c:v>
                </c:pt>
                <c:pt idx="704">
                  <c:v>41971</c:v>
                </c:pt>
                <c:pt idx="705">
                  <c:v>41974</c:v>
                </c:pt>
                <c:pt idx="706">
                  <c:v>41975</c:v>
                </c:pt>
                <c:pt idx="707">
                  <c:v>41976</c:v>
                </c:pt>
                <c:pt idx="708">
                  <c:v>41977</c:v>
                </c:pt>
                <c:pt idx="709">
                  <c:v>41978</c:v>
                </c:pt>
                <c:pt idx="710">
                  <c:v>41981</c:v>
                </c:pt>
                <c:pt idx="711">
                  <c:v>41982</c:v>
                </c:pt>
                <c:pt idx="712">
                  <c:v>41983</c:v>
                </c:pt>
                <c:pt idx="713">
                  <c:v>41984</c:v>
                </c:pt>
                <c:pt idx="714">
                  <c:v>41985</c:v>
                </c:pt>
                <c:pt idx="715">
                  <c:v>41988</c:v>
                </c:pt>
                <c:pt idx="716">
                  <c:v>41989</c:v>
                </c:pt>
                <c:pt idx="717">
                  <c:v>41990</c:v>
                </c:pt>
                <c:pt idx="718">
                  <c:v>41991</c:v>
                </c:pt>
                <c:pt idx="719">
                  <c:v>41992</c:v>
                </c:pt>
                <c:pt idx="720">
                  <c:v>41995</c:v>
                </c:pt>
                <c:pt idx="721">
                  <c:v>41996</c:v>
                </c:pt>
                <c:pt idx="722">
                  <c:v>41997</c:v>
                </c:pt>
                <c:pt idx="723">
                  <c:v>41998</c:v>
                </c:pt>
                <c:pt idx="724">
                  <c:v>41999</c:v>
                </c:pt>
                <c:pt idx="725">
                  <c:v>42002</c:v>
                </c:pt>
                <c:pt idx="726">
                  <c:v>42003</c:v>
                </c:pt>
                <c:pt idx="727">
                  <c:v>42004</c:v>
                </c:pt>
                <c:pt idx="728">
                  <c:v>42005</c:v>
                </c:pt>
                <c:pt idx="729">
                  <c:v>42006</c:v>
                </c:pt>
                <c:pt idx="730">
                  <c:v>42009</c:v>
                </c:pt>
                <c:pt idx="731">
                  <c:v>42010</c:v>
                </c:pt>
                <c:pt idx="732">
                  <c:v>42011</c:v>
                </c:pt>
                <c:pt idx="733">
                  <c:v>42012</c:v>
                </c:pt>
                <c:pt idx="734">
                  <c:v>42013</c:v>
                </c:pt>
                <c:pt idx="735">
                  <c:v>42016</c:v>
                </c:pt>
                <c:pt idx="736">
                  <c:v>42017</c:v>
                </c:pt>
                <c:pt idx="737">
                  <c:v>42018</c:v>
                </c:pt>
                <c:pt idx="738">
                  <c:v>42019</c:v>
                </c:pt>
                <c:pt idx="739">
                  <c:v>42020</c:v>
                </c:pt>
                <c:pt idx="740">
                  <c:v>42023</c:v>
                </c:pt>
                <c:pt idx="741">
                  <c:v>42024</c:v>
                </c:pt>
                <c:pt idx="742">
                  <c:v>42025</c:v>
                </c:pt>
                <c:pt idx="743">
                  <c:v>42026</c:v>
                </c:pt>
                <c:pt idx="744">
                  <c:v>42027</c:v>
                </c:pt>
                <c:pt idx="745">
                  <c:v>42030</c:v>
                </c:pt>
                <c:pt idx="746">
                  <c:v>42031</c:v>
                </c:pt>
                <c:pt idx="747">
                  <c:v>42032</c:v>
                </c:pt>
                <c:pt idx="748">
                  <c:v>42033</c:v>
                </c:pt>
                <c:pt idx="749">
                  <c:v>42034</c:v>
                </c:pt>
                <c:pt idx="750">
                  <c:v>42037</c:v>
                </c:pt>
                <c:pt idx="751">
                  <c:v>42038</c:v>
                </c:pt>
                <c:pt idx="752">
                  <c:v>42039</c:v>
                </c:pt>
                <c:pt idx="753">
                  <c:v>42040</c:v>
                </c:pt>
                <c:pt idx="754">
                  <c:v>42041</c:v>
                </c:pt>
                <c:pt idx="755">
                  <c:v>42044</c:v>
                </c:pt>
                <c:pt idx="756">
                  <c:v>42045</c:v>
                </c:pt>
                <c:pt idx="757">
                  <c:v>42046</c:v>
                </c:pt>
                <c:pt idx="758">
                  <c:v>42047</c:v>
                </c:pt>
                <c:pt idx="759">
                  <c:v>42048</c:v>
                </c:pt>
                <c:pt idx="760">
                  <c:v>42051</c:v>
                </c:pt>
                <c:pt idx="761">
                  <c:v>42052</c:v>
                </c:pt>
                <c:pt idx="762">
                  <c:v>42053</c:v>
                </c:pt>
                <c:pt idx="763">
                  <c:v>42054</c:v>
                </c:pt>
                <c:pt idx="764">
                  <c:v>42055</c:v>
                </c:pt>
                <c:pt idx="765">
                  <c:v>42058</c:v>
                </c:pt>
                <c:pt idx="766">
                  <c:v>42059</c:v>
                </c:pt>
                <c:pt idx="767">
                  <c:v>42060</c:v>
                </c:pt>
                <c:pt idx="768">
                  <c:v>42061</c:v>
                </c:pt>
                <c:pt idx="769">
                  <c:v>42062</c:v>
                </c:pt>
                <c:pt idx="770">
                  <c:v>42065</c:v>
                </c:pt>
                <c:pt idx="771">
                  <c:v>42066</c:v>
                </c:pt>
                <c:pt idx="772">
                  <c:v>42067</c:v>
                </c:pt>
                <c:pt idx="773">
                  <c:v>42068</c:v>
                </c:pt>
                <c:pt idx="774">
                  <c:v>42069</c:v>
                </c:pt>
                <c:pt idx="775">
                  <c:v>42072</c:v>
                </c:pt>
                <c:pt idx="776">
                  <c:v>42073</c:v>
                </c:pt>
                <c:pt idx="777">
                  <c:v>42074</c:v>
                </c:pt>
                <c:pt idx="778">
                  <c:v>42075</c:v>
                </c:pt>
                <c:pt idx="779">
                  <c:v>42076</c:v>
                </c:pt>
                <c:pt idx="780">
                  <c:v>42079</c:v>
                </c:pt>
                <c:pt idx="781">
                  <c:v>42080</c:v>
                </c:pt>
                <c:pt idx="782">
                  <c:v>42081</c:v>
                </c:pt>
                <c:pt idx="783">
                  <c:v>42082</c:v>
                </c:pt>
                <c:pt idx="784">
                  <c:v>42083</c:v>
                </c:pt>
                <c:pt idx="785">
                  <c:v>42086</c:v>
                </c:pt>
                <c:pt idx="786">
                  <c:v>42087</c:v>
                </c:pt>
                <c:pt idx="787">
                  <c:v>42088</c:v>
                </c:pt>
                <c:pt idx="788">
                  <c:v>42089</c:v>
                </c:pt>
                <c:pt idx="789">
                  <c:v>42090</c:v>
                </c:pt>
                <c:pt idx="790">
                  <c:v>42093</c:v>
                </c:pt>
                <c:pt idx="791">
                  <c:v>42094</c:v>
                </c:pt>
                <c:pt idx="792">
                  <c:v>42095</c:v>
                </c:pt>
                <c:pt idx="793">
                  <c:v>42096</c:v>
                </c:pt>
                <c:pt idx="794">
                  <c:v>42097</c:v>
                </c:pt>
                <c:pt idx="795">
                  <c:v>42100</c:v>
                </c:pt>
                <c:pt idx="796">
                  <c:v>42101</c:v>
                </c:pt>
                <c:pt idx="797">
                  <c:v>42102</c:v>
                </c:pt>
                <c:pt idx="798">
                  <c:v>42103</c:v>
                </c:pt>
                <c:pt idx="799">
                  <c:v>42104</c:v>
                </c:pt>
                <c:pt idx="800">
                  <c:v>42107</c:v>
                </c:pt>
                <c:pt idx="801">
                  <c:v>42108</c:v>
                </c:pt>
                <c:pt idx="802">
                  <c:v>42109</c:v>
                </c:pt>
                <c:pt idx="803">
                  <c:v>42110</c:v>
                </c:pt>
                <c:pt idx="804">
                  <c:v>42111</c:v>
                </c:pt>
                <c:pt idx="805">
                  <c:v>42114</c:v>
                </c:pt>
                <c:pt idx="806">
                  <c:v>42115</c:v>
                </c:pt>
                <c:pt idx="807">
                  <c:v>42116</c:v>
                </c:pt>
                <c:pt idx="808">
                  <c:v>42117</c:v>
                </c:pt>
                <c:pt idx="809">
                  <c:v>42118</c:v>
                </c:pt>
                <c:pt idx="810">
                  <c:v>42121</c:v>
                </c:pt>
                <c:pt idx="811">
                  <c:v>42122</c:v>
                </c:pt>
                <c:pt idx="812">
                  <c:v>42123</c:v>
                </c:pt>
                <c:pt idx="813">
                  <c:v>42124</c:v>
                </c:pt>
                <c:pt idx="814">
                  <c:v>42125</c:v>
                </c:pt>
                <c:pt idx="815">
                  <c:v>42128</c:v>
                </c:pt>
                <c:pt idx="816">
                  <c:v>42129</c:v>
                </c:pt>
                <c:pt idx="817">
                  <c:v>42130</c:v>
                </c:pt>
                <c:pt idx="818">
                  <c:v>42131</c:v>
                </c:pt>
                <c:pt idx="819">
                  <c:v>42132</c:v>
                </c:pt>
                <c:pt idx="820">
                  <c:v>42135</c:v>
                </c:pt>
                <c:pt idx="821">
                  <c:v>42136</c:v>
                </c:pt>
                <c:pt idx="822">
                  <c:v>42137</c:v>
                </c:pt>
                <c:pt idx="823">
                  <c:v>42138</c:v>
                </c:pt>
                <c:pt idx="824">
                  <c:v>42139</c:v>
                </c:pt>
                <c:pt idx="825">
                  <c:v>42142</c:v>
                </c:pt>
                <c:pt idx="826">
                  <c:v>42143</c:v>
                </c:pt>
                <c:pt idx="827">
                  <c:v>42144</c:v>
                </c:pt>
                <c:pt idx="828">
                  <c:v>42145</c:v>
                </c:pt>
                <c:pt idx="829">
                  <c:v>42146</c:v>
                </c:pt>
                <c:pt idx="830">
                  <c:v>42149</c:v>
                </c:pt>
                <c:pt idx="831">
                  <c:v>42150</c:v>
                </c:pt>
                <c:pt idx="832">
                  <c:v>42151</c:v>
                </c:pt>
                <c:pt idx="833">
                  <c:v>42152</c:v>
                </c:pt>
                <c:pt idx="834">
                  <c:v>42153</c:v>
                </c:pt>
                <c:pt idx="835">
                  <c:v>42156</c:v>
                </c:pt>
                <c:pt idx="836">
                  <c:v>42157</c:v>
                </c:pt>
                <c:pt idx="837">
                  <c:v>42158</c:v>
                </c:pt>
                <c:pt idx="838">
                  <c:v>42159</c:v>
                </c:pt>
                <c:pt idx="839">
                  <c:v>42160</c:v>
                </c:pt>
                <c:pt idx="840">
                  <c:v>42163</c:v>
                </c:pt>
                <c:pt idx="841">
                  <c:v>42164</c:v>
                </c:pt>
                <c:pt idx="842">
                  <c:v>42165</c:v>
                </c:pt>
                <c:pt idx="843">
                  <c:v>42166</c:v>
                </c:pt>
                <c:pt idx="844">
                  <c:v>42167</c:v>
                </c:pt>
                <c:pt idx="845">
                  <c:v>42170</c:v>
                </c:pt>
                <c:pt idx="846">
                  <c:v>42171</c:v>
                </c:pt>
                <c:pt idx="847">
                  <c:v>42172</c:v>
                </c:pt>
                <c:pt idx="848">
                  <c:v>42173</c:v>
                </c:pt>
                <c:pt idx="849">
                  <c:v>42174</c:v>
                </c:pt>
                <c:pt idx="850">
                  <c:v>42177</c:v>
                </c:pt>
                <c:pt idx="851">
                  <c:v>42178</c:v>
                </c:pt>
                <c:pt idx="852">
                  <c:v>42179</c:v>
                </c:pt>
                <c:pt idx="853">
                  <c:v>42180</c:v>
                </c:pt>
                <c:pt idx="854">
                  <c:v>42181</c:v>
                </c:pt>
                <c:pt idx="855">
                  <c:v>42184</c:v>
                </c:pt>
                <c:pt idx="856">
                  <c:v>42185</c:v>
                </c:pt>
                <c:pt idx="857">
                  <c:v>42186</c:v>
                </c:pt>
                <c:pt idx="858">
                  <c:v>42187</c:v>
                </c:pt>
                <c:pt idx="859">
                  <c:v>42188</c:v>
                </c:pt>
                <c:pt idx="860">
                  <c:v>42191</c:v>
                </c:pt>
                <c:pt idx="861">
                  <c:v>42192</c:v>
                </c:pt>
                <c:pt idx="862">
                  <c:v>42193</c:v>
                </c:pt>
                <c:pt idx="863">
                  <c:v>42194</c:v>
                </c:pt>
                <c:pt idx="864">
                  <c:v>42195</c:v>
                </c:pt>
                <c:pt idx="865">
                  <c:v>42198</c:v>
                </c:pt>
                <c:pt idx="866">
                  <c:v>42199</c:v>
                </c:pt>
                <c:pt idx="867">
                  <c:v>42200</c:v>
                </c:pt>
                <c:pt idx="868">
                  <c:v>42201</c:v>
                </c:pt>
                <c:pt idx="869">
                  <c:v>42202</c:v>
                </c:pt>
                <c:pt idx="870">
                  <c:v>42205</c:v>
                </c:pt>
                <c:pt idx="871">
                  <c:v>42206</c:v>
                </c:pt>
                <c:pt idx="872">
                  <c:v>42207</c:v>
                </c:pt>
                <c:pt idx="873">
                  <c:v>42208</c:v>
                </c:pt>
                <c:pt idx="874">
                  <c:v>42209</c:v>
                </c:pt>
                <c:pt idx="875">
                  <c:v>42212</c:v>
                </c:pt>
                <c:pt idx="876">
                  <c:v>42213</c:v>
                </c:pt>
                <c:pt idx="877">
                  <c:v>42214</c:v>
                </c:pt>
                <c:pt idx="878">
                  <c:v>42215</c:v>
                </c:pt>
                <c:pt idx="879">
                  <c:v>42216</c:v>
                </c:pt>
                <c:pt idx="880">
                  <c:v>42219</c:v>
                </c:pt>
                <c:pt idx="881">
                  <c:v>42220</c:v>
                </c:pt>
                <c:pt idx="882">
                  <c:v>42221</c:v>
                </c:pt>
                <c:pt idx="883">
                  <c:v>42222</c:v>
                </c:pt>
                <c:pt idx="884">
                  <c:v>42223</c:v>
                </c:pt>
                <c:pt idx="885">
                  <c:v>42226</c:v>
                </c:pt>
                <c:pt idx="886">
                  <c:v>42227</c:v>
                </c:pt>
                <c:pt idx="887">
                  <c:v>42228</c:v>
                </c:pt>
                <c:pt idx="888">
                  <c:v>42229</c:v>
                </c:pt>
                <c:pt idx="889">
                  <c:v>42230</c:v>
                </c:pt>
                <c:pt idx="890">
                  <c:v>42233</c:v>
                </c:pt>
                <c:pt idx="891">
                  <c:v>42234</c:v>
                </c:pt>
                <c:pt idx="892">
                  <c:v>42235</c:v>
                </c:pt>
                <c:pt idx="893">
                  <c:v>42236</c:v>
                </c:pt>
                <c:pt idx="894">
                  <c:v>42237</c:v>
                </c:pt>
                <c:pt idx="895">
                  <c:v>42240</c:v>
                </c:pt>
                <c:pt idx="896">
                  <c:v>42241</c:v>
                </c:pt>
                <c:pt idx="897">
                  <c:v>42242</c:v>
                </c:pt>
                <c:pt idx="898">
                  <c:v>42243</c:v>
                </c:pt>
                <c:pt idx="899">
                  <c:v>42244</c:v>
                </c:pt>
                <c:pt idx="900">
                  <c:v>42247</c:v>
                </c:pt>
                <c:pt idx="901">
                  <c:v>42248</c:v>
                </c:pt>
                <c:pt idx="902">
                  <c:v>42249</c:v>
                </c:pt>
                <c:pt idx="903">
                  <c:v>42250</c:v>
                </c:pt>
                <c:pt idx="904">
                  <c:v>42251</c:v>
                </c:pt>
                <c:pt idx="905">
                  <c:v>42254</c:v>
                </c:pt>
                <c:pt idx="906">
                  <c:v>42255</c:v>
                </c:pt>
                <c:pt idx="907">
                  <c:v>42256</c:v>
                </c:pt>
                <c:pt idx="908">
                  <c:v>42257</c:v>
                </c:pt>
                <c:pt idx="909">
                  <c:v>42258</c:v>
                </c:pt>
                <c:pt idx="910">
                  <c:v>42261</c:v>
                </c:pt>
                <c:pt idx="911">
                  <c:v>42262</c:v>
                </c:pt>
                <c:pt idx="912">
                  <c:v>42263</c:v>
                </c:pt>
                <c:pt idx="913">
                  <c:v>42264</c:v>
                </c:pt>
                <c:pt idx="914">
                  <c:v>42265</c:v>
                </c:pt>
                <c:pt idx="915">
                  <c:v>42268</c:v>
                </c:pt>
                <c:pt idx="916">
                  <c:v>42269</c:v>
                </c:pt>
                <c:pt idx="917">
                  <c:v>42270</c:v>
                </c:pt>
                <c:pt idx="918">
                  <c:v>42271</c:v>
                </c:pt>
                <c:pt idx="919">
                  <c:v>42272</c:v>
                </c:pt>
                <c:pt idx="920">
                  <c:v>42275</c:v>
                </c:pt>
                <c:pt idx="921">
                  <c:v>42276</c:v>
                </c:pt>
                <c:pt idx="922">
                  <c:v>42277</c:v>
                </c:pt>
                <c:pt idx="923">
                  <c:v>42278</c:v>
                </c:pt>
                <c:pt idx="924">
                  <c:v>42279</c:v>
                </c:pt>
                <c:pt idx="925">
                  <c:v>42282</c:v>
                </c:pt>
                <c:pt idx="926">
                  <c:v>42283</c:v>
                </c:pt>
                <c:pt idx="927">
                  <c:v>42284</c:v>
                </c:pt>
                <c:pt idx="928">
                  <c:v>42285</c:v>
                </c:pt>
                <c:pt idx="929">
                  <c:v>42286</c:v>
                </c:pt>
                <c:pt idx="930">
                  <c:v>42289</c:v>
                </c:pt>
                <c:pt idx="931">
                  <c:v>42290</c:v>
                </c:pt>
                <c:pt idx="932">
                  <c:v>42291</c:v>
                </c:pt>
                <c:pt idx="933">
                  <c:v>42292</c:v>
                </c:pt>
                <c:pt idx="934">
                  <c:v>42293</c:v>
                </c:pt>
                <c:pt idx="935">
                  <c:v>42296</c:v>
                </c:pt>
                <c:pt idx="936">
                  <c:v>42297</c:v>
                </c:pt>
                <c:pt idx="937">
                  <c:v>42298</c:v>
                </c:pt>
                <c:pt idx="938">
                  <c:v>42299</c:v>
                </c:pt>
                <c:pt idx="939">
                  <c:v>42300</c:v>
                </c:pt>
                <c:pt idx="940">
                  <c:v>42303</c:v>
                </c:pt>
                <c:pt idx="941">
                  <c:v>42304</c:v>
                </c:pt>
                <c:pt idx="942">
                  <c:v>42305</c:v>
                </c:pt>
                <c:pt idx="943">
                  <c:v>42306</c:v>
                </c:pt>
                <c:pt idx="944">
                  <c:v>42307</c:v>
                </c:pt>
                <c:pt idx="945">
                  <c:v>42310</c:v>
                </c:pt>
                <c:pt idx="946">
                  <c:v>42311</c:v>
                </c:pt>
                <c:pt idx="947">
                  <c:v>42312</c:v>
                </c:pt>
                <c:pt idx="948">
                  <c:v>42313</c:v>
                </c:pt>
                <c:pt idx="949">
                  <c:v>42314</c:v>
                </c:pt>
                <c:pt idx="950">
                  <c:v>42317</c:v>
                </c:pt>
                <c:pt idx="951">
                  <c:v>42318</c:v>
                </c:pt>
                <c:pt idx="952">
                  <c:v>42319</c:v>
                </c:pt>
                <c:pt idx="953">
                  <c:v>42320</c:v>
                </c:pt>
                <c:pt idx="954">
                  <c:v>42321</c:v>
                </c:pt>
                <c:pt idx="955">
                  <c:v>42324</c:v>
                </c:pt>
                <c:pt idx="956">
                  <c:v>42325</c:v>
                </c:pt>
                <c:pt idx="957">
                  <c:v>42326</c:v>
                </c:pt>
                <c:pt idx="958">
                  <c:v>42327</c:v>
                </c:pt>
                <c:pt idx="959">
                  <c:v>42328</c:v>
                </c:pt>
                <c:pt idx="960">
                  <c:v>42331</c:v>
                </c:pt>
                <c:pt idx="961">
                  <c:v>42332</c:v>
                </c:pt>
                <c:pt idx="962">
                  <c:v>42333</c:v>
                </c:pt>
                <c:pt idx="963">
                  <c:v>42334</c:v>
                </c:pt>
                <c:pt idx="964">
                  <c:v>42335</c:v>
                </c:pt>
                <c:pt idx="965">
                  <c:v>42338</c:v>
                </c:pt>
                <c:pt idx="966">
                  <c:v>42339</c:v>
                </c:pt>
                <c:pt idx="967">
                  <c:v>42340</c:v>
                </c:pt>
                <c:pt idx="968">
                  <c:v>42341</c:v>
                </c:pt>
                <c:pt idx="969">
                  <c:v>42342</c:v>
                </c:pt>
                <c:pt idx="970">
                  <c:v>42345</c:v>
                </c:pt>
                <c:pt idx="971">
                  <c:v>42346</c:v>
                </c:pt>
                <c:pt idx="972">
                  <c:v>42347</c:v>
                </c:pt>
                <c:pt idx="973">
                  <c:v>42348</c:v>
                </c:pt>
                <c:pt idx="974">
                  <c:v>42349</c:v>
                </c:pt>
                <c:pt idx="975">
                  <c:v>42352</c:v>
                </c:pt>
                <c:pt idx="976">
                  <c:v>42353</c:v>
                </c:pt>
                <c:pt idx="977">
                  <c:v>42354</c:v>
                </c:pt>
                <c:pt idx="978">
                  <c:v>42355</c:v>
                </c:pt>
                <c:pt idx="979">
                  <c:v>42356</c:v>
                </c:pt>
                <c:pt idx="980">
                  <c:v>42359</c:v>
                </c:pt>
                <c:pt idx="981">
                  <c:v>42360</c:v>
                </c:pt>
                <c:pt idx="982">
                  <c:v>42361</c:v>
                </c:pt>
                <c:pt idx="983">
                  <c:v>42362</c:v>
                </c:pt>
                <c:pt idx="984">
                  <c:v>42363</c:v>
                </c:pt>
                <c:pt idx="985">
                  <c:v>42366</c:v>
                </c:pt>
                <c:pt idx="986">
                  <c:v>42367</c:v>
                </c:pt>
                <c:pt idx="987">
                  <c:v>42368</c:v>
                </c:pt>
                <c:pt idx="988">
                  <c:v>42369</c:v>
                </c:pt>
                <c:pt idx="989">
                  <c:v>42370</c:v>
                </c:pt>
                <c:pt idx="990">
                  <c:v>42373</c:v>
                </c:pt>
                <c:pt idx="991">
                  <c:v>42374</c:v>
                </c:pt>
                <c:pt idx="992">
                  <c:v>42375</c:v>
                </c:pt>
                <c:pt idx="993">
                  <c:v>42376</c:v>
                </c:pt>
                <c:pt idx="994">
                  <c:v>42377</c:v>
                </c:pt>
                <c:pt idx="995">
                  <c:v>42380</c:v>
                </c:pt>
                <c:pt idx="996">
                  <c:v>42381</c:v>
                </c:pt>
                <c:pt idx="997">
                  <c:v>42382</c:v>
                </c:pt>
                <c:pt idx="998">
                  <c:v>42383</c:v>
                </c:pt>
                <c:pt idx="999">
                  <c:v>42384</c:v>
                </c:pt>
                <c:pt idx="1000">
                  <c:v>42387</c:v>
                </c:pt>
                <c:pt idx="1001">
                  <c:v>42388</c:v>
                </c:pt>
                <c:pt idx="1002">
                  <c:v>42389</c:v>
                </c:pt>
                <c:pt idx="1003">
                  <c:v>42390</c:v>
                </c:pt>
                <c:pt idx="1004">
                  <c:v>42391</c:v>
                </c:pt>
                <c:pt idx="1005">
                  <c:v>42394</c:v>
                </c:pt>
                <c:pt idx="1006">
                  <c:v>42395</c:v>
                </c:pt>
                <c:pt idx="1007">
                  <c:v>42396</c:v>
                </c:pt>
                <c:pt idx="1008">
                  <c:v>42397</c:v>
                </c:pt>
                <c:pt idx="1009">
                  <c:v>42398</c:v>
                </c:pt>
                <c:pt idx="1010">
                  <c:v>42401</c:v>
                </c:pt>
                <c:pt idx="1011">
                  <c:v>42402</c:v>
                </c:pt>
                <c:pt idx="1012">
                  <c:v>42403</c:v>
                </c:pt>
                <c:pt idx="1013">
                  <c:v>42404</c:v>
                </c:pt>
                <c:pt idx="1014">
                  <c:v>42405</c:v>
                </c:pt>
                <c:pt idx="1015">
                  <c:v>42408</c:v>
                </c:pt>
                <c:pt idx="1016">
                  <c:v>42409</c:v>
                </c:pt>
                <c:pt idx="1017">
                  <c:v>42410</c:v>
                </c:pt>
                <c:pt idx="1018">
                  <c:v>42411</c:v>
                </c:pt>
                <c:pt idx="1019">
                  <c:v>42412</c:v>
                </c:pt>
                <c:pt idx="1020">
                  <c:v>42415</c:v>
                </c:pt>
                <c:pt idx="1021">
                  <c:v>42416</c:v>
                </c:pt>
                <c:pt idx="1022">
                  <c:v>42417</c:v>
                </c:pt>
                <c:pt idx="1023">
                  <c:v>42418</c:v>
                </c:pt>
                <c:pt idx="1024">
                  <c:v>42419</c:v>
                </c:pt>
                <c:pt idx="1025">
                  <c:v>42422</c:v>
                </c:pt>
                <c:pt idx="1026">
                  <c:v>42423</c:v>
                </c:pt>
                <c:pt idx="1027">
                  <c:v>42424</c:v>
                </c:pt>
                <c:pt idx="1028">
                  <c:v>42425</c:v>
                </c:pt>
                <c:pt idx="1029">
                  <c:v>42426</c:v>
                </c:pt>
                <c:pt idx="1030">
                  <c:v>42429</c:v>
                </c:pt>
                <c:pt idx="1031">
                  <c:v>42430</c:v>
                </c:pt>
                <c:pt idx="1032">
                  <c:v>42431</c:v>
                </c:pt>
                <c:pt idx="1033">
                  <c:v>42432</c:v>
                </c:pt>
                <c:pt idx="1034">
                  <c:v>42433</c:v>
                </c:pt>
                <c:pt idx="1035">
                  <c:v>42436</c:v>
                </c:pt>
                <c:pt idx="1036">
                  <c:v>42437</c:v>
                </c:pt>
                <c:pt idx="1037">
                  <c:v>42438</c:v>
                </c:pt>
                <c:pt idx="1038">
                  <c:v>42439</c:v>
                </c:pt>
                <c:pt idx="1039">
                  <c:v>42440</c:v>
                </c:pt>
                <c:pt idx="1040">
                  <c:v>42443</c:v>
                </c:pt>
                <c:pt idx="1041">
                  <c:v>42444</c:v>
                </c:pt>
                <c:pt idx="1042">
                  <c:v>42445</c:v>
                </c:pt>
                <c:pt idx="1043">
                  <c:v>42446</c:v>
                </c:pt>
                <c:pt idx="1044">
                  <c:v>42447</c:v>
                </c:pt>
                <c:pt idx="1045">
                  <c:v>42450</c:v>
                </c:pt>
                <c:pt idx="1046">
                  <c:v>42451</c:v>
                </c:pt>
                <c:pt idx="1047">
                  <c:v>42452</c:v>
                </c:pt>
                <c:pt idx="1048">
                  <c:v>42453</c:v>
                </c:pt>
                <c:pt idx="1049">
                  <c:v>42454</c:v>
                </c:pt>
                <c:pt idx="1050">
                  <c:v>42457</c:v>
                </c:pt>
                <c:pt idx="1051">
                  <c:v>42458</c:v>
                </c:pt>
                <c:pt idx="1052">
                  <c:v>42459</c:v>
                </c:pt>
                <c:pt idx="1053">
                  <c:v>42460</c:v>
                </c:pt>
                <c:pt idx="1054">
                  <c:v>42461</c:v>
                </c:pt>
                <c:pt idx="1055">
                  <c:v>42464</c:v>
                </c:pt>
                <c:pt idx="1056">
                  <c:v>42465</c:v>
                </c:pt>
                <c:pt idx="1057">
                  <c:v>42466</c:v>
                </c:pt>
                <c:pt idx="1058">
                  <c:v>42467</c:v>
                </c:pt>
                <c:pt idx="1059">
                  <c:v>42468</c:v>
                </c:pt>
                <c:pt idx="1060">
                  <c:v>42471</c:v>
                </c:pt>
                <c:pt idx="1061">
                  <c:v>42472</c:v>
                </c:pt>
                <c:pt idx="1062">
                  <c:v>42473</c:v>
                </c:pt>
                <c:pt idx="1063">
                  <c:v>42474</c:v>
                </c:pt>
                <c:pt idx="1064">
                  <c:v>42475</c:v>
                </c:pt>
                <c:pt idx="1065">
                  <c:v>42478</c:v>
                </c:pt>
                <c:pt idx="1066">
                  <c:v>42479</c:v>
                </c:pt>
                <c:pt idx="1067">
                  <c:v>42480</c:v>
                </c:pt>
                <c:pt idx="1068">
                  <c:v>42481</c:v>
                </c:pt>
                <c:pt idx="1069">
                  <c:v>42482</c:v>
                </c:pt>
                <c:pt idx="1070">
                  <c:v>42485</c:v>
                </c:pt>
                <c:pt idx="1071">
                  <c:v>42486</c:v>
                </c:pt>
                <c:pt idx="1072">
                  <c:v>42487</c:v>
                </c:pt>
                <c:pt idx="1073">
                  <c:v>42488</c:v>
                </c:pt>
                <c:pt idx="1074">
                  <c:v>42489</c:v>
                </c:pt>
                <c:pt idx="1075">
                  <c:v>42492</c:v>
                </c:pt>
                <c:pt idx="1076">
                  <c:v>42493</c:v>
                </c:pt>
                <c:pt idx="1077">
                  <c:v>42494</c:v>
                </c:pt>
                <c:pt idx="1078">
                  <c:v>42495</c:v>
                </c:pt>
                <c:pt idx="1079">
                  <c:v>42496</c:v>
                </c:pt>
                <c:pt idx="1080">
                  <c:v>42499</c:v>
                </c:pt>
                <c:pt idx="1081">
                  <c:v>42500</c:v>
                </c:pt>
                <c:pt idx="1082">
                  <c:v>42501</c:v>
                </c:pt>
                <c:pt idx="1083">
                  <c:v>42502</c:v>
                </c:pt>
                <c:pt idx="1084">
                  <c:v>42503</c:v>
                </c:pt>
                <c:pt idx="1085">
                  <c:v>42506</c:v>
                </c:pt>
                <c:pt idx="1086">
                  <c:v>42507</c:v>
                </c:pt>
                <c:pt idx="1087">
                  <c:v>42508</c:v>
                </c:pt>
                <c:pt idx="1088">
                  <c:v>42509</c:v>
                </c:pt>
                <c:pt idx="1089">
                  <c:v>42510</c:v>
                </c:pt>
                <c:pt idx="1090">
                  <c:v>42513</c:v>
                </c:pt>
                <c:pt idx="1091">
                  <c:v>42514</c:v>
                </c:pt>
                <c:pt idx="1092">
                  <c:v>42515</c:v>
                </c:pt>
                <c:pt idx="1093">
                  <c:v>42516</c:v>
                </c:pt>
                <c:pt idx="1094">
                  <c:v>42517</c:v>
                </c:pt>
                <c:pt idx="1095">
                  <c:v>42520</c:v>
                </c:pt>
                <c:pt idx="1096">
                  <c:v>42521</c:v>
                </c:pt>
                <c:pt idx="1097">
                  <c:v>42522</c:v>
                </c:pt>
                <c:pt idx="1098">
                  <c:v>42523</c:v>
                </c:pt>
                <c:pt idx="1099">
                  <c:v>42524</c:v>
                </c:pt>
                <c:pt idx="1100">
                  <c:v>42527</c:v>
                </c:pt>
                <c:pt idx="1101">
                  <c:v>42528</c:v>
                </c:pt>
                <c:pt idx="1102">
                  <c:v>42529</c:v>
                </c:pt>
                <c:pt idx="1103">
                  <c:v>42530</c:v>
                </c:pt>
                <c:pt idx="1104">
                  <c:v>42531</c:v>
                </c:pt>
                <c:pt idx="1105">
                  <c:v>42534</c:v>
                </c:pt>
                <c:pt idx="1106">
                  <c:v>42535</c:v>
                </c:pt>
                <c:pt idx="1107">
                  <c:v>42536</c:v>
                </c:pt>
                <c:pt idx="1108">
                  <c:v>42537</c:v>
                </c:pt>
                <c:pt idx="1109">
                  <c:v>42538</c:v>
                </c:pt>
                <c:pt idx="1110">
                  <c:v>42541</c:v>
                </c:pt>
                <c:pt idx="1111">
                  <c:v>42542</c:v>
                </c:pt>
                <c:pt idx="1112">
                  <c:v>42543</c:v>
                </c:pt>
                <c:pt idx="1113">
                  <c:v>42544</c:v>
                </c:pt>
                <c:pt idx="1114">
                  <c:v>42545</c:v>
                </c:pt>
                <c:pt idx="1115">
                  <c:v>42548</c:v>
                </c:pt>
                <c:pt idx="1116">
                  <c:v>42549</c:v>
                </c:pt>
                <c:pt idx="1117">
                  <c:v>42550</c:v>
                </c:pt>
                <c:pt idx="1118">
                  <c:v>42551</c:v>
                </c:pt>
                <c:pt idx="1119">
                  <c:v>42552</c:v>
                </c:pt>
                <c:pt idx="1120">
                  <c:v>42555</c:v>
                </c:pt>
                <c:pt idx="1121">
                  <c:v>42556</c:v>
                </c:pt>
                <c:pt idx="1122">
                  <c:v>42557</c:v>
                </c:pt>
                <c:pt idx="1123">
                  <c:v>42558</c:v>
                </c:pt>
                <c:pt idx="1124">
                  <c:v>42559</c:v>
                </c:pt>
                <c:pt idx="1125">
                  <c:v>42562</c:v>
                </c:pt>
                <c:pt idx="1126">
                  <c:v>42563</c:v>
                </c:pt>
                <c:pt idx="1127">
                  <c:v>42564</c:v>
                </c:pt>
                <c:pt idx="1128">
                  <c:v>42565</c:v>
                </c:pt>
                <c:pt idx="1129">
                  <c:v>42566</c:v>
                </c:pt>
                <c:pt idx="1130">
                  <c:v>42569</c:v>
                </c:pt>
                <c:pt idx="1131">
                  <c:v>42570</c:v>
                </c:pt>
                <c:pt idx="1132">
                  <c:v>42571</c:v>
                </c:pt>
                <c:pt idx="1133">
                  <c:v>42572</c:v>
                </c:pt>
                <c:pt idx="1134">
                  <c:v>42573</c:v>
                </c:pt>
                <c:pt idx="1135">
                  <c:v>42576</c:v>
                </c:pt>
                <c:pt idx="1136">
                  <c:v>42577</c:v>
                </c:pt>
                <c:pt idx="1137">
                  <c:v>42578</c:v>
                </c:pt>
                <c:pt idx="1138">
                  <c:v>42579</c:v>
                </c:pt>
                <c:pt idx="1139">
                  <c:v>42580</c:v>
                </c:pt>
                <c:pt idx="1140">
                  <c:v>42583</c:v>
                </c:pt>
                <c:pt idx="1141">
                  <c:v>42584</c:v>
                </c:pt>
                <c:pt idx="1142">
                  <c:v>42585</c:v>
                </c:pt>
                <c:pt idx="1143">
                  <c:v>42586</c:v>
                </c:pt>
                <c:pt idx="1144">
                  <c:v>42587</c:v>
                </c:pt>
                <c:pt idx="1145">
                  <c:v>42590</c:v>
                </c:pt>
                <c:pt idx="1146">
                  <c:v>42591</c:v>
                </c:pt>
                <c:pt idx="1147">
                  <c:v>42592</c:v>
                </c:pt>
                <c:pt idx="1148">
                  <c:v>42593</c:v>
                </c:pt>
                <c:pt idx="1149">
                  <c:v>42594</c:v>
                </c:pt>
                <c:pt idx="1150">
                  <c:v>42597</c:v>
                </c:pt>
                <c:pt idx="1151">
                  <c:v>42598</c:v>
                </c:pt>
                <c:pt idx="1152">
                  <c:v>42599</c:v>
                </c:pt>
                <c:pt idx="1153">
                  <c:v>42600</c:v>
                </c:pt>
                <c:pt idx="1154">
                  <c:v>42601</c:v>
                </c:pt>
                <c:pt idx="1155">
                  <c:v>42604</c:v>
                </c:pt>
                <c:pt idx="1156">
                  <c:v>42605</c:v>
                </c:pt>
                <c:pt idx="1157">
                  <c:v>42606</c:v>
                </c:pt>
                <c:pt idx="1158">
                  <c:v>42607</c:v>
                </c:pt>
                <c:pt idx="1159">
                  <c:v>42608</c:v>
                </c:pt>
                <c:pt idx="1160">
                  <c:v>42611</c:v>
                </c:pt>
                <c:pt idx="1161">
                  <c:v>42612</c:v>
                </c:pt>
                <c:pt idx="1162">
                  <c:v>42613</c:v>
                </c:pt>
                <c:pt idx="1163">
                  <c:v>42614</c:v>
                </c:pt>
                <c:pt idx="1164">
                  <c:v>42615</c:v>
                </c:pt>
                <c:pt idx="1165">
                  <c:v>42618</c:v>
                </c:pt>
                <c:pt idx="1166">
                  <c:v>42619</c:v>
                </c:pt>
                <c:pt idx="1167">
                  <c:v>42620</c:v>
                </c:pt>
                <c:pt idx="1168">
                  <c:v>42621</c:v>
                </c:pt>
                <c:pt idx="1169">
                  <c:v>42622</c:v>
                </c:pt>
                <c:pt idx="1170">
                  <c:v>42625</c:v>
                </c:pt>
                <c:pt idx="1171">
                  <c:v>42626</c:v>
                </c:pt>
                <c:pt idx="1172">
                  <c:v>42627</c:v>
                </c:pt>
                <c:pt idx="1173">
                  <c:v>42628</c:v>
                </c:pt>
                <c:pt idx="1174">
                  <c:v>42629</c:v>
                </c:pt>
                <c:pt idx="1175">
                  <c:v>42632</c:v>
                </c:pt>
                <c:pt idx="1176">
                  <c:v>42633</c:v>
                </c:pt>
                <c:pt idx="1177">
                  <c:v>42634</c:v>
                </c:pt>
                <c:pt idx="1178">
                  <c:v>42635</c:v>
                </c:pt>
                <c:pt idx="1179">
                  <c:v>42636</c:v>
                </c:pt>
                <c:pt idx="1180">
                  <c:v>42639</c:v>
                </c:pt>
                <c:pt idx="1181">
                  <c:v>42640</c:v>
                </c:pt>
                <c:pt idx="1182">
                  <c:v>42641</c:v>
                </c:pt>
                <c:pt idx="1183">
                  <c:v>42642</c:v>
                </c:pt>
                <c:pt idx="1184">
                  <c:v>42643</c:v>
                </c:pt>
                <c:pt idx="1185">
                  <c:v>42646</c:v>
                </c:pt>
                <c:pt idx="1186">
                  <c:v>42647</c:v>
                </c:pt>
                <c:pt idx="1187">
                  <c:v>42648</c:v>
                </c:pt>
                <c:pt idx="1188">
                  <c:v>42649</c:v>
                </c:pt>
                <c:pt idx="1189">
                  <c:v>42650</c:v>
                </c:pt>
                <c:pt idx="1190">
                  <c:v>42653</c:v>
                </c:pt>
                <c:pt idx="1191">
                  <c:v>42654</c:v>
                </c:pt>
                <c:pt idx="1192">
                  <c:v>42655</c:v>
                </c:pt>
                <c:pt idx="1193">
                  <c:v>42656</c:v>
                </c:pt>
                <c:pt idx="1194">
                  <c:v>42657</c:v>
                </c:pt>
                <c:pt idx="1195">
                  <c:v>42660</c:v>
                </c:pt>
                <c:pt idx="1196">
                  <c:v>42661</c:v>
                </c:pt>
                <c:pt idx="1197">
                  <c:v>42662</c:v>
                </c:pt>
                <c:pt idx="1198">
                  <c:v>42663</c:v>
                </c:pt>
                <c:pt idx="1199">
                  <c:v>42664</c:v>
                </c:pt>
                <c:pt idx="1200">
                  <c:v>42667</c:v>
                </c:pt>
                <c:pt idx="1201">
                  <c:v>42668</c:v>
                </c:pt>
                <c:pt idx="1202">
                  <c:v>42669</c:v>
                </c:pt>
                <c:pt idx="1203">
                  <c:v>42670</c:v>
                </c:pt>
                <c:pt idx="1204">
                  <c:v>42671</c:v>
                </c:pt>
                <c:pt idx="1205">
                  <c:v>42674</c:v>
                </c:pt>
                <c:pt idx="1206">
                  <c:v>42675</c:v>
                </c:pt>
                <c:pt idx="1207">
                  <c:v>42676</c:v>
                </c:pt>
                <c:pt idx="1208">
                  <c:v>42677</c:v>
                </c:pt>
                <c:pt idx="1209">
                  <c:v>42678</c:v>
                </c:pt>
                <c:pt idx="1210">
                  <c:v>42681</c:v>
                </c:pt>
                <c:pt idx="1211">
                  <c:v>42682</c:v>
                </c:pt>
                <c:pt idx="1212">
                  <c:v>42683</c:v>
                </c:pt>
                <c:pt idx="1213">
                  <c:v>42684</c:v>
                </c:pt>
                <c:pt idx="1214">
                  <c:v>42685</c:v>
                </c:pt>
                <c:pt idx="1215">
                  <c:v>42688</c:v>
                </c:pt>
                <c:pt idx="1216">
                  <c:v>42689</c:v>
                </c:pt>
                <c:pt idx="1217">
                  <c:v>42690</c:v>
                </c:pt>
                <c:pt idx="1218">
                  <c:v>42691</c:v>
                </c:pt>
                <c:pt idx="1219">
                  <c:v>42692</c:v>
                </c:pt>
                <c:pt idx="1220">
                  <c:v>42695</c:v>
                </c:pt>
                <c:pt idx="1221">
                  <c:v>42696</c:v>
                </c:pt>
                <c:pt idx="1222">
                  <c:v>42697</c:v>
                </c:pt>
                <c:pt idx="1223">
                  <c:v>42698</c:v>
                </c:pt>
                <c:pt idx="1224">
                  <c:v>42699</c:v>
                </c:pt>
                <c:pt idx="1225">
                  <c:v>42702</c:v>
                </c:pt>
                <c:pt idx="1226">
                  <c:v>42703</c:v>
                </c:pt>
                <c:pt idx="1227">
                  <c:v>42704</c:v>
                </c:pt>
                <c:pt idx="1228">
                  <c:v>42705</c:v>
                </c:pt>
                <c:pt idx="1229">
                  <c:v>42706</c:v>
                </c:pt>
                <c:pt idx="1230">
                  <c:v>42709</c:v>
                </c:pt>
                <c:pt idx="1231">
                  <c:v>42710</c:v>
                </c:pt>
                <c:pt idx="1232">
                  <c:v>42711</c:v>
                </c:pt>
                <c:pt idx="1233">
                  <c:v>42712</c:v>
                </c:pt>
                <c:pt idx="1234">
                  <c:v>42713</c:v>
                </c:pt>
                <c:pt idx="1235">
                  <c:v>42716</c:v>
                </c:pt>
                <c:pt idx="1236">
                  <c:v>42717</c:v>
                </c:pt>
                <c:pt idx="1237">
                  <c:v>42718</c:v>
                </c:pt>
                <c:pt idx="1238">
                  <c:v>42719</c:v>
                </c:pt>
                <c:pt idx="1239">
                  <c:v>42720</c:v>
                </c:pt>
                <c:pt idx="1240">
                  <c:v>42723</c:v>
                </c:pt>
                <c:pt idx="1241">
                  <c:v>42724</c:v>
                </c:pt>
                <c:pt idx="1242">
                  <c:v>42725</c:v>
                </c:pt>
                <c:pt idx="1243">
                  <c:v>42726</c:v>
                </c:pt>
                <c:pt idx="1244">
                  <c:v>42727</c:v>
                </c:pt>
                <c:pt idx="1245">
                  <c:v>42730</c:v>
                </c:pt>
                <c:pt idx="1246">
                  <c:v>42731</c:v>
                </c:pt>
                <c:pt idx="1247">
                  <c:v>42732</c:v>
                </c:pt>
                <c:pt idx="1248">
                  <c:v>42733</c:v>
                </c:pt>
                <c:pt idx="1249">
                  <c:v>42734</c:v>
                </c:pt>
                <c:pt idx="1250">
                  <c:v>42737</c:v>
                </c:pt>
                <c:pt idx="1251">
                  <c:v>42738</c:v>
                </c:pt>
                <c:pt idx="1252">
                  <c:v>42739</c:v>
                </c:pt>
                <c:pt idx="1253">
                  <c:v>42740</c:v>
                </c:pt>
                <c:pt idx="1254">
                  <c:v>42741</c:v>
                </c:pt>
                <c:pt idx="1255">
                  <c:v>42744</c:v>
                </c:pt>
                <c:pt idx="1256">
                  <c:v>42745</c:v>
                </c:pt>
                <c:pt idx="1257">
                  <c:v>42746</c:v>
                </c:pt>
                <c:pt idx="1258">
                  <c:v>42747</c:v>
                </c:pt>
                <c:pt idx="1259">
                  <c:v>42748</c:v>
                </c:pt>
                <c:pt idx="1260">
                  <c:v>42751</c:v>
                </c:pt>
                <c:pt idx="1261">
                  <c:v>42752</c:v>
                </c:pt>
                <c:pt idx="1262">
                  <c:v>42753</c:v>
                </c:pt>
                <c:pt idx="1263">
                  <c:v>42754</c:v>
                </c:pt>
                <c:pt idx="1264">
                  <c:v>42755</c:v>
                </c:pt>
                <c:pt idx="1265">
                  <c:v>42758</c:v>
                </c:pt>
                <c:pt idx="1266">
                  <c:v>42759</c:v>
                </c:pt>
                <c:pt idx="1267">
                  <c:v>42760</c:v>
                </c:pt>
                <c:pt idx="1268">
                  <c:v>42761</c:v>
                </c:pt>
                <c:pt idx="1269">
                  <c:v>42762</c:v>
                </c:pt>
                <c:pt idx="1270">
                  <c:v>42765</c:v>
                </c:pt>
                <c:pt idx="1271">
                  <c:v>42766</c:v>
                </c:pt>
                <c:pt idx="1272">
                  <c:v>42767</c:v>
                </c:pt>
                <c:pt idx="1273">
                  <c:v>42768</c:v>
                </c:pt>
                <c:pt idx="1274">
                  <c:v>42769</c:v>
                </c:pt>
                <c:pt idx="1275">
                  <c:v>42772</c:v>
                </c:pt>
                <c:pt idx="1276">
                  <c:v>42773</c:v>
                </c:pt>
                <c:pt idx="1277">
                  <c:v>42774</c:v>
                </c:pt>
                <c:pt idx="1278">
                  <c:v>42775</c:v>
                </c:pt>
                <c:pt idx="1279">
                  <c:v>42776</c:v>
                </c:pt>
                <c:pt idx="1280">
                  <c:v>42779</c:v>
                </c:pt>
                <c:pt idx="1281">
                  <c:v>42780</c:v>
                </c:pt>
                <c:pt idx="1282">
                  <c:v>42781</c:v>
                </c:pt>
                <c:pt idx="1283">
                  <c:v>42782</c:v>
                </c:pt>
                <c:pt idx="1284">
                  <c:v>42783</c:v>
                </c:pt>
                <c:pt idx="1285">
                  <c:v>42786</c:v>
                </c:pt>
                <c:pt idx="1286">
                  <c:v>42787</c:v>
                </c:pt>
                <c:pt idx="1287">
                  <c:v>42788</c:v>
                </c:pt>
                <c:pt idx="1288">
                  <c:v>42789</c:v>
                </c:pt>
                <c:pt idx="1289">
                  <c:v>42790</c:v>
                </c:pt>
                <c:pt idx="1290">
                  <c:v>42793</c:v>
                </c:pt>
                <c:pt idx="1291">
                  <c:v>42794</c:v>
                </c:pt>
                <c:pt idx="1292">
                  <c:v>42795</c:v>
                </c:pt>
                <c:pt idx="1293">
                  <c:v>42796</c:v>
                </c:pt>
                <c:pt idx="1294">
                  <c:v>42797</c:v>
                </c:pt>
                <c:pt idx="1295">
                  <c:v>42800</c:v>
                </c:pt>
                <c:pt idx="1296">
                  <c:v>42801</c:v>
                </c:pt>
                <c:pt idx="1297">
                  <c:v>42802</c:v>
                </c:pt>
                <c:pt idx="1298">
                  <c:v>42803</c:v>
                </c:pt>
                <c:pt idx="1299">
                  <c:v>42804</c:v>
                </c:pt>
                <c:pt idx="1300">
                  <c:v>42807</c:v>
                </c:pt>
                <c:pt idx="1301">
                  <c:v>42808</c:v>
                </c:pt>
                <c:pt idx="1302">
                  <c:v>42809</c:v>
                </c:pt>
                <c:pt idx="1303">
                  <c:v>42810</c:v>
                </c:pt>
                <c:pt idx="1304">
                  <c:v>42811</c:v>
                </c:pt>
                <c:pt idx="1305">
                  <c:v>42814</c:v>
                </c:pt>
                <c:pt idx="1306">
                  <c:v>42815</c:v>
                </c:pt>
                <c:pt idx="1307">
                  <c:v>42816</c:v>
                </c:pt>
                <c:pt idx="1308">
                  <c:v>42817</c:v>
                </c:pt>
                <c:pt idx="1309">
                  <c:v>42818</c:v>
                </c:pt>
                <c:pt idx="1310">
                  <c:v>42821</c:v>
                </c:pt>
                <c:pt idx="1311">
                  <c:v>42822</c:v>
                </c:pt>
                <c:pt idx="1312">
                  <c:v>42823</c:v>
                </c:pt>
                <c:pt idx="1313">
                  <c:v>42824</c:v>
                </c:pt>
                <c:pt idx="1314">
                  <c:v>42825</c:v>
                </c:pt>
                <c:pt idx="1315">
                  <c:v>42828</c:v>
                </c:pt>
                <c:pt idx="1316">
                  <c:v>42829</c:v>
                </c:pt>
                <c:pt idx="1317">
                  <c:v>42830</c:v>
                </c:pt>
                <c:pt idx="1318">
                  <c:v>42831</c:v>
                </c:pt>
                <c:pt idx="1319">
                  <c:v>42832</c:v>
                </c:pt>
                <c:pt idx="1320">
                  <c:v>42835</c:v>
                </c:pt>
                <c:pt idx="1321">
                  <c:v>42836</c:v>
                </c:pt>
                <c:pt idx="1322">
                  <c:v>42837</c:v>
                </c:pt>
                <c:pt idx="1323">
                  <c:v>42838</c:v>
                </c:pt>
                <c:pt idx="1324">
                  <c:v>42839</c:v>
                </c:pt>
                <c:pt idx="1325">
                  <c:v>42842</c:v>
                </c:pt>
                <c:pt idx="1326">
                  <c:v>42843</c:v>
                </c:pt>
                <c:pt idx="1327">
                  <c:v>42844</c:v>
                </c:pt>
                <c:pt idx="1328">
                  <c:v>42845</c:v>
                </c:pt>
                <c:pt idx="1329">
                  <c:v>42846</c:v>
                </c:pt>
                <c:pt idx="1330">
                  <c:v>42849</c:v>
                </c:pt>
                <c:pt idx="1331">
                  <c:v>42850</c:v>
                </c:pt>
                <c:pt idx="1332">
                  <c:v>42851</c:v>
                </c:pt>
                <c:pt idx="1333">
                  <c:v>42852</c:v>
                </c:pt>
                <c:pt idx="1334">
                  <c:v>42853</c:v>
                </c:pt>
                <c:pt idx="1335">
                  <c:v>42856</c:v>
                </c:pt>
                <c:pt idx="1336">
                  <c:v>42857</c:v>
                </c:pt>
                <c:pt idx="1337">
                  <c:v>42858</c:v>
                </c:pt>
                <c:pt idx="1338">
                  <c:v>42859</c:v>
                </c:pt>
                <c:pt idx="1339">
                  <c:v>42860</c:v>
                </c:pt>
                <c:pt idx="1340">
                  <c:v>42863</c:v>
                </c:pt>
                <c:pt idx="1341">
                  <c:v>42864</c:v>
                </c:pt>
                <c:pt idx="1342">
                  <c:v>42865</c:v>
                </c:pt>
                <c:pt idx="1343">
                  <c:v>42866</c:v>
                </c:pt>
                <c:pt idx="1344">
                  <c:v>42867</c:v>
                </c:pt>
                <c:pt idx="1345">
                  <c:v>42870</c:v>
                </c:pt>
                <c:pt idx="1346">
                  <c:v>42871</c:v>
                </c:pt>
                <c:pt idx="1347">
                  <c:v>42872</c:v>
                </c:pt>
                <c:pt idx="1348">
                  <c:v>42873</c:v>
                </c:pt>
                <c:pt idx="1349">
                  <c:v>42874</c:v>
                </c:pt>
                <c:pt idx="1350">
                  <c:v>42877</c:v>
                </c:pt>
                <c:pt idx="1351">
                  <c:v>42878</c:v>
                </c:pt>
                <c:pt idx="1352">
                  <c:v>42879</c:v>
                </c:pt>
                <c:pt idx="1353">
                  <c:v>42880</c:v>
                </c:pt>
                <c:pt idx="1354">
                  <c:v>42881</c:v>
                </c:pt>
                <c:pt idx="1355">
                  <c:v>42884</c:v>
                </c:pt>
                <c:pt idx="1356">
                  <c:v>42885</c:v>
                </c:pt>
                <c:pt idx="1357">
                  <c:v>42886</c:v>
                </c:pt>
                <c:pt idx="1358">
                  <c:v>42887</c:v>
                </c:pt>
                <c:pt idx="1359">
                  <c:v>42888</c:v>
                </c:pt>
                <c:pt idx="1360">
                  <c:v>42891</c:v>
                </c:pt>
                <c:pt idx="1361">
                  <c:v>42892</c:v>
                </c:pt>
                <c:pt idx="1362">
                  <c:v>42893</c:v>
                </c:pt>
                <c:pt idx="1363">
                  <c:v>42894</c:v>
                </c:pt>
                <c:pt idx="1364">
                  <c:v>42895</c:v>
                </c:pt>
                <c:pt idx="1365">
                  <c:v>42898</c:v>
                </c:pt>
                <c:pt idx="1366">
                  <c:v>42899</c:v>
                </c:pt>
                <c:pt idx="1367">
                  <c:v>42900</c:v>
                </c:pt>
                <c:pt idx="1368">
                  <c:v>42901</c:v>
                </c:pt>
                <c:pt idx="1369">
                  <c:v>42902</c:v>
                </c:pt>
                <c:pt idx="1370">
                  <c:v>42905</c:v>
                </c:pt>
                <c:pt idx="1371">
                  <c:v>42906</c:v>
                </c:pt>
                <c:pt idx="1372">
                  <c:v>42907</c:v>
                </c:pt>
                <c:pt idx="1373">
                  <c:v>42908</c:v>
                </c:pt>
                <c:pt idx="1374">
                  <c:v>42909</c:v>
                </c:pt>
                <c:pt idx="1375">
                  <c:v>42912</c:v>
                </c:pt>
                <c:pt idx="1376">
                  <c:v>42913</c:v>
                </c:pt>
                <c:pt idx="1377">
                  <c:v>42914</c:v>
                </c:pt>
                <c:pt idx="1378">
                  <c:v>42915</c:v>
                </c:pt>
                <c:pt idx="1379">
                  <c:v>42916</c:v>
                </c:pt>
                <c:pt idx="1380">
                  <c:v>42919</c:v>
                </c:pt>
                <c:pt idx="1381">
                  <c:v>42920</c:v>
                </c:pt>
                <c:pt idx="1382">
                  <c:v>42921</c:v>
                </c:pt>
                <c:pt idx="1383">
                  <c:v>42922</c:v>
                </c:pt>
                <c:pt idx="1384">
                  <c:v>42923</c:v>
                </c:pt>
                <c:pt idx="1385">
                  <c:v>42926</c:v>
                </c:pt>
                <c:pt idx="1386">
                  <c:v>42927</c:v>
                </c:pt>
                <c:pt idx="1387">
                  <c:v>42928</c:v>
                </c:pt>
                <c:pt idx="1388">
                  <c:v>42929</c:v>
                </c:pt>
                <c:pt idx="1389">
                  <c:v>42930</c:v>
                </c:pt>
                <c:pt idx="1390">
                  <c:v>42933</c:v>
                </c:pt>
                <c:pt idx="1391">
                  <c:v>42934</c:v>
                </c:pt>
                <c:pt idx="1392">
                  <c:v>42935</c:v>
                </c:pt>
                <c:pt idx="1393">
                  <c:v>42936</c:v>
                </c:pt>
                <c:pt idx="1394">
                  <c:v>42937</c:v>
                </c:pt>
                <c:pt idx="1395">
                  <c:v>42940</c:v>
                </c:pt>
                <c:pt idx="1396">
                  <c:v>42941</c:v>
                </c:pt>
                <c:pt idx="1397">
                  <c:v>42942</c:v>
                </c:pt>
                <c:pt idx="1398">
                  <c:v>42943</c:v>
                </c:pt>
                <c:pt idx="1399">
                  <c:v>42944</c:v>
                </c:pt>
                <c:pt idx="1400">
                  <c:v>42947</c:v>
                </c:pt>
                <c:pt idx="1401">
                  <c:v>42948</c:v>
                </c:pt>
                <c:pt idx="1402">
                  <c:v>42949</c:v>
                </c:pt>
                <c:pt idx="1403">
                  <c:v>42950</c:v>
                </c:pt>
                <c:pt idx="1404">
                  <c:v>42951</c:v>
                </c:pt>
                <c:pt idx="1405">
                  <c:v>42954</c:v>
                </c:pt>
                <c:pt idx="1406">
                  <c:v>42955</c:v>
                </c:pt>
                <c:pt idx="1407">
                  <c:v>42956</c:v>
                </c:pt>
                <c:pt idx="1408">
                  <c:v>42957</c:v>
                </c:pt>
                <c:pt idx="1409">
                  <c:v>42958</c:v>
                </c:pt>
                <c:pt idx="1410">
                  <c:v>42961</c:v>
                </c:pt>
                <c:pt idx="1411">
                  <c:v>42962</c:v>
                </c:pt>
                <c:pt idx="1412">
                  <c:v>42963</c:v>
                </c:pt>
                <c:pt idx="1413">
                  <c:v>42964</c:v>
                </c:pt>
                <c:pt idx="1414">
                  <c:v>42965</c:v>
                </c:pt>
                <c:pt idx="1415">
                  <c:v>42968</c:v>
                </c:pt>
                <c:pt idx="1416">
                  <c:v>42969</c:v>
                </c:pt>
                <c:pt idx="1417">
                  <c:v>42970</c:v>
                </c:pt>
                <c:pt idx="1418">
                  <c:v>42971</c:v>
                </c:pt>
                <c:pt idx="1419">
                  <c:v>42972</c:v>
                </c:pt>
                <c:pt idx="1420">
                  <c:v>42975</c:v>
                </c:pt>
                <c:pt idx="1421">
                  <c:v>42976</c:v>
                </c:pt>
                <c:pt idx="1422">
                  <c:v>42977</c:v>
                </c:pt>
                <c:pt idx="1423">
                  <c:v>42978</c:v>
                </c:pt>
                <c:pt idx="1424">
                  <c:v>42979</c:v>
                </c:pt>
                <c:pt idx="1425">
                  <c:v>42982</c:v>
                </c:pt>
                <c:pt idx="1426">
                  <c:v>42983</c:v>
                </c:pt>
                <c:pt idx="1427">
                  <c:v>42984</c:v>
                </c:pt>
                <c:pt idx="1428">
                  <c:v>42985</c:v>
                </c:pt>
                <c:pt idx="1429">
                  <c:v>42986</c:v>
                </c:pt>
                <c:pt idx="1430">
                  <c:v>42989</c:v>
                </c:pt>
                <c:pt idx="1431">
                  <c:v>42990</c:v>
                </c:pt>
                <c:pt idx="1432">
                  <c:v>42991</c:v>
                </c:pt>
                <c:pt idx="1433">
                  <c:v>42992</c:v>
                </c:pt>
                <c:pt idx="1434">
                  <c:v>42993</c:v>
                </c:pt>
                <c:pt idx="1435">
                  <c:v>42996</c:v>
                </c:pt>
                <c:pt idx="1436">
                  <c:v>42997</c:v>
                </c:pt>
                <c:pt idx="1437">
                  <c:v>42998</c:v>
                </c:pt>
                <c:pt idx="1438">
                  <c:v>42999</c:v>
                </c:pt>
                <c:pt idx="1439">
                  <c:v>43000</c:v>
                </c:pt>
                <c:pt idx="1440">
                  <c:v>43003</c:v>
                </c:pt>
                <c:pt idx="1441">
                  <c:v>43004</c:v>
                </c:pt>
                <c:pt idx="1442">
                  <c:v>43005</c:v>
                </c:pt>
                <c:pt idx="1443">
                  <c:v>43006</c:v>
                </c:pt>
                <c:pt idx="1444">
                  <c:v>43007</c:v>
                </c:pt>
                <c:pt idx="1445">
                  <c:v>43010</c:v>
                </c:pt>
                <c:pt idx="1446">
                  <c:v>43011</c:v>
                </c:pt>
                <c:pt idx="1447">
                  <c:v>43012</c:v>
                </c:pt>
                <c:pt idx="1448">
                  <c:v>43013</c:v>
                </c:pt>
                <c:pt idx="1449">
                  <c:v>43014</c:v>
                </c:pt>
                <c:pt idx="1450">
                  <c:v>43017</c:v>
                </c:pt>
                <c:pt idx="1451">
                  <c:v>43018</c:v>
                </c:pt>
                <c:pt idx="1452">
                  <c:v>43019</c:v>
                </c:pt>
                <c:pt idx="1453">
                  <c:v>43020</c:v>
                </c:pt>
                <c:pt idx="1454">
                  <c:v>43021</c:v>
                </c:pt>
                <c:pt idx="1455">
                  <c:v>43024</c:v>
                </c:pt>
                <c:pt idx="1456">
                  <c:v>43025</c:v>
                </c:pt>
                <c:pt idx="1457">
                  <c:v>43026</c:v>
                </c:pt>
                <c:pt idx="1458">
                  <c:v>43027</c:v>
                </c:pt>
                <c:pt idx="1459">
                  <c:v>43028</c:v>
                </c:pt>
                <c:pt idx="1460">
                  <c:v>43031</c:v>
                </c:pt>
                <c:pt idx="1461">
                  <c:v>43032</c:v>
                </c:pt>
                <c:pt idx="1462">
                  <c:v>43033</c:v>
                </c:pt>
                <c:pt idx="1463">
                  <c:v>43034</c:v>
                </c:pt>
                <c:pt idx="1464">
                  <c:v>43035</c:v>
                </c:pt>
                <c:pt idx="1465">
                  <c:v>43038</c:v>
                </c:pt>
                <c:pt idx="1466">
                  <c:v>43039</c:v>
                </c:pt>
                <c:pt idx="1467">
                  <c:v>43040</c:v>
                </c:pt>
                <c:pt idx="1468">
                  <c:v>43041</c:v>
                </c:pt>
                <c:pt idx="1469">
                  <c:v>43042</c:v>
                </c:pt>
                <c:pt idx="1470">
                  <c:v>43045</c:v>
                </c:pt>
                <c:pt idx="1471">
                  <c:v>43046</c:v>
                </c:pt>
                <c:pt idx="1472">
                  <c:v>43047</c:v>
                </c:pt>
                <c:pt idx="1473">
                  <c:v>43048</c:v>
                </c:pt>
                <c:pt idx="1474">
                  <c:v>43049</c:v>
                </c:pt>
                <c:pt idx="1475">
                  <c:v>43052</c:v>
                </c:pt>
                <c:pt idx="1476">
                  <c:v>43053</c:v>
                </c:pt>
                <c:pt idx="1477">
                  <c:v>43054</c:v>
                </c:pt>
                <c:pt idx="1478">
                  <c:v>43055</c:v>
                </c:pt>
                <c:pt idx="1479">
                  <c:v>43056</c:v>
                </c:pt>
                <c:pt idx="1480">
                  <c:v>43059</c:v>
                </c:pt>
                <c:pt idx="1481">
                  <c:v>43060</c:v>
                </c:pt>
                <c:pt idx="1482">
                  <c:v>43061</c:v>
                </c:pt>
                <c:pt idx="1483">
                  <c:v>43062</c:v>
                </c:pt>
                <c:pt idx="1484">
                  <c:v>43063</c:v>
                </c:pt>
                <c:pt idx="1485">
                  <c:v>43066</c:v>
                </c:pt>
                <c:pt idx="1486">
                  <c:v>43067</c:v>
                </c:pt>
                <c:pt idx="1487">
                  <c:v>43068</c:v>
                </c:pt>
                <c:pt idx="1488">
                  <c:v>43069</c:v>
                </c:pt>
                <c:pt idx="1489">
                  <c:v>43070</c:v>
                </c:pt>
                <c:pt idx="1490">
                  <c:v>43073</c:v>
                </c:pt>
                <c:pt idx="1491">
                  <c:v>43074</c:v>
                </c:pt>
                <c:pt idx="1492">
                  <c:v>43075</c:v>
                </c:pt>
                <c:pt idx="1493">
                  <c:v>43076</c:v>
                </c:pt>
                <c:pt idx="1494">
                  <c:v>43077</c:v>
                </c:pt>
                <c:pt idx="1495">
                  <c:v>43080</c:v>
                </c:pt>
                <c:pt idx="1496">
                  <c:v>43081</c:v>
                </c:pt>
                <c:pt idx="1497">
                  <c:v>43082</c:v>
                </c:pt>
                <c:pt idx="1498">
                  <c:v>43083</c:v>
                </c:pt>
                <c:pt idx="1499">
                  <c:v>43084</c:v>
                </c:pt>
                <c:pt idx="1500">
                  <c:v>43087</c:v>
                </c:pt>
                <c:pt idx="1501">
                  <c:v>43088</c:v>
                </c:pt>
                <c:pt idx="1502">
                  <c:v>43089</c:v>
                </c:pt>
                <c:pt idx="1503">
                  <c:v>43090</c:v>
                </c:pt>
                <c:pt idx="1504">
                  <c:v>43091</c:v>
                </c:pt>
                <c:pt idx="1505">
                  <c:v>43094</c:v>
                </c:pt>
                <c:pt idx="1506">
                  <c:v>43095</c:v>
                </c:pt>
                <c:pt idx="1507">
                  <c:v>43096</c:v>
                </c:pt>
                <c:pt idx="1508">
                  <c:v>43097</c:v>
                </c:pt>
                <c:pt idx="1509">
                  <c:v>43098</c:v>
                </c:pt>
                <c:pt idx="1510">
                  <c:v>43101</c:v>
                </c:pt>
                <c:pt idx="1511">
                  <c:v>43102</c:v>
                </c:pt>
                <c:pt idx="1512">
                  <c:v>43103</c:v>
                </c:pt>
                <c:pt idx="1513">
                  <c:v>43104</c:v>
                </c:pt>
                <c:pt idx="1514">
                  <c:v>43105</c:v>
                </c:pt>
                <c:pt idx="1515">
                  <c:v>43108</c:v>
                </c:pt>
                <c:pt idx="1516">
                  <c:v>43109</c:v>
                </c:pt>
                <c:pt idx="1517">
                  <c:v>43110</c:v>
                </c:pt>
                <c:pt idx="1518">
                  <c:v>43111</c:v>
                </c:pt>
                <c:pt idx="1519">
                  <c:v>43112</c:v>
                </c:pt>
                <c:pt idx="1520">
                  <c:v>43115</c:v>
                </c:pt>
                <c:pt idx="1521">
                  <c:v>43116</c:v>
                </c:pt>
                <c:pt idx="1522">
                  <c:v>43117</c:v>
                </c:pt>
                <c:pt idx="1523">
                  <c:v>43118</c:v>
                </c:pt>
                <c:pt idx="1524">
                  <c:v>43119</c:v>
                </c:pt>
                <c:pt idx="1525">
                  <c:v>43122</c:v>
                </c:pt>
                <c:pt idx="1526">
                  <c:v>43123</c:v>
                </c:pt>
                <c:pt idx="1527">
                  <c:v>43124</c:v>
                </c:pt>
                <c:pt idx="1528">
                  <c:v>43125</c:v>
                </c:pt>
                <c:pt idx="1529">
                  <c:v>43126</c:v>
                </c:pt>
                <c:pt idx="1530">
                  <c:v>43129</c:v>
                </c:pt>
                <c:pt idx="1531">
                  <c:v>43130</c:v>
                </c:pt>
                <c:pt idx="1532">
                  <c:v>43131</c:v>
                </c:pt>
                <c:pt idx="1533">
                  <c:v>43132</c:v>
                </c:pt>
                <c:pt idx="1534">
                  <c:v>43133</c:v>
                </c:pt>
                <c:pt idx="1535">
                  <c:v>43136</c:v>
                </c:pt>
                <c:pt idx="1536">
                  <c:v>43137</c:v>
                </c:pt>
                <c:pt idx="1537">
                  <c:v>43138</c:v>
                </c:pt>
                <c:pt idx="1538">
                  <c:v>43139</c:v>
                </c:pt>
                <c:pt idx="1539">
                  <c:v>43140</c:v>
                </c:pt>
                <c:pt idx="1540">
                  <c:v>43143</c:v>
                </c:pt>
                <c:pt idx="1541">
                  <c:v>43144</c:v>
                </c:pt>
                <c:pt idx="1542">
                  <c:v>43145</c:v>
                </c:pt>
                <c:pt idx="1543">
                  <c:v>43146</c:v>
                </c:pt>
                <c:pt idx="1544">
                  <c:v>43147</c:v>
                </c:pt>
                <c:pt idx="1545">
                  <c:v>43150</c:v>
                </c:pt>
                <c:pt idx="1546">
                  <c:v>43151</c:v>
                </c:pt>
                <c:pt idx="1547">
                  <c:v>43152</c:v>
                </c:pt>
                <c:pt idx="1548">
                  <c:v>43153</c:v>
                </c:pt>
                <c:pt idx="1549">
                  <c:v>43154</c:v>
                </c:pt>
                <c:pt idx="1550">
                  <c:v>43157</c:v>
                </c:pt>
                <c:pt idx="1551">
                  <c:v>43158</c:v>
                </c:pt>
                <c:pt idx="1552">
                  <c:v>43159</c:v>
                </c:pt>
                <c:pt idx="1553">
                  <c:v>43160</c:v>
                </c:pt>
                <c:pt idx="1554">
                  <c:v>43161</c:v>
                </c:pt>
                <c:pt idx="1555">
                  <c:v>43164</c:v>
                </c:pt>
                <c:pt idx="1556">
                  <c:v>43165</c:v>
                </c:pt>
                <c:pt idx="1557">
                  <c:v>43166</c:v>
                </c:pt>
                <c:pt idx="1558">
                  <c:v>43167</c:v>
                </c:pt>
                <c:pt idx="1559">
                  <c:v>43168</c:v>
                </c:pt>
                <c:pt idx="1560">
                  <c:v>43171</c:v>
                </c:pt>
                <c:pt idx="1561">
                  <c:v>43172</c:v>
                </c:pt>
                <c:pt idx="1562">
                  <c:v>43173</c:v>
                </c:pt>
                <c:pt idx="1563">
                  <c:v>43174</c:v>
                </c:pt>
                <c:pt idx="1564">
                  <c:v>43175</c:v>
                </c:pt>
                <c:pt idx="1565">
                  <c:v>43178</c:v>
                </c:pt>
                <c:pt idx="1566">
                  <c:v>43179</c:v>
                </c:pt>
                <c:pt idx="1567">
                  <c:v>43180</c:v>
                </c:pt>
                <c:pt idx="1568">
                  <c:v>43181</c:v>
                </c:pt>
                <c:pt idx="1569">
                  <c:v>43182</c:v>
                </c:pt>
                <c:pt idx="1570">
                  <c:v>43185</c:v>
                </c:pt>
                <c:pt idx="1571">
                  <c:v>43186</c:v>
                </c:pt>
                <c:pt idx="1572">
                  <c:v>43187</c:v>
                </c:pt>
                <c:pt idx="1573">
                  <c:v>43188</c:v>
                </c:pt>
                <c:pt idx="1574">
                  <c:v>43189</c:v>
                </c:pt>
                <c:pt idx="1575">
                  <c:v>43192</c:v>
                </c:pt>
                <c:pt idx="1576">
                  <c:v>43193</c:v>
                </c:pt>
                <c:pt idx="1577">
                  <c:v>43194</c:v>
                </c:pt>
                <c:pt idx="1578">
                  <c:v>43195</c:v>
                </c:pt>
                <c:pt idx="1579">
                  <c:v>43196</c:v>
                </c:pt>
                <c:pt idx="1580">
                  <c:v>43199</c:v>
                </c:pt>
                <c:pt idx="1581">
                  <c:v>43200</c:v>
                </c:pt>
                <c:pt idx="1582">
                  <c:v>43201</c:v>
                </c:pt>
                <c:pt idx="1583">
                  <c:v>43202</c:v>
                </c:pt>
                <c:pt idx="1584">
                  <c:v>43203</c:v>
                </c:pt>
                <c:pt idx="1585">
                  <c:v>43206</c:v>
                </c:pt>
                <c:pt idx="1586">
                  <c:v>43207</c:v>
                </c:pt>
                <c:pt idx="1587">
                  <c:v>43208</c:v>
                </c:pt>
                <c:pt idx="1588">
                  <c:v>43209</c:v>
                </c:pt>
                <c:pt idx="1589">
                  <c:v>43210</c:v>
                </c:pt>
                <c:pt idx="1590">
                  <c:v>43213</c:v>
                </c:pt>
                <c:pt idx="1591">
                  <c:v>43214</c:v>
                </c:pt>
                <c:pt idx="1592">
                  <c:v>43215</c:v>
                </c:pt>
                <c:pt idx="1593">
                  <c:v>43216</c:v>
                </c:pt>
                <c:pt idx="1594">
                  <c:v>43217</c:v>
                </c:pt>
                <c:pt idx="1595">
                  <c:v>43220</c:v>
                </c:pt>
                <c:pt idx="1596">
                  <c:v>43221</c:v>
                </c:pt>
                <c:pt idx="1597">
                  <c:v>43222</c:v>
                </c:pt>
                <c:pt idx="1598">
                  <c:v>43223</c:v>
                </c:pt>
                <c:pt idx="1599">
                  <c:v>43224</c:v>
                </c:pt>
                <c:pt idx="1600">
                  <c:v>43227</c:v>
                </c:pt>
                <c:pt idx="1601">
                  <c:v>43228</c:v>
                </c:pt>
                <c:pt idx="1602">
                  <c:v>43229</c:v>
                </c:pt>
                <c:pt idx="1603">
                  <c:v>43230</c:v>
                </c:pt>
                <c:pt idx="1604">
                  <c:v>43231</c:v>
                </c:pt>
                <c:pt idx="1605">
                  <c:v>43234</c:v>
                </c:pt>
                <c:pt idx="1606">
                  <c:v>43235</c:v>
                </c:pt>
                <c:pt idx="1607">
                  <c:v>43236</c:v>
                </c:pt>
                <c:pt idx="1608">
                  <c:v>43237</c:v>
                </c:pt>
                <c:pt idx="1609">
                  <c:v>43238</c:v>
                </c:pt>
                <c:pt idx="1610">
                  <c:v>43241</c:v>
                </c:pt>
                <c:pt idx="1611">
                  <c:v>43242</c:v>
                </c:pt>
                <c:pt idx="1612">
                  <c:v>43243</c:v>
                </c:pt>
                <c:pt idx="1613">
                  <c:v>43244</c:v>
                </c:pt>
                <c:pt idx="1614">
                  <c:v>43245</c:v>
                </c:pt>
                <c:pt idx="1615">
                  <c:v>43248</c:v>
                </c:pt>
                <c:pt idx="1616">
                  <c:v>43249</c:v>
                </c:pt>
                <c:pt idx="1617">
                  <c:v>43250</c:v>
                </c:pt>
                <c:pt idx="1618">
                  <c:v>43251</c:v>
                </c:pt>
                <c:pt idx="1619">
                  <c:v>43252</c:v>
                </c:pt>
                <c:pt idx="1620">
                  <c:v>43255</c:v>
                </c:pt>
                <c:pt idx="1621">
                  <c:v>43256</c:v>
                </c:pt>
                <c:pt idx="1622">
                  <c:v>43257</c:v>
                </c:pt>
                <c:pt idx="1623">
                  <c:v>43258</c:v>
                </c:pt>
                <c:pt idx="1624">
                  <c:v>43259</c:v>
                </c:pt>
                <c:pt idx="1625">
                  <c:v>43262</c:v>
                </c:pt>
                <c:pt idx="1626">
                  <c:v>43263</c:v>
                </c:pt>
                <c:pt idx="1627">
                  <c:v>43264</c:v>
                </c:pt>
                <c:pt idx="1628">
                  <c:v>43265</c:v>
                </c:pt>
                <c:pt idx="1629">
                  <c:v>43266</c:v>
                </c:pt>
                <c:pt idx="1630">
                  <c:v>43269</c:v>
                </c:pt>
                <c:pt idx="1631">
                  <c:v>43270</c:v>
                </c:pt>
                <c:pt idx="1632">
                  <c:v>43271</c:v>
                </c:pt>
                <c:pt idx="1633">
                  <c:v>43272</c:v>
                </c:pt>
                <c:pt idx="1634">
                  <c:v>43273</c:v>
                </c:pt>
                <c:pt idx="1635">
                  <c:v>43276</c:v>
                </c:pt>
                <c:pt idx="1636">
                  <c:v>43277</c:v>
                </c:pt>
                <c:pt idx="1637">
                  <c:v>43278</c:v>
                </c:pt>
                <c:pt idx="1638">
                  <c:v>43279</c:v>
                </c:pt>
                <c:pt idx="1639">
                  <c:v>43280</c:v>
                </c:pt>
                <c:pt idx="1640">
                  <c:v>43283</c:v>
                </c:pt>
                <c:pt idx="1641">
                  <c:v>43284</c:v>
                </c:pt>
                <c:pt idx="1642">
                  <c:v>43285</c:v>
                </c:pt>
                <c:pt idx="1643">
                  <c:v>43286</c:v>
                </c:pt>
                <c:pt idx="1644">
                  <c:v>43287</c:v>
                </c:pt>
                <c:pt idx="1645">
                  <c:v>43290</c:v>
                </c:pt>
                <c:pt idx="1646">
                  <c:v>43291</c:v>
                </c:pt>
                <c:pt idx="1647">
                  <c:v>43292</c:v>
                </c:pt>
                <c:pt idx="1648">
                  <c:v>43293</c:v>
                </c:pt>
                <c:pt idx="1649">
                  <c:v>43294</c:v>
                </c:pt>
                <c:pt idx="1650">
                  <c:v>43297</c:v>
                </c:pt>
                <c:pt idx="1651">
                  <c:v>43298</c:v>
                </c:pt>
                <c:pt idx="1652">
                  <c:v>43299</c:v>
                </c:pt>
                <c:pt idx="1653">
                  <c:v>43300</c:v>
                </c:pt>
                <c:pt idx="1654">
                  <c:v>43301</c:v>
                </c:pt>
                <c:pt idx="1655">
                  <c:v>43304</c:v>
                </c:pt>
                <c:pt idx="1656">
                  <c:v>43305</c:v>
                </c:pt>
                <c:pt idx="1657">
                  <c:v>43306</c:v>
                </c:pt>
                <c:pt idx="1658">
                  <c:v>43307</c:v>
                </c:pt>
                <c:pt idx="1659">
                  <c:v>43308</c:v>
                </c:pt>
                <c:pt idx="1660">
                  <c:v>43311</c:v>
                </c:pt>
                <c:pt idx="1661">
                  <c:v>43312</c:v>
                </c:pt>
                <c:pt idx="1662">
                  <c:v>43313</c:v>
                </c:pt>
                <c:pt idx="1663">
                  <c:v>43314</c:v>
                </c:pt>
                <c:pt idx="1664">
                  <c:v>43315</c:v>
                </c:pt>
                <c:pt idx="1665">
                  <c:v>43318</c:v>
                </c:pt>
                <c:pt idx="1666">
                  <c:v>43319</c:v>
                </c:pt>
                <c:pt idx="1667">
                  <c:v>43320</c:v>
                </c:pt>
                <c:pt idx="1668">
                  <c:v>43321</c:v>
                </c:pt>
                <c:pt idx="1669">
                  <c:v>43322</c:v>
                </c:pt>
                <c:pt idx="1670">
                  <c:v>43325</c:v>
                </c:pt>
                <c:pt idx="1671">
                  <c:v>43326</c:v>
                </c:pt>
                <c:pt idx="1672">
                  <c:v>43327</c:v>
                </c:pt>
                <c:pt idx="1673">
                  <c:v>43328</c:v>
                </c:pt>
                <c:pt idx="1674">
                  <c:v>43329</c:v>
                </c:pt>
                <c:pt idx="1675">
                  <c:v>43332</c:v>
                </c:pt>
                <c:pt idx="1676">
                  <c:v>43333</c:v>
                </c:pt>
                <c:pt idx="1677">
                  <c:v>43334</c:v>
                </c:pt>
                <c:pt idx="1678">
                  <c:v>43335</c:v>
                </c:pt>
                <c:pt idx="1679">
                  <c:v>43336</c:v>
                </c:pt>
                <c:pt idx="1680">
                  <c:v>43339</c:v>
                </c:pt>
                <c:pt idx="1681">
                  <c:v>43340</c:v>
                </c:pt>
                <c:pt idx="1682">
                  <c:v>43341</c:v>
                </c:pt>
                <c:pt idx="1683">
                  <c:v>43342</c:v>
                </c:pt>
                <c:pt idx="1684">
                  <c:v>43343</c:v>
                </c:pt>
                <c:pt idx="1685">
                  <c:v>43346</c:v>
                </c:pt>
                <c:pt idx="1686">
                  <c:v>43347</c:v>
                </c:pt>
                <c:pt idx="1687">
                  <c:v>43348</c:v>
                </c:pt>
                <c:pt idx="1688">
                  <c:v>43349</c:v>
                </c:pt>
                <c:pt idx="1689">
                  <c:v>43350</c:v>
                </c:pt>
                <c:pt idx="1690">
                  <c:v>43353</c:v>
                </c:pt>
                <c:pt idx="1691">
                  <c:v>43354</c:v>
                </c:pt>
                <c:pt idx="1692">
                  <c:v>43355</c:v>
                </c:pt>
                <c:pt idx="1693">
                  <c:v>43356</c:v>
                </c:pt>
                <c:pt idx="1694">
                  <c:v>43357</c:v>
                </c:pt>
                <c:pt idx="1695">
                  <c:v>43360</c:v>
                </c:pt>
                <c:pt idx="1696">
                  <c:v>43361</c:v>
                </c:pt>
                <c:pt idx="1697">
                  <c:v>43362</c:v>
                </c:pt>
                <c:pt idx="1698">
                  <c:v>43363</c:v>
                </c:pt>
                <c:pt idx="1699">
                  <c:v>43364</c:v>
                </c:pt>
                <c:pt idx="1700">
                  <c:v>43367</c:v>
                </c:pt>
                <c:pt idx="1701">
                  <c:v>43368</c:v>
                </c:pt>
                <c:pt idx="1702">
                  <c:v>43369</c:v>
                </c:pt>
                <c:pt idx="1703">
                  <c:v>43370</c:v>
                </c:pt>
                <c:pt idx="1704">
                  <c:v>43371</c:v>
                </c:pt>
                <c:pt idx="1705">
                  <c:v>43374</c:v>
                </c:pt>
                <c:pt idx="1706">
                  <c:v>43375</c:v>
                </c:pt>
                <c:pt idx="1707">
                  <c:v>43376</c:v>
                </c:pt>
                <c:pt idx="1708">
                  <c:v>43377</c:v>
                </c:pt>
                <c:pt idx="1709">
                  <c:v>43378</c:v>
                </c:pt>
                <c:pt idx="1710">
                  <c:v>43381</c:v>
                </c:pt>
                <c:pt idx="1711">
                  <c:v>43382</c:v>
                </c:pt>
                <c:pt idx="1712">
                  <c:v>43383</c:v>
                </c:pt>
                <c:pt idx="1713">
                  <c:v>43384</c:v>
                </c:pt>
                <c:pt idx="1714">
                  <c:v>43385</c:v>
                </c:pt>
                <c:pt idx="1715">
                  <c:v>43388</c:v>
                </c:pt>
                <c:pt idx="1716">
                  <c:v>43389</c:v>
                </c:pt>
                <c:pt idx="1717">
                  <c:v>43390</c:v>
                </c:pt>
                <c:pt idx="1718">
                  <c:v>43391</c:v>
                </c:pt>
                <c:pt idx="1719">
                  <c:v>43392</c:v>
                </c:pt>
                <c:pt idx="1720">
                  <c:v>43395</c:v>
                </c:pt>
                <c:pt idx="1721">
                  <c:v>43396</c:v>
                </c:pt>
                <c:pt idx="1722">
                  <c:v>43397</c:v>
                </c:pt>
                <c:pt idx="1723">
                  <c:v>43398</c:v>
                </c:pt>
                <c:pt idx="1724">
                  <c:v>43399</c:v>
                </c:pt>
                <c:pt idx="1725">
                  <c:v>43402</c:v>
                </c:pt>
                <c:pt idx="1726">
                  <c:v>43403</c:v>
                </c:pt>
                <c:pt idx="1727">
                  <c:v>43404</c:v>
                </c:pt>
                <c:pt idx="1728">
                  <c:v>43405</c:v>
                </c:pt>
                <c:pt idx="1729">
                  <c:v>43406</c:v>
                </c:pt>
                <c:pt idx="1730">
                  <c:v>43409</c:v>
                </c:pt>
                <c:pt idx="1731">
                  <c:v>43410</c:v>
                </c:pt>
                <c:pt idx="1732">
                  <c:v>43411</c:v>
                </c:pt>
                <c:pt idx="1733">
                  <c:v>43412</c:v>
                </c:pt>
                <c:pt idx="1734">
                  <c:v>43413</c:v>
                </c:pt>
                <c:pt idx="1735">
                  <c:v>43416</c:v>
                </c:pt>
                <c:pt idx="1736">
                  <c:v>43417</c:v>
                </c:pt>
                <c:pt idx="1737">
                  <c:v>43418</c:v>
                </c:pt>
                <c:pt idx="1738">
                  <c:v>43419</c:v>
                </c:pt>
                <c:pt idx="1739">
                  <c:v>43420</c:v>
                </c:pt>
                <c:pt idx="1740">
                  <c:v>43423</c:v>
                </c:pt>
                <c:pt idx="1741">
                  <c:v>43424</c:v>
                </c:pt>
                <c:pt idx="1742">
                  <c:v>43425</c:v>
                </c:pt>
                <c:pt idx="1743">
                  <c:v>43426</c:v>
                </c:pt>
                <c:pt idx="1744">
                  <c:v>43427</c:v>
                </c:pt>
                <c:pt idx="1745">
                  <c:v>43430</c:v>
                </c:pt>
                <c:pt idx="1746">
                  <c:v>43431</c:v>
                </c:pt>
                <c:pt idx="1747">
                  <c:v>43432</c:v>
                </c:pt>
                <c:pt idx="1748">
                  <c:v>43433</c:v>
                </c:pt>
                <c:pt idx="1749">
                  <c:v>43434</c:v>
                </c:pt>
                <c:pt idx="1750">
                  <c:v>43437</c:v>
                </c:pt>
                <c:pt idx="1751">
                  <c:v>43438</c:v>
                </c:pt>
                <c:pt idx="1752">
                  <c:v>43439</c:v>
                </c:pt>
                <c:pt idx="1753">
                  <c:v>43440</c:v>
                </c:pt>
                <c:pt idx="1754">
                  <c:v>43441</c:v>
                </c:pt>
                <c:pt idx="1755">
                  <c:v>43444</c:v>
                </c:pt>
                <c:pt idx="1756">
                  <c:v>43445</c:v>
                </c:pt>
                <c:pt idx="1757">
                  <c:v>43446</c:v>
                </c:pt>
                <c:pt idx="1758">
                  <c:v>43447</c:v>
                </c:pt>
                <c:pt idx="1759">
                  <c:v>43448</c:v>
                </c:pt>
                <c:pt idx="1760">
                  <c:v>43451</c:v>
                </c:pt>
                <c:pt idx="1761">
                  <c:v>43452</c:v>
                </c:pt>
                <c:pt idx="1762">
                  <c:v>43453</c:v>
                </c:pt>
                <c:pt idx="1763">
                  <c:v>43454</c:v>
                </c:pt>
                <c:pt idx="1764">
                  <c:v>43455</c:v>
                </c:pt>
                <c:pt idx="1765">
                  <c:v>43458</c:v>
                </c:pt>
                <c:pt idx="1766">
                  <c:v>43459</c:v>
                </c:pt>
                <c:pt idx="1767">
                  <c:v>43460</c:v>
                </c:pt>
                <c:pt idx="1768">
                  <c:v>43461</c:v>
                </c:pt>
                <c:pt idx="1769">
                  <c:v>43462</c:v>
                </c:pt>
                <c:pt idx="1770">
                  <c:v>43465</c:v>
                </c:pt>
                <c:pt idx="1771">
                  <c:v>43466</c:v>
                </c:pt>
                <c:pt idx="1772">
                  <c:v>43467</c:v>
                </c:pt>
                <c:pt idx="1773">
                  <c:v>43468</c:v>
                </c:pt>
                <c:pt idx="1774">
                  <c:v>43469</c:v>
                </c:pt>
                <c:pt idx="1775">
                  <c:v>43472</c:v>
                </c:pt>
                <c:pt idx="1776">
                  <c:v>43473</c:v>
                </c:pt>
                <c:pt idx="1777">
                  <c:v>43474</c:v>
                </c:pt>
                <c:pt idx="1778">
                  <c:v>43475</c:v>
                </c:pt>
                <c:pt idx="1779">
                  <c:v>43476</c:v>
                </c:pt>
                <c:pt idx="1780">
                  <c:v>43479</c:v>
                </c:pt>
                <c:pt idx="1781">
                  <c:v>43480</c:v>
                </c:pt>
                <c:pt idx="1782">
                  <c:v>43481</c:v>
                </c:pt>
                <c:pt idx="1783">
                  <c:v>43482</c:v>
                </c:pt>
                <c:pt idx="1784">
                  <c:v>43483</c:v>
                </c:pt>
                <c:pt idx="1785">
                  <c:v>43486</c:v>
                </c:pt>
                <c:pt idx="1786">
                  <c:v>43487</c:v>
                </c:pt>
                <c:pt idx="1787">
                  <c:v>43488</c:v>
                </c:pt>
                <c:pt idx="1788">
                  <c:v>43489</c:v>
                </c:pt>
                <c:pt idx="1789">
                  <c:v>43490</c:v>
                </c:pt>
                <c:pt idx="1790">
                  <c:v>43493</c:v>
                </c:pt>
                <c:pt idx="1791">
                  <c:v>43494</c:v>
                </c:pt>
                <c:pt idx="1792">
                  <c:v>43495</c:v>
                </c:pt>
                <c:pt idx="1793">
                  <c:v>43496</c:v>
                </c:pt>
                <c:pt idx="1794">
                  <c:v>43497</c:v>
                </c:pt>
                <c:pt idx="1795">
                  <c:v>43500</c:v>
                </c:pt>
                <c:pt idx="1796">
                  <c:v>43501</c:v>
                </c:pt>
                <c:pt idx="1797">
                  <c:v>43502</c:v>
                </c:pt>
                <c:pt idx="1798">
                  <c:v>43503</c:v>
                </c:pt>
                <c:pt idx="1799">
                  <c:v>43504</c:v>
                </c:pt>
                <c:pt idx="1800">
                  <c:v>43507</c:v>
                </c:pt>
                <c:pt idx="1801">
                  <c:v>43508</c:v>
                </c:pt>
                <c:pt idx="1802">
                  <c:v>43509</c:v>
                </c:pt>
                <c:pt idx="1803">
                  <c:v>43510</c:v>
                </c:pt>
                <c:pt idx="1804">
                  <c:v>43511</c:v>
                </c:pt>
                <c:pt idx="1805">
                  <c:v>43514</c:v>
                </c:pt>
                <c:pt idx="1806">
                  <c:v>43515</c:v>
                </c:pt>
                <c:pt idx="1807">
                  <c:v>43516</c:v>
                </c:pt>
                <c:pt idx="1808">
                  <c:v>43517</c:v>
                </c:pt>
                <c:pt idx="1809">
                  <c:v>43518</c:v>
                </c:pt>
                <c:pt idx="1810">
                  <c:v>43521</c:v>
                </c:pt>
                <c:pt idx="1811">
                  <c:v>43522</c:v>
                </c:pt>
                <c:pt idx="1812">
                  <c:v>43523</c:v>
                </c:pt>
                <c:pt idx="1813">
                  <c:v>43524</c:v>
                </c:pt>
                <c:pt idx="1814">
                  <c:v>43525</c:v>
                </c:pt>
                <c:pt idx="1815">
                  <c:v>43528</c:v>
                </c:pt>
                <c:pt idx="1816">
                  <c:v>43529</c:v>
                </c:pt>
                <c:pt idx="1817">
                  <c:v>43530</c:v>
                </c:pt>
                <c:pt idx="1818">
                  <c:v>43531</c:v>
                </c:pt>
                <c:pt idx="1819">
                  <c:v>43532</c:v>
                </c:pt>
                <c:pt idx="1820">
                  <c:v>43535</c:v>
                </c:pt>
                <c:pt idx="1821">
                  <c:v>43536</c:v>
                </c:pt>
                <c:pt idx="1822">
                  <c:v>43537</c:v>
                </c:pt>
                <c:pt idx="1823">
                  <c:v>43538</c:v>
                </c:pt>
                <c:pt idx="1824">
                  <c:v>43539</c:v>
                </c:pt>
                <c:pt idx="1825">
                  <c:v>43542</c:v>
                </c:pt>
                <c:pt idx="1826">
                  <c:v>43543</c:v>
                </c:pt>
                <c:pt idx="1827">
                  <c:v>43544</c:v>
                </c:pt>
                <c:pt idx="1828">
                  <c:v>43545</c:v>
                </c:pt>
                <c:pt idx="1829">
                  <c:v>43546</c:v>
                </c:pt>
                <c:pt idx="1830">
                  <c:v>43549</c:v>
                </c:pt>
                <c:pt idx="1831">
                  <c:v>43550</c:v>
                </c:pt>
                <c:pt idx="1832">
                  <c:v>43551</c:v>
                </c:pt>
                <c:pt idx="1833">
                  <c:v>43552</c:v>
                </c:pt>
                <c:pt idx="1834">
                  <c:v>43553</c:v>
                </c:pt>
                <c:pt idx="1835">
                  <c:v>43556</c:v>
                </c:pt>
                <c:pt idx="1836">
                  <c:v>43557</c:v>
                </c:pt>
                <c:pt idx="1837">
                  <c:v>43558</c:v>
                </c:pt>
                <c:pt idx="1838">
                  <c:v>43559</c:v>
                </c:pt>
                <c:pt idx="1839">
                  <c:v>43560</c:v>
                </c:pt>
                <c:pt idx="1840">
                  <c:v>43563</c:v>
                </c:pt>
                <c:pt idx="1841">
                  <c:v>43564</c:v>
                </c:pt>
                <c:pt idx="1842">
                  <c:v>43565</c:v>
                </c:pt>
                <c:pt idx="1843">
                  <c:v>43566</c:v>
                </c:pt>
                <c:pt idx="1844">
                  <c:v>43567</c:v>
                </c:pt>
                <c:pt idx="1845">
                  <c:v>43570</c:v>
                </c:pt>
                <c:pt idx="1846">
                  <c:v>43571</c:v>
                </c:pt>
                <c:pt idx="1847">
                  <c:v>43572</c:v>
                </c:pt>
                <c:pt idx="1848">
                  <c:v>43573</c:v>
                </c:pt>
                <c:pt idx="1849">
                  <c:v>43574</c:v>
                </c:pt>
                <c:pt idx="1850">
                  <c:v>43577</c:v>
                </c:pt>
                <c:pt idx="1851">
                  <c:v>43578</c:v>
                </c:pt>
                <c:pt idx="1852">
                  <c:v>43579</c:v>
                </c:pt>
                <c:pt idx="1853">
                  <c:v>43580</c:v>
                </c:pt>
                <c:pt idx="1854">
                  <c:v>43581</c:v>
                </c:pt>
                <c:pt idx="1855">
                  <c:v>43584</c:v>
                </c:pt>
                <c:pt idx="1856">
                  <c:v>43585</c:v>
                </c:pt>
                <c:pt idx="1857">
                  <c:v>43586</c:v>
                </c:pt>
                <c:pt idx="1858">
                  <c:v>43587</c:v>
                </c:pt>
                <c:pt idx="1859">
                  <c:v>43588</c:v>
                </c:pt>
                <c:pt idx="1860">
                  <c:v>43591</c:v>
                </c:pt>
                <c:pt idx="1861">
                  <c:v>43592</c:v>
                </c:pt>
                <c:pt idx="1862">
                  <c:v>43593</c:v>
                </c:pt>
                <c:pt idx="1863">
                  <c:v>43594</c:v>
                </c:pt>
                <c:pt idx="1864">
                  <c:v>43595</c:v>
                </c:pt>
                <c:pt idx="1865">
                  <c:v>43598</c:v>
                </c:pt>
                <c:pt idx="1866">
                  <c:v>43599</c:v>
                </c:pt>
                <c:pt idx="1867">
                  <c:v>43600</c:v>
                </c:pt>
                <c:pt idx="1868">
                  <c:v>43601</c:v>
                </c:pt>
                <c:pt idx="1869">
                  <c:v>43602</c:v>
                </c:pt>
                <c:pt idx="1870">
                  <c:v>43605</c:v>
                </c:pt>
                <c:pt idx="1871">
                  <c:v>43606</c:v>
                </c:pt>
                <c:pt idx="1872">
                  <c:v>43607</c:v>
                </c:pt>
                <c:pt idx="1873">
                  <c:v>43608</c:v>
                </c:pt>
                <c:pt idx="1874">
                  <c:v>43609</c:v>
                </c:pt>
                <c:pt idx="1875">
                  <c:v>43612</c:v>
                </c:pt>
                <c:pt idx="1876">
                  <c:v>43613</c:v>
                </c:pt>
                <c:pt idx="1877">
                  <c:v>43614</c:v>
                </c:pt>
                <c:pt idx="1878">
                  <c:v>43615</c:v>
                </c:pt>
                <c:pt idx="1879">
                  <c:v>43616</c:v>
                </c:pt>
              </c:numCache>
            </c:numRef>
          </c:cat>
          <c:val>
            <c:numRef>
              <c:f>'fixed target'!$O$19:$O$1898</c:f>
              <c:numCache>
                <c:formatCode>General</c:formatCode>
                <c:ptCount val="1880"/>
                <c:pt idx="253" formatCode="0.00">
                  <c:v>0.58962909722888279</c:v>
                </c:pt>
                <c:pt idx="254" formatCode="0.00">
                  <c:v>0.58962180800853226</c:v>
                </c:pt>
                <c:pt idx="255" formatCode="0.00">
                  <c:v>0.58956485882270848</c:v>
                </c:pt>
                <c:pt idx="256" formatCode="0.00">
                  <c:v>0.58859188302575283</c:v>
                </c:pt>
                <c:pt idx="257" formatCode="0.00">
                  <c:v>0.58494614122354971</c:v>
                </c:pt>
                <c:pt idx="258" formatCode="0.00">
                  <c:v>0.58571962325397597</c:v>
                </c:pt>
                <c:pt idx="259" formatCode="0.00">
                  <c:v>0.58275727902992225</c:v>
                </c:pt>
                <c:pt idx="260" formatCode="0.00">
                  <c:v>0.58102954273421314</c:v>
                </c:pt>
                <c:pt idx="261" formatCode="0.00">
                  <c:v>0.58131346011695217</c:v>
                </c:pt>
                <c:pt idx="262" formatCode="0.00">
                  <c:v>0.58237443324655891</c:v>
                </c:pt>
                <c:pt idx="263" formatCode="0.00">
                  <c:v>0.58260008641421601</c:v>
                </c:pt>
                <c:pt idx="264" formatCode="0.00">
                  <c:v>0.58232742537547078</c:v>
                </c:pt>
                <c:pt idx="265" formatCode="0.00">
                  <c:v>0.58715193131388499</c:v>
                </c:pt>
                <c:pt idx="266" formatCode="0.00">
                  <c:v>0.58650104812498605</c:v>
                </c:pt>
                <c:pt idx="267" formatCode="0.00">
                  <c:v>0.58670381522813597</c:v>
                </c:pt>
                <c:pt idx="268" formatCode="0.00">
                  <c:v>0.58664960454115411</c:v>
                </c:pt>
                <c:pt idx="269" formatCode="0.00">
                  <c:v>0.5860671598162176</c:v>
                </c:pt>
                <c:pt idx="270" formatCode="0.00">
                  <c:v>0.58789071821388061</c:v>
                </c:pt>
                <c:pt idx="271" formatCode="0.00">
                  <c:v>0.58856142405523937</c:v>
                </c:pt>
                <c:pt idx="272" formatCode="0.00">
                  <c:v>0.58574566462204147</c:v>
                </c:pt>
                <c:pt idx="273" formatCode="0.00">
                  <c:v>0.5772267138747571</c:v>
                </c:pt>
                <c:pt idx="274" formatCode="0.00">
                  <c:v>0.57804399447161481</c:v>
                </c:pt>
                <c:pt idx="275" formatCode="0.00">
                  <c:v>0.57625595242261085</c:v>
                </c:pt>
                <c:pt idx="276" formatCode="0.00">
                  <c:v>0.57646466416667497</c:v>
                </c:pt>
                <c:pt idx="277" formatCode="0.00">
                  <c:v>0.57623707656531287</c:v>
                </c:pt>
                <c:pt idx="278" formatCode="0.00">
                  <c:v>0.57361183535087767</c:v>
                </c:pt>
                <c:pt idx="279" formatCode="0.00">
                  <c:v>0.57746849076987861</c:v>
                </c:pt>
                <c:pt idx="280" formatCode="0.00">
                  <c:v>0.57773085348918574</c:v>
                </c:pt>
                <c:pt idx="281" formatCode="0.00">
                  <c:v>0.57807335381720393</c:v>
                </c:pt>
                <c:pt idx="282" formatCode="0.00">
                  <c:v>0.57829864565195244</c:v>
                </c:pt>
                <c:pt idx="283" formatCode="0.00">
                  <c:v>0.57784263505916</c:v>
                </c:pt>
                <c:pt idx="284" formatCode="0.00">
                  <c:v>0.59084252329314457</c:v>
                </c:pt>
                <c:pt idx="285" formatCode="0.00">
                  <c:v>0.59146733466576806</c:v>
                </c:pt>
                <c:pt idx="286" formatCode="0.00">
                  <c:v>0.59151799729357035</c:v>
                </c:pt>
                <c:pt idx="287" formatCode="0.00">
                  <c:v>0.58824237030683579</c:v>
                </c:pt>
                <c:pt idx="288" formatCode="0.00">
                  <c:v>0.58864916753440177</c:v>
                </c:pt>
                <c:pt idx="289" formatCode="0.00">
                  <c:v>0.58936801183775656</c:v>
                </c:pt>
                <c:pt idx="290" formatCode="0.00">
                  <c:v>0.58932156675903657</c:v>
                </c:pt>
                <c:pt idx="291" formatCode="0.00">
                  <c:v>0.5889088287116313</c:v>
                </c:pt>
                <c:pt idx="292" formatCode="0.00">
                  <c:v>0.59166811989705936</c:v>
                </c:pt>
                <c:pt idx="293" formatCode="0.00">
                  <c:v>0.58901177777621727</c:v>
                </c:pt>
                <c:pt idx="294" formatCode="0.00">
                  <c:v>0.5879442892200849</c:v>
                </c:pt>
                <c:pt idx="295" formatCode="0.00">
                  <c:v>0.58736658483907966</c:v>
                </c:pt>
                <c:pt idx="296" formatCode="0.00">
                  <c:v>0.58871079522837066</c:v>
                </c:pt>
                <c:pt idx="297" formatCode="0.00">
                  <c:v>0.5884923830108526</c:v>
                </c:pt>
                <c:pt idx="298" formatCode="0.00">
                  <c:v>0.5843650756748423</c:v>
                </c:pt>
                <c:pt idx="299" formatCode="0.00">
                  <c:v>0.58390550513103734</c:v>
                </c:pt>
                <c:pt idx="300" formatCode="0.00">
                  <c:v>0.58606981410815639</c:v>
                </c:pt>
                <c:pt idx="301" formatCode="0.00">
                  <c:v>0.58445374889611834</c:v>
                </c:pt>
                <c:pt idx="302" formatCode="0.00">
                  <c:v>0.58411517353005116</c:v>
                </c:pt>
                <c:pt idx="303" formatCode="0.00">
                  <c:v>0.58405203036674769</c:v>
                </c:pt>
                <c:pt idx="304" formatCode="0.00">
                  <c:v>0.58359692732408064</c:v>
                </c:pt>
                <c:pt idx="305" formatCode="0.00">
                  <c:v>0.5822529073657986</c:v>
                </c:pt>
                <c:pt idx="306" formatCode="0.00">
                  <c:v>0.57797417800688966</c:v>
                </c:pt>
                <c:pt idx="307" formatCode="0.00">
                  <c:v>0.57687442969359159</c:v>
                </c:pt>
                <c:pt idx="308" formatCode="0.00">
                  <c:v>0.58225974792953139</c:v>
                </c:pt>
                <c:pt idx="309" formatCode="0.00">
                  <c:v>0.58304930307277358</c:v>
                </c:pt>
                <c:pt idx="310" formatCode="0.00">
                  <c:v>0.58339131082181117</c:v>
                </c:pt>
                <c:pt idx="311" formatCode="0.00">
                  <c:v>0.58441873796829569</c:v>
                </c:pt>
                <c:pt idx="312" formatCode="0.00">
                  <c:v>0.5846673236122637</c:v>
                </c:pt>
                <c:pt idx="313" formatCode="0.00">
                  <c:v>0.58467573702195885</c:v>
                </c:pt>
                <c:pt idx="314" formatCode="0.00">
                  <c:v>0.58653295057734156</c:v>
                </c:pt>
                <c:pt idx="315" formatCode="0.00">
                  <c:v>0.58902310801665436</c:v>
                </c:pt>
                <c:pt idx="316" formatCode="0.00">
                  <c:v>0.5907306001848146</c:v>
                </c:pt>
                <c:pt idx="317" formatCode="0.00">
                  <c:v>0.59186266076552085</c:v>
                </c:pt>
                <c:pt idx="318" formatCode="0.00">
                  <c:v>0.59203701427526723</c:v>
                </c:pt>
                <c:pt idx="319" formatCode="0.00">
                  <c:v>0.59200576151619411</c:v>
                </c:pt>
                <c:pt idx="320" formatCode="0.00">
                  <c:v>0.59174464267483029</c:v>
                </c:pt>
                <c:pt idx="321" formatCode="0.00">
                  <c:v>0.59220893269511854</c:v>
                </c:pt>
                <c:pt idx="322" formatCode="0.00">
                  <c:v>0.59083407806639421</c:v>
                </c:pt>
                <c:pt idx="323" formatCode="0.00">
                  <c:v>0.59146068069046498</c:v>
                </c:pt>
                <c:pt idx="324" formatCode="0.00">
                  <c:v>0.59183083034038053</c:v>
                </c:pt>
                <c:pt idx="325" formatCode="0.00">
                  <c:v>0.59320015522661929</c:v>
                </c:pt>
                <c:pt idx="326" formatCode="0.00">
                  <c:v>0.59289307028365834</c:v>
                </c:pt>
                <c:pt idx="327" formatCode="0.00">
                  <c:v>0.59241338633409224</c:v>
                </c:pt>
                <c:pt idx="328" formatCode="0.00">
                  <c:v>0.59468310292024262</c:v>
                </c:pt>
                <c:pt idx="329" formatCode="0.00">
                  <c:v>0.5928167422061339</c:v>
                </c:pt>
                <c:pt idx="330" formatCode="0.00">
                  <c:v>0.59349416968054602</c:v>
                </c:pt>
                <c:pt idx="331" formatCode="0.00">
                  <c:v>0.59417130289484188</c:v>
                </c:pt>
                <c:pt idx="332" formatCode="0.00">
                  <c:v>0.59432531061635907</c:v>
                </c:pt>
                <c:pt idx="333" formatCode="0.00">
                  <c:v>0.59284073638696511</c:v>
                </c:pt>
                <c:pt idx="334" formatCode="0.00">
                  <c:v>0.59288659161567836</c:v>
                </c:pt>
                <c:pt idx="335" formatCode="0.00">
                  <c:v>0.59146102051869198</c:v>
                </c:pt>
                <c:pt idx="336" formatCode="0.00">
                  <c:v>0.59144861273107974</c:v>
                </c:pt>
                <c:pt idx="337" formatCode="0.00">
                  <c:v>0.59375832005699491</c:v>
                </c:pt>
                <c:pt idx="338" formatCode="0.00">
                  <c:v>0.59382544723561226</c:v>
                </c:pt>
                <c:pt idx="339" formatCode="0.00">
                  <c:v>0.59763794784865321</c:v>
                </c:pt>
                <c:pt idx="340" formatCode="0.00">
                  <c:v>0.59854246665601507</c:v>
                </c:pt>
                <c:pt idx="341" formatCode="0.00">
                  <c:v>0.59824157566065173</c:v>
                </c:pt>
                <c:pt idx="342" formatCode="0.00">
                  <c:v>0.59511494275091326</c:v>
                </c:pt>
                <c:pt idx="343" formatCode="0.00">
                  <c:v>0.59806407980501952</c:v>
                </c:pt>
                <c:pt idx="344" formatCode="0.00">
                  <c:v>0.59839878449799133</c:v>
                </c:pt>
                <c:pt idx="345" formatCode="0.00">
                  <c:v>0.59804845421025976</c:v>
                </c:pt>
                <c:pt idx="346" formatCode="0.00">
                  <c:v>0.59635939759858125</c:v>
                </c:pt>
                <c:pt idx="347" formatCode="0.00">
                  <c:v>0.58943544282529903</c:v>
                </c:pt>
                <c:pt idx="348" formatCode="0.00">
                  <c:v>0.58957420811876704</c:v>
                </c:pt>
                <c:pt idx="349" formatCode="0.00">
                  <c:v>0.59094950769575094</c:v>
                </c:pt>
                <c:pt idx="350" formatCode="0.00">
                  <c:v>0.59339213904374299</c:v>
                </c:pt>
                <c:pt idx="351" formatCode="0.00">
                  <c:v>0.59400384240308435</c:v>
                </c:pt>
                <c:pt idx="352" formatCode="0.00">
                  <c:v>0.59956486310163337</c:v>
                </c:pt>
                <c:pt idx="353" formatCode="0.00">
                  <c:v>0.60777149843024281</c:v>
                </c:pt>
                <c:pt idx="354" formatCode="0.00">
                  <c:v>0.60603467749092166</c:v>
                </c:pt>
                <c:pt idx="355" formatCode="0.00">
                  <c:v>0.60610306276628034</c:v>
                </c:pt>
                <c:pt idx="356" formatCode="0.00">
                  <c:v>0.60688670303886671</c:v>
                </c:pt>
                <c:pt idx="357" formatCode="0.00">
                  <c:v>0.60997504805876279</c:v>
                </c:pt>
                <c:pt idx="358" formatCode="0.00">
                  <c:v>0.6100601511446333</c:v>
                </c:pt>
                <c:pt idx="359" formatCode="0.00">
                  <c:v>0.61012221507969722</c:v>
                </c:pt>
                <c:pt idx="360" formatCode="0.00">
                  <c:v>0.61028852167614744</c:v>
                </c:pt>
                <c:pt idx="361" formatCode="0.00">
                  <c:v>0.61002630075232156</c:v>
                </c:pt>
                <c:pt idx="362" formatCode="0.00">
                  <c:v>0.60840682603578067</c:v>
                </c:pt>
                <c:pt idx="363" formatCode="0.00">
                  <c:v>0.60789123019289204</c:v>
                </c:pt>
                <c:pt idx="364" formatCode="0.00">
                  <c:v>0.61214818499944779</c:v>
                </c:pt>
                <c:pt idx="365" formatCode="0.00">
                  <c:v>0.61373209434569909</c:v>
                </c:pt>
                <c:pt idx="366" formatCode="0.00">
                  <c:v>0.62607407991204045</c:v>
                </c:pt>
                <c:pt idx="367" formatCode="0.00">
                  <c:v>0.62657030547657022</c:v>
                </c:pt>
                <c:pt idx="368" formatCode="0.00">
                  <c:v>0.62425631616350752</c:v>
                </c:pt>
                <c:pt idx="369" formatCode="0.00">
                  <c:v>0.621970931669939</c:v>
                </c:pt>
                <c:pt idx="370" formatCode="0.00">
                  <c:v>0.62619820249667035</c:v>
                </c:pt>
                <c:pt idx="371" formatCode="0.00">
                  <c:v>0.62687119890123644</c:v>
                </c:pt>
                <c:pt idx="372" formatCode="0.00">
                  <c:v>0.62800495348683361</c:v>
                </c:pt>
                <c:pt idx="373" formatCode="0.00">
                  <c:v>0.62803953597789364</c:v>
                </c:pt>
                <c:pt idx="374" formatCode="0.00">
                  <c:v>0.62987646972913991</c:v>
                </c:pt>
                <c:pt idx="375" formatCode="0.00">
                  <c:v>0.62943249899891429</c:v>
                </c:pt>
                <c:pt idx="376" formatCode="0.00">
                  <c:v>0.62904128993917374</c:v>
                </c:pt>
                <c:pt idx="377" formatCode="0.00">
                  <c:v>0.62993576062322698</c:v>
                </c:pt>
                <c:pt idx="378" formatCode="0.00">
                  <c:v>0.63328445504945441</c:v>
                </c:pt>
                <c:pt idx="379" formatCode="0.00">
                  <c:v>0.63369557438277824</c:v>
                </c:pt>
                <c:pt idx="380" formatCode="0.00">
                  <c:v>0.63253513559183827</c:v>
                </c:pt>
                <c:pt idx="381" formatCode="0.00">
                  <c:v>0.63312297561312625</c:v>
                </c:pt>
                <c:pt idx="382" formatCode="0.00">
                  <c:v>0.63363843701674616</c:v>
                </c:pt>
                <c:pt idx="383" formatCode="0.00">
                  <c:v>0.63243629218482766</c:v>
                </c:pt>
                <c:pt idx="384" formatCode="0.00">
                  <c:v>0.62851423228322956</c:v>
                </c:pt>
                <c:pt idx="385" formatCode="0.00">
                  <c:v>0.62855411354832291</c:v>
                </c:pt>
                <c:pt idx="386" formatCode="0.00">
                  <c:v>0.62873746594674584</c:v>
                </c:pt>
                <c:pt idx="387" formatCode="0.00">
                  <c:v>0.62661826883624538</c:v>
                </c:pt>
                <c:pt idx="388" formatCode="0.00">
                  <c:v>0.62614255328123181</c:v>
                </c:pt>
                <c:pt idx="389" formatCode="0.00">
                  <c:v>0.62535231383815348</c:v>
                </c:pt>
                <c:pt idx="390" formatCode="0.00">
                  <c:v>0.62251719630235913</c:v>
                </c:pt>
                <c:pt idx="391" formatCode="0.00">
                  <c:v>0.62133303492616609</c:v>
                </c:pt>
                <c:pt idx="392" formatCode="0.00">
                  <c:v>0.62254096716728213</c:v>
                </c:pt>
                <c:pt idx="393" formatCode="0.00">
                  <c:v>0.62197434281313801</c:v>
                </c:pt>
                <c:pt idx="394" formatCode="0.00">
                  <c:v>0.62245207726712626</c:v>
                </c:pt>
                <c:pt idx="395" formatCode="0.00">
                  <c:v>0.62248944701521203</c:v>
                </c:pt>
                <c:pt idx="396" formatCode="0.00">
                  <c:v>0.62249312226906273</c:v>
                </c:pt>
                <c:pt idx="397" formatCode="0.00">
                  <c:v>0.62419527025620414</c:v>
                </c:pt>
                <c:pt idx="398" formatCode="0.00">
                  <c:v>0.62412615210931743</c:v>
                </c:pt>
                <c:pt idx="399" formatCode="0.00">
                  <c:v>0.62442373115120242</c:v>
                </c:pt>
                <c:pt idx="400" formatCode="0.00">
                  <c:v>0.62402037492098184</c:v>
                </c:pt>
                <c:pt idx="401" formatCode="0.00">
                  <c:v>0.62378495297922554</c:v>
                </c:pt>
                <c:pt idx="402" formatCode="0.00">
                  <c:v>0.62384597310637646</c:v>
                </c:pt>
                <c:pt idx="403" formatCode="0.00">
                  <c:v>0.62366449091821974</c:v>
                </c:pt>
                <c:pt idx="404" formatCode="0.00">
                  <c:v>0.62309480533190187</c:v>
                </c:pt>
                <c:pt idx="405" formatCode="0.00">
                  <c:v>0.62257257986840153</c:v>
                </c:pt>
                <c:pt idx="406" formatCode="0.00">
                  <c:v>0.62053431295228201</c:v>
                </c:pt>
                <c:pt idx="407" formatCode="0.00">
                  <c:v>0.62253690454323696</c:v>
                </c:pt>
                <c:pt idx="408" formatCode="0.00">
                  <c:v>0.62015092649840287</c:v>
                </c:pt>
                <c:pt idx="409" formatCode="0.00">
                  <c:v>0.61909094558642286</c:v>
                </c:pt>
                <c:pt idx="410" formatCode="0.00">
                  <c:v>0.61946157440577232</c:v>
                </c:pt>
                <c:pt idx="411" formatCode="0.00">
                  <c:v>0.61949322789574124</c:v>
                </c:pt>
                <c:pt idx="412" formatCode="0.00">
                  <c:v>0.620100973750908</c:v>
                </c:pt>
                <c:pt idx="413" formatCode="0.00">
                  <c:v>0.61886648350204598</c:v>
                </c:pt>
                <c:pt idx="414" formatCode="0.00">
                  <c:v>0.62076847515529354</c:v>
                </c:pt>
                <c:pt idx="415" formatCode="0.00">
                  <c:v>0.6178874059521422</c:v>
                </c:pt>
                <c:pt idx="416" formatCode="0.00">
                  <c:v>0.61765853068155008</c:v>
                </c:pt>
                <c:pt idx="417" formatCode="0.00">
                  <c:v>0.61192518461883183</c:v>
                </c:pt>
                <c:pt idx="418" formatCode="0.00">
                  <c:v>0.61342272489097682</c:v>
                </c:pt>
                <c:pt idx="419" formatCode="0.00">
                  <c:v>0.61274131073842242</c:v>
                </c:pt>
                <c:pt idx="420" formatCode="0.00">
                  <c:v>0.61292443468213287</c:v>
                </c:pt>
                <c:pt idx="421" formatCode="0.00">
                  <c:v>0.61278840033547766</c:v>
                </c:pt>
                <c:pt idx="422" formatCode="0.00">
                  <c:v>0.61521332548665997</c:v>
                </c:pt>
                <c:pt idx="423" formatCode="0.00">
                  <c:v>0.62163401818970798</c:v>
                </c:pt>
                <c:pt idx="424" formatCode="0.00">
                  <c:v>0.62162974239805535</c:v>
                </c:pt>
                <c:pt idx="425" formatCode="0.00">
                  <c:v>0.62030125614588438</c:v>
                </c:pt>
                <c:pt idx="426" formatCode="0.00">
                  <c:v>0.61976415316274092</c:v>
                </c:pt>
                <c:pt idx="427" formatCode="0.00">
                  <c:v>0.62015304388346371</c:v>
                </c:pt>
                <c:pt idx="428" formatCode="0.00">
                  <c:v>0.61852257623648677</c:v>
                </c:pt>
                <c:pt idx="429" formatCode="0.00">
                  <c:v>0.62289096093966878</c:v>
                </c:pt>
                <c:pt idx="430" formatCode="0.00">
                  <c:v>0.62285211858315914</c:v>
                </c:pt>
                <c:pt idx="431" formatCode="0.00">
                  <c:v>0.62260230001342243</c:v>
                </c:pt>
                <c:pt idx="432" formatCode="0.00">
                  <c:v>0.6221828667561401</c:v>
                </c:pt>
                <c:pt idx="433" formatCode="0.00">
                  <c:v>0.62216703938284101</c:v>
                </c:pt>
                <c:pt idx="434" formatCode="0.00">
                  <c:v>0.62202927587720813</c:v>
                </c:pt>
                <c:pt idx="435" formatCode="0.00">
                  <c:v>0.62094830701328185</c:v>
                </c:pt>
                <c:pt idx="436" formatCode="0.00">
                  <c:v>0.62078265549395717</c:v>
                </c:pt>
                <c:pt idx="437" formatCode="0.00">
                  <c:v>0.6209610920855424</c:v>
                </c:pt>
                <c:pt idx="438" formatCode="0.00">
                  <c:v>0.62112124668747093</c:v>
                </c:pt>
                <c:pt idx="439" formatCode="0.00">
                  <c:v>0.62439156434850107</c:v>
                </c:pt>
                <c:pt idx="440" formatCode="0.00">
                  <c:v>0.61783427828374282</c:v>
                </c:pt>
                <c:pt idx="441" formatCode="0.00">
                  <c:v>0.61801340218765355</c:v>
                </c:pt>
                <c:pt idx="442" formatCode="0.00">
                  <c:v>0.6180347149587998</c:v>
                </c:pt>
                <c:pt idx="443" formatCode="0.00">
                  <c:v>0.6180463843115519</c:v>
                </c:pt>
                <c:pt idx="444" formatCode="0.00">
                  <c:v>0.61749573596087604</c:v>
                </c:pt>
                <c:pt idx="445" formatCode="0.00">
                  <c:v>0.6164230428622739</c:v>
                </c:pt>
                <c:pt idx="446" formatCode="0.00">
                  <c:v>0.61564471986896241</c:v>
                </c:pt>
                <c:pt idx="447" formatCode="0.00">
                  <c:v>0.61088098337852059</c:v>
                </c:pt>
                <c:pt idx="448" formatCode="0.00">
                  <c:v>0.61007302790150264</c:v>
                </c:pt>
                <c:pt idx="449" formatCode="0.00">
                  <c:v>0.60898298093197534</c:v>
                </c:pt>
                <c:pt idx="450" formatCode="0.00">
                  <c:v>0.6076022147898843</c:v>
                </c:pt>
                <c:pt idx="451" formatCode="0.00">
                  <c:v>0.60765422573426664</c:v>
                </c:pt>
                <c:pt idx="452" formatCode="0.00">
                  <c:v>0.60936167897817761</c:v>
                </c:pt>
                <c:pt idx="453" formatCode="0.00">
                  <c:v>0.60990444232768548</c:v>
                </c:pt>
                <c:pt idx="454" formatCode="0.00">
                  <c:v>0.60982304961590772</c:v>
                </c:pt>
                <c:pt idx="455" formatCode="0.00">
                  <c:v>0.61015622743683373</c:v>
                </c:pt>
                <c:pt idx="456" formatCode="0.00">
                  <c:v>0.6100660878857912</c:v>
                </c:pt>
                <c:pt idx="457" formatCode="0.00">
                  <c:v>0.61174973193255944</c:v>
                </c:pt>
                <c:pt idx="458" formatCode="0.00">
                  <c:v>0.61160812459262415</c:v>
                </c:pt>
                <c:pt idx="459" formatCode="0.00">
                  <c:v>0.61251767476262564</c:v>
                </c:pt>
                <c:pt idx="460" formatCode="0.00">
                  <c:v>0.61269181488674185</c:v>
                </c:pt>
                <c:pt idx="461" formatCode="0.00">
                  <c:v>0.61072507281533661</c:v>
                </c:pt>
                <c:pt idx="462" formatCode="0.00">
                  <c:v>0.61069643816761998</c:v>
                </c:pt>
                <c:pt idx="463" formatCode="0.00">
                  <c:v>0.60926031766885991</c:v>
                </c:pt>
                <c:pt idx="464" formatCode="0.00">
                  <c:v>0.60928866079173571</c:v>
                </c:pt>
                <c:pt idx="465" formatCode="0.00">
                  <c:v>0.60919671951539722</c:v>
                </c:pt>
                <c:pt idx="466" formatCode="0.00">
                  <c:v>0.60738172926716616</c:v>
                </c:pt>
                <c:pt idx="467" formatCode="0.00">
                  <c:v>0.60562471517581729</c:v>
                </c:pt>
                <c:pt idx="468" formatCode="0.00">
                  <c:v>0.60457785257111019</c:v>
                </c:pt>
                <c:pt idx="469" formatCode="0.00">
                  <c:v>0.60399804132053692</c:v>
                </c:pt>
                <c:pt idx="470" formatCode="0.00">
                  <c:v>0.60137521501380586</c:v>
                </c:pt>
                <c:pt idx="471" formatCode="0.00">
                  <c:v>0.60407402216881101</c:v>
                </c:pt>
                <c:pt idx="472" formatCode="0.00">
                  <c:v>0.59912028907149939</c:v>
                </c:pt>
                <c:pt idx="473" formatCode="0.00">
                  <c:v>0.59990587105311299</c:v>
                </c:pt>
                <c:pt idx="474" formatCode="0.00">
                  <c:v>0.60015428518306457</c:v>
                </c:pt>
                <c:pt idx="475" formatCode="0.00">
                  <c:v>0.60019044285781054</c:v>
                </c:pt>
                <c:pt idx="476" formatCode="0.00">
                  <c:v>0.58696265455772034</c:v>
                </c:pt>
                <c:pt idx="477" formatCode="0.00">
                  <c:v>0.58585961867341663</c:v>
                </c:pt>
                <c:pt idx="478" formatCode="0.00">
                  <c:v>0.58406299772620096</c:v>
                </c:pt>
                <c:pt idx="479" formatCode="0.00">
                  <c:v>0.58431412621760725</c:v>
                </c:pt>
                <c:pt idx="480" formatCode="0.00">
                  <c:v>0.58011674297259885</c:v>
                </c:pt>
                <c:pt idx="481" formatCode="0.00">
                  <c:v>0.5810754231863845</c:v>
                </c:pt>
                <c:pt idx="482" formatCode="0.00">
                  <c:v>0.58257439612522988</c:v>
                </c:pt>
                <c:pt idx="483" formatCode="0.00">
                  <c:v>0.58291868004903324</c:v>
                </c:pt>
                <c:pt idx="484" formatCode="0.00">
                  <c:v>0.58268518148955373</c:v>
                </c:pt>
                <c:pt idx="485" formatCode="0.00">
                  <c:v>0.57969083605288507</c:v>
                </c:pt>
                <c:pt idx="486" formatCode="0.00">
                  <c:v>0.57830102958469842</c:v>
                </c:pt>
                <c:pt idx="487" formatCode="0.00">
                  <c:v>0.57979122269272099</c:v>
                </c:pt>
                <c:pt idx="488" formatCode="0.00">
                  <c:v>0.57710836316648995</c:v>
                </c:pt>
                <c:pt idx="489" formatCode="0.00">
                  <c:v>0.57718447359835434</c:v>
                </c:pt>
                <c:pt idx="490" formatCode="0.00">
                  <c:v>0.57498057015907733</c:v>
                </c:pt>
                <c:pt idx="491" formatCode="0.00">
                  <c:v>0.56700023553960976</c:v>
                </c:pt>
                <c:pt idx="492" formatCode="0.00">
                  <c:v>0.56579724762366457</c:v>
                </c:pt>
                <c:pt idx="493" formatCode="0.00">
                  <c:v>0.56578771956505614</c:v>
                </c:pt>
                <c:pt idx="494" formatCode="0.00">
                  <c:v>0.56740853009123693</c:v>
                </c:pt>
                <c:pt idx="495" formatCode="0.00">
                  <c:v>0.56787084418275535</c:v>
                </c:pt>
                <c:pt idx="496" formatCode="0.00">
                  <c:v>0.56902233837059302</c:v>
                </c:pt>
                <c:pt idx="497" formatCode="0.00">
                  <c:v>0.56935978786060371</c:v>
                </c:pt>
                <c:pt idx="498" formatCode="0.00">
                  <c:v>0.56635628765560009</c:v>
                </c:pt>
                <c:pt idx="499" formatCode="0.00">
                  <c:v>0.56627438582849998</c:v>
                </c:pt>
                <c:pt idx="500" formatCode="0.00">
                  <c:v>0.56613090297969293</c:v>
                </c:pt>
                <c:pt idx="501" formatCode="0.00">
                  <c:v>0.56305010396625566</c:v>
                </c:pt>
                <c:pt idx="502" formatCode="0.00">
                  <c:v>0.56121335246251458</c:v>
                </c:pt>
                <c:pt idx="503" formatCode="0.00">
                  <c:v>0.5618949501297128</c:v>
                </c:pt>
                <c:pt idx="504" formatCode="0.00">
                  <c:v>0.56208048450532766</c:v>
                </c:pt>
                <c:pt idx="505" formatCode="0.00">
                  <c:v>0.56815852981715209</c:v>
                </c:pt>
                <c:pt idx="506" formatCode="0.00">
                  <c:v>0.56779446272497458</c:v>
                </c:pt>
                <c:pt idx="507" formatCode="0.00">
                  <c:v>0.56801906820389192</c:v>
                </c:pt>
                <c:pt idx="508" formatCode="0.00">
                  <c:v>0.56988836133192533</c:v>
                </c:pt>
                <c:pt idx="509" formatCode="0.00">
                  <c:v>0.57033869361766665</c:v>
                </c:pt>
                <c:pt idx="510" formatCode="0.00">
                  <c:v>0.57034497830017739</c:v>
                </c:pt>
                <c:pt idx="511" formatCode="0.00">
                  <c:v>0.56965726092324354</c:v>
                </c:pt>
                <c:pt idx="512" formatCode="0.00">
                  <c:v>0.56837037646300159</c:v>
                </c:pt>
                <c:pt idx="513" formatCode="0.00">
                  <c:v>0.56606389791493028</c:v>
                </c:pt>
                <c:pt idx="514" formatCode="0.00">
                  <c:v>0.56557923124190501</c:v>
                </c:pt>
                <c:pt idx="515" formatCode="0.00">
                  <c:v>0.56501656595069316</c:v>
                </c:pt>
                <c:pt idx="516" formatCode="0.00">
                  <c:v>0.56478133999812341</c:v>
                </c:pt>
                <c:pt idx="517" formatCode="0.00">
                  <c:v>0.56835376075656785</c:v>
                </c:pt>
                <c:pt idx="518" formatCode="0.00">
                  <c:v>0.56329805658552834</c:v>
                </c:pt>
                <c:pt idx="519" formatCode="0.00">
                  <c:v>0.56566136472453477</c:v>
                </c:pt>
                <c:pt idx="520" formatCode="0.00">
                  <c:v>0.56732775056818663</c:v>
                </c:pt>
                <c:pt idx="521" formatCode="0.00">
                  <c:v>0.56733416471751075</c:v>
                </c:pt>
                <c:pt idx="522" formatCode="0.00">
                  <c:v>0.56983519880123479</c:v>
                </c:pt>
                <c:pt idx="523" formatCode="0.00">
                  <c:v>0.56796506222835208</c:v>
                </c:pt>
                <c:pt idx="524" formatCode="0.00">
                  <c:v>0.56719358482627202</c:v>
                </c:pt>
                <c:pt idx="525" formatCode="0.00">
                  <c:v>0.56632162036658018</c:v>
                </c:pt>
                <c:pt idx="526" formatCode="0.00">
                  <c:v>0.56576105699299217</c:v>
                </c:pt>
                <c:pt idx="527" formatCode="0.00">
                  <c:v>0.56287288511999767</c:v>
                </c:pt>
                <c:pt idx="528" formatCode="0.00">
                  <c:v>0.56532758236643987</c:v>
                </c:pt>
                <c:pt idx="529" formatCode="0.00">
                  <c:v>0.56515173143420938</c:v>
                </c:pt>
                <c:pt idx="530" formatCode="0.00">
                  <c:v>0.56545664844831189</c:v>
                </c:pt>
                <c:pt idx="531" formatCode="0.00">
                  <c:v>0.5654011437772557</c:v>
                </c:pt>
                <c:pt idx="532" formatCode="0.00">
                  <c:v>0.56025803895581061</c:v>
                </c:pt>
                <c:pt idx="533" formatCode="0.00">
                  <c:v>0.5600964385513395</c:v>
                </c:pt>
                <c:pt idx="534" formatCode="0.00">
                  <c:v>0.5612610260705424</c:v>
                </c:pt>
                <c:pt idx="535" formatCode="0.00">
                  <c:v>0.56060514382019588</c:v>
                </c:pt>
                <c:pt idx="536" formatCode="0.00">
                  <c:v>0.56190974396035132</c:v>
                </c:pt>
                <c:pt idx="537" formatCode="0.00">
                  <c:v>0.54862188655428823</c:v>
                </c:pt>
                <c:pt idx="538" formatCode="0.00">
                  <c:v>0.55083591819389865</c:v>
                </c:pt>
                <c:pt idx="539" formatCode="0.00">
                  <c:v>0.55083531038961986</c:v>
                </c:pt>
                <c:pt idx="540" formatCode="0.00">
                  <c:v>0.55054286381053485</c:v>
                </c:pt>
                <c:pt idx="541" formatCode="0.00">
                  <c:v>0.54965737262767989</c:v>
                </c:pt>
                <c:pt idx="542" formatCode="0.00">
                  <c:v>0.54997792653524691</c:v>
                </c:pt>
                <c:pt idx="543" formatCode="0.00">
                  <c:v>0.54997911908213293</c:v>
                </c:pt>
                <c:pt idx="544" formatCode="0.00">
                  <c:v>0.54989055446972168</c:v>
                </c:pt>
                <c:pt idx="545" formatCode="0.00">
                  <c:v>0.55017522146201059</c:v>
                </c:pt>
                <c:pt idx="546" formatCode="0.00">
                  <c:v>0.5490271777974578</c:v>
                </c:pt>
                <c:pt idx="547" formatCode="0.00">
                  <c:v>0.54900642848213654</c:v>
                </c:pt>
                <c:pt idx="548" formatCode="0.00">
                  <c:v>0.54986502473783694</c:v>
                </c:pt>
                <c:pt idx="549" formatCode="0.00">
                  <c:v>0.549466198258038</c:v>
                </c:pt>
                <c:pt idx="550" formatCode="0.00">
                  <c:v>0.55010755753656093</c:v>
                </c:pt>
                <c:pt idx="551" formatCode="0.00">
                  <c:v>0.5534084712358186</c:v>
                </c:pt>
                <c:pt idx="552" formatCode="0.00">
                  <c:v>0.55427814178818502</c:v>
                </c:pt>
                <c:pt idx="553" formatCode="0.00">
                  <c:v>0.5515273175101435</c:v>
                </c:pt>
                <c:pt idx="554" formatCode="0.00">
                  <c:v>0.55039925812415558</c:v>
                </c:pt>
                <c:pt idx="555" formatCode="0.00">
                  <c:v>0.5504128658907107</c:v>
                </c:pt>
                <c:pt idx="556" formatCode="0.00">
                  <c:v>0.5509996037734981</c:v>
                </c:pt>
                <c:pt idx="557" formatCode="0.00">
                  <c:v>0.54920755884515149</c:v>
                </c:pt>
                <c:pt idx="558" formatCode="0.00">
                  <c:v>0.54734534605927065</c:v>
                </c:pt>
                <c:pt idx="559" formatCode="0.00">
                  <c:v>0.54738708297733418</c:v>
                </c:pt>
                <c:pt idx="560" formatCode="0.00">
                  <c:v>0.54715219740529775</c:v>
                </c:pt>
                <c:pt idx="561" formatCode="0.00">
                  <c:v>0.5414435285614474</c:v>
                </c:pt>
                <c:pt idx="562" formatCode="0.00">
                  <c:v>0.54103202774253223</c:v>
                </c:pt>
                <c:pt idx="563" formatCode="0.00">
                  <c:v>0.54136235696660462</c:v>
                </c:pt>
                <c:pt idx="564" formatCode="0.00">
                  <c:v>0.53995757233095198</c:v>
                </c:pt>
                <c:pt idx="565" formatCode="0.00">
                  <c:v>0.54640174461997415</c:v>
                </c:pt>
                <c:pt idx="566" formatCode="0.00">
                  <c:v>0.5471230503414436</c:v>
                </c:pt>
                <c:pt idx="567" formatCode="0.00">
                  <c:v>0.54489595146625736</c:v>
                </c:pt>
                <c:pt idx="568" formatCode="0.00">
                  <c:v>0.54219078073011551</c:v>
                </c:pt>
                <c:pt idx="569" formatCode="0.00">
                  <c:v>0.54033668806119262</c:v>
                </c:pt>
                <c:pt idx="570" formatCode="0.00">
                  <c:v>0.53870751696694175</c:v>
                </c:pt>
                <c:pt idx="571" formatCode="0.00">
                  <c:v>0.53840579132956379</c:v>
                </c:pt>
                <c:pt idx="572" formatCode="0.00">
                  <c:v>0.5387536422840189</c:v>
                </c:pt>
                <c:pt idx="573" formatCode="0.00">
                  <c:v>0.54096476265713733</c:v>
                </c:pt>
                <c:pt idx="574" formatCode="0.00">
                  <c:v>0.54026536673398684</c:v>
                </c:pt>
                <c:pt idx="575" formatCode="0.00">
                  <c:v>0.54047402221193186</c:v>
                </c:pt>
                <c:pt idx="576" formatCode="0.00">
                  <c:v>0.54029888612667498</c:v>
                </c:pt>
                <c:pt idx="577" formatCode="0.00">
                  <c:v>0.53967268634659704</c:v>
                </c:pt>
                <c:pt idx="578" formatCode="0.00">
                  <c:v>0.53868798543468821</c:v>
                </c:pt>
                <c:pt idx="579" formatCode="0.00">
                  <c:v>0.5395087802505214</c:v>
                </c:pt>
                <c:pt idx="580" formatCode="0.00">
                  <c:v>0.54134399658367249</c:v>
                </c:pt>
                <c:pt idx="581" formatCode="0.00">
                  <c:v>0.53878117945195025</c:v>
                </c:pt>
                <c:pt idx="582" formatCode="0.00">
                  <c:v>0.53868309595366282</c:v>
                </c:pt>
                <c:pt idx="583" formatCode="0.00">
                  <c:v>0.53854594891111462</c:v>
                </c:pt>
                <c:pt idx="584" formatCode="0.00">
                  <c:v>0.53705124683712524</c:v>
                </c:pt>
                <c:pt idx="585" formatCode="0.00">
                  <c:v>0.5381749034554425</c:v>
                </c:pt>
                <c:pt idx="586" formatCode="0.00">
                  <c:v>0.53760025676604883</c:v>
                </c:pt>
                <c:pt idx="587" formatCode="0.00">
                  <c:v>0.5384737528206559</c:v>
                </c:pt>
                <c:pt idx="588" formatCode="0.00">
                  <c:v>0.53520890114974329</c:v>
                </c:pt>
                <c:pt idx="589" formatCode="0.00">
                  <c:v>0.53540729787323227</c:v>
                </c:pt>
                <c:pt idx="590" formatCode="0.00">
                  <c:v>0.53501923535195994</c:v>
                </c:pt>
                <c:pt idx="591" formatCode="0.00">
                  <c:v>0.53508937955481195</c:v>
                </c:pt>
                <c:pt idx="592" formatCode="0.00">
                  <c:v>0.54030438650325885</c:v>
                </c:pt>
                <c:pt idx="593" formatCode="0.00">
                  <c:v>0.54004969774859612</c:v>
                </c:pt>
                <c:pt idx="594" formatCode="0.00">
                  <c:v>0.54628337182696685</c:v>
                </c:pt>
                <c:pt idx="595" formatCode="0.00">
                  <c:v>0.54634673474072415</c:v>
                </c:pt>
                <c:pt idx="596" formatCode="0.00">
                  <c:v>0.54265935911575092</c:v>
                </c:pt>
                <c:pt idx="597" formatCode="0.00">
                  <c:v>0.54320532478063432</c:v>
                </c:pt>
                <c:pt idx="598" formatCode="0.00">
                  <c:v>0.5431515849468177</c:v>
                </c:pt>
                <c:pt idx="599" formatCode="0.00">
                  <c:v>0.54292812529260559</c:v>
                </c:pt>
                <c:pt idx="600" formatCode="0.00">
                  <c:v>0.54287453220489545</c:v>
                </c:pt>
                <c:pt idx="601" formatCode="0.00">
                  <c:v>0.54320529253041128</c:v>
                </c:pt>
                <c:pt idx="602" formatCode="0.00">
                  <c:v>0.54176036478460232</c:v>
                </c:pt>
                <c:pt idx="603" formatCode="0.00">
                  <c:v>0.53960634609115576</c:v>
                </c:pt>
                <c:pt idx="604" formatCode="0.00">
                  <c:v>0.54105832423556544</c:v>
                </c:pt>
                <c:pt idx="605" formatCode="0.00">
                  <c:v>0.53467415818131514</c:v>
                </c:pt>
                <c:pt idx="606" formatCode="0.00">
                  <c:v>0.52554694220404863</c:v>
                </c:pt>
                <c:pt idx="607" formatCode="0.00">
                  <c:v>0.52574401534585036</c:v>
                </c:pt>
                <c:pt idx="608" formatCode="0.00">
                  <c:v>0.52888596296817625</c:v>
                </c:pt>
                <c:pt idx="609" formatCode="0.00">
                  <c:v>0.53049334442786023</c:v>
                </c:pt>
                <c:pt idx="610" formatCode="0.00">
                  <c:v>0.52677452514029977</c:v>
                </c:pt>
                <c:pt idx="611" formatCode="0.00">
                  <c:v>0.52668663756794154</c:v>
                </c:pt>
                <c:pt idx="612" formatCode="0.00">
                  <c:v>0.52853464351267831</c:v>
                </c:pt>
                <c:pt idx="613" formatCode="0.00">
                  <c:v>0.52837394643165214</c:v>
                </c:pt>
                <c:pt idx="614" formatCode="0.00">
                  <c:v>0.52838771337925294</c:v>
                </c:pt>
                <c:pt idx="615" formatCode="0.00">
                  <c:v>0.52811014681000024</c:v>
                </c:pt>
                <c:pt idx="616" formatCode="0.00">
                  <c:v>0.52762392172961947</c:v>
                </c:pt>
                <c:pt idx="617" formatCode="0.00">
                  <c:v>0.52228566862265857</c:v>
                </c:pt>
                <c:pt idx="618" formatCode="0.00">
                  <c:v>0.52551361437880928</c:v>
                </c:pt>
                <c:pt idx="619" formatCode="0.00">
                  <c:v>0.51096539073682901</c:v>
                </c:pt>
                <c:pt idx="620" formatCode="0.00">
                  <c:v>0.51020894572554831</c:v>
                </c:pt>
                <c:pt idx="621" formatCode="0.00">
                  <c:v>0.5109698538027162</c:v>
                </c:pt>
                <c:pt idx="622" formatCode="0.00">
                  <c:v>0.51096651043723595</c:v>
                </c:pt>
                <c:pt idx="623" formatCode="0.00">
                  <c:v>0.50618618643194535</c:v>
                </c:pt>
                <c:pt idx="624" formatCode="0.00">
                  <c:v>0.5051373343593174</c:v>
                </c:pt>
                <c:pt idx="625" formatCode="0.00">
                  <c:v>0.50401668182976433</c:v>
                </c:pt>
                <c:pt idx="626" formatCode="0.00">
                  <c:v>0.50410431430696556</c:v>
                </c:pt>
                <c:pt idx="627" formatCode="0.00">
                  <c:v>0.50155901567602024</c:v>
                </c:pt>
                <c:pt idx="628" formatCode="0.00">
                  <c:v>0.50324716339243458</c:v>
                </c:pt>
                <c:pt idx="629" formatCode="0.00">
                  <c:v>0.50307431099177424</c:v>
                </c:pt>
                <c:pt idx="630" formatCode="0.00">
                  <c:v>0.50318784319673071</c:v>
                </c:pt>
                <c:pt idx="631" formatCode="0.00">
                  <c:v>0.49790384654583247</c:v>
                </c:pt>
                <c:pt idx="632" formatCode="0.00">
                  <c:v>0.4978091977215397</c:v>
                </c:pt>
                <c:pt idx="633" formatCode="0.00">
                  <c:v>0.49766683369813147</c:v>
                </c:pt>
                <c:pt idx="634" formatCode="0.00">
                  <c:v>0.49595420115325056</c:v>
                </c:pt>
                <c:pt idx="635" formatCode="0.00">
                  <c:v>0.49511228097979654</c:v>
                </c:pt>
                <c:pt idx="636" formatCode="0.00">
                  <c:v>0.49560029692602137</c:v>
                </c:pt>
                <c:pt idx="637" formatCode="0.00">
                  <c:v>0.49494074919657105</c:v>
                </c:pt>
                <c:pt idx="638" formatCode="0.00">
                  <c:v>0.49455724567972897</c:v>
                </c:pt>
                <c:pt idx="639" formatCode="0.00">
                  <c:v>0.49436179402061825</c:v>
                </c:pt>
                <c:pt idx="640" formatCode="0.00">
                  <c:v>0.49423243685531792</c:v>
                </c:pt>
                <c:pt idx="641" formatCode="0.00">
                  <c:v>0.49451053591571259</c:v>
                </c:pt>
                <c:pt idx="642" formatCode="0.00">
                  <c:v>0.49595222918873594</c:v>
                </c:pt>
                <c:pt idx="643" formatCode="0.00">
                  <c:v>0.50177203450880625</c:v>
                </c:pt>
                <c:pt idx="644" formatCode="0.00">
                  <c:v>0.50106232714215204</c:v>
                </c:pt>
                <c:pt idx="645" formatCode="0.00">
                  <c:v>0.49945549255661897</c:v>
                </c:pt>
                <c:pt idx="646" formatCode="0.00">
                  <c:v>0.49906059879593317</c:v>
                </c:pt>
                <c:pt idx="647" formatCode="0.00">
                  <c:v>0.50461768325054968</c:v>
                </c:pt>
                <c:pt idx="648" formatCode="0.00">
                  <c:v>0.50428848782770552</c:v>
                </c:pt>
                <c:pt idx="649" formatCode="0.00">
                  <c:v>0.50494921539300153</c:v>
                </c:pt>
                <c:pt idx="650" formatCode="0.00">
                  <c:v>0.50263815761399055</c:v>
                </c:pt>
                <c:pt idx="651" formatCode="0.00">
                  <c:v>0.50263953947369333</c:v>
                </c:pt>
                <c:pt idx="652" formatCode="0.00">
                  <c:v>0.50640489045274839</c:v>
                </c:pt>
                <c:pt idx="653" formatCode="0.00">
                  <c:v>0.5090489331323278</c:v>
                </c:pt>
                <c:pt idx="654" formatCode="0.00">
                  <c:v>0.51111918596069184</c:v>
                </c:pt>
                <c:pt idx="655" formatCode="0.00">
                  <c:v>0.51260278883031818</c:v>
                </c:pt>
                <c:pt idx="656" formatCode="0.00">
                  <c:v>0.51242083740822952</c:v>
                </c:pt>
                <c:pt idx="657" formatCode="0.00">
                  <c:v>0.51307180301959665</c:v>
                </c:pt>
                <c:pt idx="658" formatCode="0.00">
                  <c:v>0.51262456663470712</c:v>
                </c:pt>
                <c:pt idx="659" formatCode="0.00">
                  <c:v>0.51259618192511025</c:v>
                </c:pt>
                <c:pt idx="660" formatCode="0.00">
                  <c:v>0.50902985807469348</c:v>
                </c:pt>
                <c:pt idx="661" formatCode="0.00">
                  <c:v>0.50843924489656411</c:v>
                </c:pt>
                <c:pt idx="662" formatCode="0.00">
                  <c:v>0.50897267454951423</c:v>
                </c:pt>
                <c:pt idx="663" formatCode="0.00">
                  <c:v>0.50916106521726434</c:v>
                </c:pt>
                <c:pt idx="664" formatCode="0.00">
                  <c:v>0.5083942367654315</c:v>
                </c:pt>
                <c:pt idx="665" formatCode="0.00">
                  <c:v>0.50759865798815473</c:v>
                </c:pt>
                <c:pt idx="666" formatCode="0.00">
                  <c:v>0.50728261683072362</c:v>
                </c:pt>
                <c:pt idx="667" formatCode="0.00">
                  <c:v>0.50479397394683545</c:v>
                </c:pt>
                <c:pt idx="668" formatCode="0.00">
                  <c:v>0.50457629257332659</c:v>
                </c:pt>
                <c:pt idx="669" formatCode="0.00">
                  <c:v>0.50480713292144397</c:v>
                </c:pt>
                <c:pt idx="670" formatCode="0.00">
                  <c:v>0.50546139015733427</c:v>
                </c:pt>
                <c:pt idx="671" formatCode="0.00">
                  <c:v>0.51073556284727917</c:v>
                </c:pt>
                <c:pt idx="672" formatCode="0.00">
                  <c:v>0.51091390033047546</c:v>
                </c:pt>
                <c:pt idx="673" formatCode="0.00">
                  <c:v>0.51104498227210782</c:v>
                </c:pt>
                <c:pt idx="674" formatCode="0.00">
                  <c:v>0.51477991419048164</c:v>
                </c:pt>
                <c:pt idx="675" formatCode="0.00">
                  <c:v>0.51196500493536257</c:v>
                </c:pt>
                <c:pt idx="676" formatCode="0.00">
                  <c:v>0.50524821744395465</c:v>
                </c:pt>
                <c:pt idx="677" formatCode="0.00">
                  <c:v>0.50596983148754682</c:v>
                </c:pt>
                <c:pt idx="678" formatCode="0.00">
                  <c:v>0.51100081128280894</c:v>
                </c:pt>
                <c:pt idx="679" formatCode="0.00">
                  <c:v>0.51091670451365467</c:v>
                </c:pt>
                <c:pt idx="680" formatCode="0.00">
                  <c:v>0.51317027444170771</c:v>
                </c:pt>
                <c:pt idx="681" formatCode="0.00">
                  <c:v>0.51419872649974441</c:v>
                </c:pt>
                <c:pt idx="682" formatCode="0.00">
                  <c:v>0.50900522777306967</c:v>
                </c:pt>
                <c:pt idx="683" formatCode="0.00">
                  <c:v>0.50945811928355145</c:v>
                </c:pt>
                <c:pt idx="684" formatCode="0.00">
                  <c:v>0.50906678965232965</c:v>
                </c:pt>
                <c:pt idx="685" formatCode="0.00">
                  <c:v>0.50961927404833329</c:v>
                </c:pt>
                <c:pt idx="686" formatCode="0.00">
                  <c:v>0.51489485432855575</c:v>
                </c:pt>
                <c:pt idx="687" formatCode="0.00">
                  <c:v>0.51322126286738123</c:v>
                </c:pt>
                <c:pt idx="688" formatCode="0.00">
                  <c:v>0.51482170458280463</c:v>
                </c:pt>
                <c:pt idx="689" formatCode="0.00">
                  <c:v>0.51481713349215885</c:v>
                </c:pt>
                <c:pt idx="690" formatCode="0.00">
                  <c:v>0.51587338890576906</c:v>
                </c:pt>
                <c:pt idx="691" formatCode="0.00">
                  <c:v>0.51568296501166511</c:v>
                </c:pt>
                <c:pt idx="692" formatCode="0.00">
                  <c:v>0.5118257851564143</c:v>
                </c:pt>
                <c:pt idx="693" formatCode="0.00">
                  <c:v>0.51465368807523726</c:v>
                </c:pt>
                <c:pt idx="694" formatCode="0.00">
                  <c:v>0.51449515233923282</c:v>
                </c:pt>
                <c:pt idx="695" formatCode="0.00">
                  <c:v>0.51539999559345762</c:v>
                </c:pt>
                <c:pt idx="696" formatCode="0.00">
                  <c:v>0.51539991508086325</c:v>
                </c:pt>
                <c:pt idx="697" formatCode="0.00">
                  <c:v>0.51522040346502651</c:v>
                </c:pt>
                <c:pt idx="698" formatCode="0.00">
                  <c:v>0.51794254715108667</c:v>
                </c:pt>
                <c:pt idx="699" formatCode="0.00">
                  <c:v>0.51839896475283243</c:v>
                </c:pt>
                <c:pt idx="700" formatCode="0.00">
                  <c:v>0.51546285656000412</c:v>
                </c:pt>
                <c:pt idx="701" formatCode="0.00">
                  <c:v>0.51557061444409313</c:v>
                </c:pt>
                <c:pt idx="702" formatCode="0.00">
                  <c:v>0.51903796890752474</c:v>
                </c:pt>
                <c:pt idx="703" formatCode="0.00">
                  <c:v>0.51995618380837161</c:v>
                </c:pt>
                <c:pt idx="704" formatCode="0.00">
                  <c:v>0.52166155384544999</c:v>
                </c:pt>
                <c:pt idx="705" formatCode="0.00">
                  <c:v>0.5222233157977989</c:v>
                </c:pt>
                <c:pt idx="706" formatCode="0.00">
                  <c:v>0.5282399765674417</c:v>
                </c:pt>
                <c:pt idx="707" formatCode="0.00">
                  <c:v>0.52968048684843461</c:v>
                </c:pt>
                <c:pt idx="708" formatCode="0.00">
                  <c:v>0.53151736860909249</c:v>
                </c:pt>
                <c:pt idx="709" formatCode="0.00">
                  <c:v>0.53325555422374649</c:v>
                </c:pt>
                <c:pt idx="710" formatCode="0.00">
                  <c:v>0.53170047845633861</c:v>
                </c:pt>
                <c:pt idx="711" formatCode="0.00">
                  <c:v>0.53621407020506628</c:v>
                </c:pt>
                <c:pt idx="712" formatCode="0.00">
                  <c:v>0.53620099202356486</c:v>
                </c:pt>
                <c:pt idx="713" formatCode="0.00">
                  <c:v>0.53596692599935536</c:v>
                </c:pt>
                <c:pt idx="714" formatCode="0.00">
                  <c:v>0.53601335869861289</c:v>
                </c:pt>
                <c:pt idx="715" formatCode="0.00">
                  <c:v>0.53677322725822441</c:v>
                </c:pt>
                <c:pt idx="716" formatCode="0.00">
                  <c:v>0.53682198061207698</c:v>
                </c:pt>
                <c:pt idx="717" formatCode="0.00">
                  <c:v>0.5481570115255836</c:v>
                </c:pt>
                <c:pt idx="718" formatCode="0.00">
                  <c:v>0.5485016457243781</c:v>
                </c:pt>
                <c:pt idx="719" formatCode="0.00">
                  <c:v>0.5485395067683867</c:v>
                </c:pt>
                <c:pt idx="720" formatCode="0.00">
                  <c:v>0.54874965242556351</c:v>
                </c:pt>
                <c:pt idx="721" formatCode="0.00">
                  <c:v>0.54878058682156883</c:v>
                </c:pt>
                <c:pt idx="722" formatCode="0.00">
                  <c:v>0.54810440294695928</c:v>
                </c:pt>
                <c:pt idx="723" formatCode="0.00">
                  <c:v>0.54765618935927074</c:v>
                </c:pt>
                <c:pt idx="724" formatCode="0.00">
                  <c:v>0.5444235241394888</c:v>
                </c:pt>
                <c:pt idx="725" formatCode="0.00">
                  <c:v>0.5450999052013441</c:v>
                </c:pt>
                <c:pt idx="726" formatCode="0.00">
                  <c:v>0.54420939718367212</c:v>
                </c:pt>
                <c:pt idx="727" formatCode="0.00">
                  <c:v>0.54337617684031747</c:v>
                </c:pt>
                <c:pt idx="728" formatCode="0.00">
                  <c:v>0.54330556204335223</c:v>
                </c:pt>
                <c:pt idx="729" formatCode="0.00">
                  <c:v>0.543171940485905</c:v>
                </c:pt>
                <c:pt idx="730" formatCode="0.00">
                  <c:v>0.54397417937835923</c:v>
                </c:pt>
                <c:pt idx="731" formatCode="0.00">
                  <c:v>0.54716154833948716</c:v>
                </c:pt>
                <c:pt idx="732" formatCode="0.00">
                  <c:v>0.54715155271599802</c:v>
                </c:pt>
                <c:pt idx="733" formatCode="0.00">
                  <c:v>0.54715429326313925</c:v>
                </c:pt>
                <c:pt idx="734" formatCode="0.00">
                  <c:v>0.54604664364415101</c:v>
                </c:pt>
                <c:pt idx="735" formatCode="0.00">
                  <c:v>0.54479610033183901</c:v>
                </c:pt>
                <c:pt idx="736" formatCode="0.00">
                  <c:v>0.5446020015138654</c:v>
                </c:pt>
                <c:pt idx="737" formatCode="0.00">
                  <c:v>0.54483351944833958</c:v>
                </c:pt>
                <c:pt idx="738" formatCode="0.00">
                  <c:v>0.5522824353798822</c:v>
                </c:pt>
                <c:pt idx="739" formatCode="0.00">
                  <c:v>0.54966816339792679</c:v>
                </c:pt>
                <c:pt idx="740" formatCode="0.00">
                  <c:v>0.54871662276110267</c:v>
                </c:pt>
                <c:pt idx="741" formatCode="0.00">
                  <c:v>0.5486592877062888</c:v>
                </c:pt>
                <c:pt idx="742" formatCode="0.00">
                  <c:v>0.54796748946430152</c:v>
                </c:pt>
                <c:pt idx="743" formatCode="0.00">
                  <c:v>0.54799783641247923</c:v>
                </c:pt>
                <c:pt idx="744" formatCode="0.00">
                  <c:v>0.5485320009013237</c:v>
                </c:pt>
                <c:pt idx="745" formatCode="0.00">
                  <c:v>0.54839675884620098</c:v>
                </c:pt>
                <c:pt idx="746" formatCode="0.00">
                  <c:v>0.54929903501530075</c:v>
                </c:pt>
                <c:pt idx="747" formatCode="0.00">
                  <c:v>0.54707829827595755</c:v>
                </c:pt>
                <c:pt idx="748" formatCode="0.00">
                  <c:v>0.54677131548838021</c:v>
                </c:pt>
                <c:pt idx="749" formatCode="0.00">
                  <c:v>0.54644917731344189</c:v>
                </c:pt>
                <c:pt idx="750" formatCode="0.00">
                  <c:v>0.54626042482986636</c:v>
                </c:pt>
                <c:pt idx="751" formatCode="0.00">
                  <c:v>0.54625748975432065</c:v>
                </c:pt>
                <c:pt idx="752" formatCode="0.00">
                  <c:v>0.54662271699392884</c:v>
                </c:pt>
                <c:pt idx="753" formatCode="0.00">
                  <c:v>0.54755267097910232</c:v>
                </c:pt>
                <c:pt idx="754" formatCode="0.00">
                  <c:v>0.55800995107887852</c:v>
                </c:pt>
                <c:pt idx="755" formatCode="0.00">
                  <c:v>0.55870605559809861</c:v>
                </c:pt>
                <c:pt idx="756" formatCode="0.00">
                  <c:v>0.55849382531295133</c:v>
                </c:pt>
                <c:pt idx="757" formatCode="0.00">
                  <c:v>0.56774819275442345</c:v>
                </c:pt>
                <c:pt idx="758" formatCode="0.00">
                  <c:v>0.56146798313772872</c:v>
                </c:pt>
                <c:pt idx="759" formatCode="0.00">
                  <c:v>0.56399703863355521</c:v>
                </c:pt>
                <c:pt idx="760" formatCode="0.00">
                  <c:v>0.56384517683766611</c:v>
                </c:pt>
                <c:pt idx="761" formatCode="0.00">
                  <c:v>0.56359674320152187</c:v>
                </c:pt>
                <c:pt idx="762" formatCode="0.00">
                  <c:v>0.56284086362757235</c:v>
                </c:pt>
                <c:pt idx="763" formatCode="0.00">
                  <c:v>0.56341813501866667</c:v>
                </c:pt>
                <c:pt idx="764" formatCode="0.00">
                  <c:v>0.56342454726520319</c:v>
                </c:pt>
                <c:pt idx="765" formatCode="0.00">
                  <c:v>0.5633483991955115</c:v>
                </c:pt>
                <c:pt idx="766" formatCode="0.00">
                  <c:v>0.56327480082876702</c:v>
                </c:pt>
                <c:pt idx="767" formatCode="0.00">
                  <c:v>0.56306931748876388</c:v>
                </c:pt>
                <c:pt idx="768" formatCode="0.00">
                  <c:v>0.5639052169184785</c:v>
                </c:pt>
                <c:pt idx="769" formatCode="0.00">
                  <c:v>0.56405464109996462</c:v>
                </c:pt>
                <c:pt idx="770" formatCode="0.00">
                  <c:v>0.56758865703835171</c:v>
                </c:pt>
                <c:pt idx="771" formatCode="0.00">
                  <c:v>0.56749368853115412</c:v>
                </c:pt>
                <c:pt idx="772" formatCode="0.00">
                  <c:v>0.56551912568201435</c:v>
                </c:pt>
                <c:pt idx="773" formatCode="0.00">
                  <c:v>0.56359092924236665</c:v>
                </c:pt>
                <c:pt idx="774" formatCode="0.00">
                  <c:v>0.56710892088077225</c:v>
                </c:pt>
                <c:pt idx="775" formatCode="0.00">
                  <c:v>0.56721809622509523</c:v>
                </c:pt>
                <c:pt idx="776" formatCode="0.00">
                  <c:v>0.56804169943054261</c:v>
                </c:pt>
                <c:pt idx="777" formatCode="0.00">
                  <c:v>0.56866593082220085</c:v>
                </c:pt>
                <c:pt idx="778" formatCode="0.00">
                  <c:v>0.56942910057719265</c:v>
                </c:pt>
                <c:pt idx="779" formatCode="0.00">
                  <c:v>0.56919151575536686</c:v>
                </c:pt>
                <c:pt idx="780" formatCode="0.00">
                  <c:v>0.5685174048192202</c:v>
                </c:pt>
                <c:pt idx="781" formatCode="0.00">
                  <c:v>0.56619050805832138</c:v>
                </c:pt>
                <c:pt idx="782" formatCode="0.00">
                  <c:v>0.57085653355005672</c:v>
                </c:pt>
                <c:pt idx="783" formatCode="0.00">
                  <c:v>0.57037352406050645</c:v>
                </c:pt>
                <c:pt idx="784" formatCode="0.00">
                  <c:v>0.57038494977880005</c:v>
                </c:pt>
                <c:pt idx="785" formatCode="0.00">
                  <c:v>0.57057576358714923</c:v>
                </c:pt>
                <c:pt idx="786" formatCode="0.00">
                  <c:v>0.5717313515043484</c:v>
                </c:pt>
                <c:pt idx="787" formatCode="0.00">
                  <c:v>0.57072309843460123</c:v>
                </c:pt>
                <c:pt idx="788" formatCode="0.00">
                  <c:v>0.5710644157389837</c:v>
                </c:pt>
                <c:pt idx="789" formatCode="0.00">
                  <c:v>0.56774926673079762</c:v>
                </c:pt>
                <c:pt idx="790" formatCode="0.00">
                  <c:v>0.56625110711719695</c:v>
                </c:pt>
                <c:pt idx="791" formatCode="0.00">
                  <c:v>0.56365438838731174</c:v>
                </c:pt>
                <c:pt idx="792" formatCode="0.00">
                  <c:v>0.56366360377371327</c:v>
                </c:pt>
                <c:pt idx="793" formatCode="0.00">
                  <c:v>0.56336199905956075</c:v>
                </c:pt>
                <c:pt idx="794" formatCode="0.00">
                  <c:v>0.56343125108811465</c:v>
                </c:pt>
                <c:pt idx="795" formatCode="0.00">
                  <c:v>0.56294137640455211</c:v>
                </c:pt>
                <c:pt idx="796" formatCode="0.00">
                  <c:v>0.56389026852473911</c:v>
                </c:pt>
                <c:pt idx="797" formatCode="0.00">
                  <c:v>0.56389390306790843</c:v>
                </c:pt>
                <c:pt idx="798" formatCode="0.00">
                  <c:v>0.56541174961216067</c:v>
                </c:pt>
                <c:pt idx="799" formatCode="0.00">
                  <c:v>0.56677940448371045</c:v>
                </c:pt>
                <c:pt idx="800" formatCode="0.00">
                  <c:v>0.56678069139065546</c:v>
                </c:pt>
                <c:pt idx="801" formatCode="0.00">
                  <c:v>0.56598309555052229</c:v>
                </c:pt>
                <c:pt idx="802" formatCode="0.00">
                  <c:v>0.56454528046950181</c:v>
                </c:pt>
                <c:pt idx="803" formatCode="0.00">
                  <c:v>0.56436811333516823</c:v>
                </c:pt>
                <c:pt idx="804" formatCode="0.00">
                  <c:v>0.56123787935680636</c:v>
                </c:pt>
                <c:pt idx="805" formatCode="0.00">
                  <c:v>0.56199287802632236</c:v>
                </c:pt>
                <c:pt idx="806" formatCode="0.00">
                  <c:v>0.56166051921362636</c:v>
                </c:pt>
                <c:pt idx="807" formatCode="0.00">
                  <c:v>0.56176698809182524</c:v>
                </c:pt>
                <c:pt idx="808" formatCode="0.00">
                  <c:v>0.56493100784714545</c:v>
                </c:pt>
                <c:pt idx="809" formatCode="0.00">
                  <c:v>0.56661117541055406</c:v>
                </c:pt>
                <c:pt idx="810" formatCode="0.00">
                  <c:v>0.56753604551372128</c:v>
                </c:pt>
                <c:pt idx="811" formatCode="0.00">
                  <c:v>0.56905425415270239</c:v>
                </c:pt>
                <c:pt idx="812" formatCode="0.00">
                  <c:v>0.56997886238495177</c:v>
                </c:pt>
                <c:pt idx="813" formatCode="0.00">
                  <c:v>0.57000655680505485</c:v>
                </c:pt>
                <c:pt idx="814" formatCode="0.00">
                  <c:v>0.5727259735528023</c:v>
                </c:pt>
                <c:pt idx="815" formatCode="0.00">
                  <c:v>0.57196847416845331</c:v>
                </c:pt>
                <c:pt idx="816" formatCode="0.00">
                  <c:v>0.5740398926034832</c:v>
                </c:pt>
                <c:pt idx="817" formatCode="0.00">
                  <c:v>0.57455054907029757</c:v>
                </c:pt>
                <c:pt idx="818" formatCode="0.00">
                  <c:v>0.57098249146090607</c:v>
                </c:pt>
                <c:pt idx="819" formatCode="0.00">
                  <c:v>0.58148906962900115</c:v>
                </c:pt>
                <c:pt idx="820" formatCode="0.00">
                  <c:v>0.58140870051645266</c:v>
                </c:pt>
                <c:pt idx="821" formatCode="0.00">
                  <c:v>0.58283722822079609</c:v>
                </c:pt>
                <c:pt idx="822" formatCode="0.00">
                  <c:v>0.5848691684870867</c:v>
                </c:pt>
                <c:pt idx="823" formatCode="0.00">
                  <c:v>0.58521241784250078</c:v>
                </c:pt>
                <c:pt idx="824" formatCode="0.00">
                  <c:v>0.58932807764454453</c:v>
                </c:pt>
                <c:pt idx="825" formatCode="0.00">
                  <c:v>0.59136081441909993</c:v>
                </c:pt>
                <c:pt idx="826" formatCode="0.00">
                  <c:v>0.59000706998201846</c:v>
                </c:pt>
                <c:pt idx="827" formatCode="0.00">
                  <c:v>0.58989460311899455</c:v>
                </c:pt>
                <c:pt idx="828" formatCode="0.00">
                  <c:v>0.59149016747229799</c:v>
                </c:pt>
                <c:pt idx="829" formatCode="0.00">
                  <c:v>0.59092378886967711</c:v>
                </c:pt>
                <c:pt idx="830" formatCode="0.00">
                  <c:v>0.59102308606582765</c:v>
                </c:pt>
                <c:pt idx="831" formatCode="0.00">
                  <c:v>0.58923599586546749</c:v>
                </c:pt>
                <c:pt idx="832" formatCode="0.00">
                  <c:v>0.58943638306275492</c:v>
                </c:pt>
                <c:pt idx="833" formatCode="0.00">
                  <c:v>0.58792764222465876</c:v>
                </c:pt>
                <c:pt idx="834" formatCode="0.00">
                  <c:v>0.58813279642995542</c:v>
                </c:pt>
                <c:pt idx="835" formatCode="0.00">
                  <c:v>0.58725727184097709</c:v>
                </c:pt>
                <c:pt idx="836" formatCode="0.00">
                  <c:v>0.58771077276781891</c:v>
                </c:pt>
                <c:pt idx="837" formatCode="0.00">
                  <c:v>0.58811598043203483</c:v>
                </c:pt>
                <c:pt idx="838" formatCode="0.00">
                  <c:v>0.58675912913943018</c:v>
                </c:pt>
                <c:pt idx="839" formatCode="0.00">
                  <c:v>0.58669954421247206</c:v>
                </c:pt>
                <c:pt idx="840" formatCode="0.00">
                  <c:v>0.58552477731321262</c:v>
                </c:pt>
                <c:pt idx="841" formatCode="0.00">
                  <c:v>0.5857212327550454</c:v>
                </c:pt>
                <c:pt idx="842" formatCode="0.00">
                  <c:v>0.5877185603322661</c:v>
                </c:pt>
                <c:pt idx="843" formatCode="0.00">
                  <c:v>0.58776826646295843</c:v>
                </c:pt>
                <c:pt idx="844" formatCode="0.00">
                  <c:v>0.58774067506264893</c:v>
                </c:pt>
                <c:pt idx="845" formatCode="0.00">
                  <c:v>0.57955351569588576</c:v>
                </c:pt>
                <c:pt idx="846" formatCode="0.00">
                  <c:v>0.57873969561277483</c:v>
                </c:pt>
                <c:pt idx="847" formatCode="0.00">
                  <c:v>0.57286974838645166</c:v>
                </c:pt>
                <c:pt idx="848" formatCode="0.00">
                  <c:v>0.5757546624510923</c:v>
                </c:pt>
                <c:pt idx="849" formatCode="0.00">
                  <c:v>0.57615543848453132</c:v>
                </c:pt>
                <c:pt idx="850" formatCode="0.00">
                  <c:v>0.57553925184029542</c:v>
                </c:pt>
                <c:pt idx="851" formatCode="0.00">
                  <c:v>0.57905846672164363</c:v>
                </c:pt>
                <c:pt idx="852" formatCode="0.00">
                  <c:v>0.57909318777586172</c:v>
                </c:pt>
                <c:pt idx="853" formatCode="0.00">
                  <c:v>0.57875270637484344</c:v>
                </c:pt>
                <c:pt idx="854" formatCode="0.00">
                  <c:v>0.57850955243781543</c:v>
                </c:pt>
                <c:pt idx="855" formatCode="0.00">
                  <c:v>0.5787040944053552</c:v>
                </c:pt>
                <c:pt idx="856" formatCode="0.00">
                  <c:v>0.57720760478766497</c:v>
                </c:pt>
                <c:pt idx="857" formatCode="0.00">
                  <c:v>0.57615591025693325</c:v>
                </c:pt>
                <c:pt idx="858" formatCode="0.00">
                  <c:v>0.57673507072746366</c:v>
                </c:pt>
                <c:pt idx="859" formatCode="0.00">
                  <c:v>0.57574810393662013</c:v>
                </c:pt>
                <c:pt idx="860" formatCode="0.00">
                  <c:v>0.57566780834771092</c:v>
                </c:pt>
                <c:pt idx="861" formatCode="0.00">
                  <c:v>0.57495479711769493</c:v>
                </c:pt>
                <c:pt idx="862" formatCode="0.00">
                  <c:v>0.57226249933947904</c:v>
                </c:pt>
                <c:pt idx="863" formatCode="0.00">
                  <c:v>0.5724893137408763</c:v>
                </c:pt>
                <c:pt idx="864" formatCode="0.00">
                  <c:v>0.57333802428334524</c:v>
                </c:pt>
                <c:pt idx="865" formatCode="0.00">
                  <c:v>0.57160320421107913</c:v>
                </c:pt>
                <c:pt idx="866" formatCode="0.00">
                  <c:v>0.57202471714461989</c:v>
                </c:pt>
                <c:pt idx="867" formatCode="0.00">
                  <c:v>0.57087695704781205</c:v>
                </c:pt>
                <c:pt idx="868" formatCode="0.00">
                  <c:v>0.57089417282395938</c:v>
                </c:pt>
                <c:pt idx="869" formatCode="0.00">
                  <c:v>0.5706429024023999</c:v>
                </c:pt>
                <c:pt idx="870" formatCode="0.00">
                  <c:v>0.57374788911874119</c:v>
                </c:pt>
                <c:pt idx="871" formatCode="0.00">
                  <c:v>0.56931196310417098</c:v>
                </c:pt>
                <c:pt idx="872" formatCode="0.00">
                  <c:v>0.56984315668535213</c:v>
                </c:pt>
                <c:pt idx="873" formatCode="0.00">
                  <c:v>0.5775872329437538</c:v>
                </c:pt>
                <c:pt idx="874" formatCode="0.00">
                  <c:v>0.57679111748566403</c:v>
                </c:pt>
                <c:pt idx="875" formatCode="0.00">
                  <c:v>0.57682754221679677</c:v>
                </c:pt>
                <c:pt idx="876" formatCode="0.00">
                  <c:v>0.57984012853349653</c:v>
                </c:pt>
                <c:pt idx="877" formatCode="0.00">
                  <c:v>0.58214558117425552</c:v>
                </c:pt>
                <c:pt idx="878" formatCode="0.00">
                  <c:v>0.58655338843950788</c:v>
                </c:pt>
                <c:pt idx="879" formatCode="0.00">
                  <c:v>0.58639133094466378</c:v>
                </c:pt>
                <c:pt idx="880" formatCode="0.00">
                  <c:v>0.58647223979955498</c:v>
                </c:pt>
                <c:pt idx="881" formatCode="0.00">
                  <c:v>0.58426073185623495</c:v>
                </c:pt>
                <c:pt idx="882" formatCode="0.00">
                  <c:v>0.58344967485505006</c:v>
                </c:pt>
                <c:pt idx="883" formatCode="0.00">
                  <c:v>0.58265847729656195</c:v>
                </c:pt>
                <c:pt idx="884" formatCode="0.00">
                  <c:v>0.58265050231301274</c:v>
                </c:pt>
                <c:pt idx="885" formatCode="0.00">
                  <c:v>0.58414211755939471</c:v>
                </c:pt>
                <c:pt idx="886" formatCode="0.00">
                  <c:v>0.5901683049513925</c:v>
                </c:pt>
                <c:pt idx="887" formatCode="0.00">
                  <c:v>0.59199985370335273</c:v>
                </c:pt>
                <c:pt idx="888" formatCode="0.00">
                  <c:v>0.59412342461424383</c:v>
                </c:pt>
                <c:pt idx="889" formatCode="0.00">
                  <c:v>0.59318465878068904</c:v>
                </c:pt>
                <c:pt idx="890" formatCode="0.00">
                  <c:v>0.59424028492466541</c:v>
                </c:pt>
                <c:pt idx="891" formatCode="0.00">
                  <c:v>0.59569367912854676</c:v>
                </c:pt>
                <c:pt idx="892" formatCode="0.00">
                  <c:v>0.59497159706415337</c:v>
                </c:pt>
                <c:pt idx="893" formatCode="0.00">
                  <c:v>0.59768927825720419</c:v>
                </c:pt>
                <c:pt idx="894" formatCode="0.00">
                  <c:v>0.59795661684962442</c:v>
                </c:pt>
                <c:pt idx="895" formatCode="0.00">
                  <c:v>0.60007809858164851</c:v>
                </c:pt>
                <c:pt idx="896" formatCode="0.00">
                  <c:v>0.60519385062139419</c:v>
                </c:pt>
                <c:pt idx="897" formatCode="0.00">
                  <c:v>0.60724311499522976</c:v>
                </c:pt>
                <c:pt idx="898" formatCode="0.00">
                  <c:v>0.61056402548114774</c:v>
                </c:pt>
                <c:pt idx="899" formatCode="0.00">
                  <c:v>0.61051149077604039</c:v>
                </c:pt>
                <c:pt idx="900" formatCode="0.00">
                  <c:v>0.60761734553807956</c:v>
                </c:pt>
                <c:pt idx="901" formatCode="0.00">
                  <c:v>0.60934576996097867</c:v>
                </c:pt>
                <c:pt idx="902" formatCode="0.00">
                  <c:v>0.6091404860330204</c:v>
                </c:pt>
                <c:pt idx="903" formatCode="0.00">
                  <c:v>0.60877943755021857</c:v>
                </c:pt>
                <c:pt idx="904" formatCode="0.00">
                  <c:v>0.60869482799440633</c:v>
                </c:pt>
                <c:pt idx="905" formatCode="0.00">
                  <c:v>0.60474855445355358</c:v>
                </c:pt>
                <c:pt idx="906" formatCode="0.00">
                  <c:v>0.60255155856012799</c:v>
                </c:pt>
                <c:pt idx="907" formatCode="0.00">
                  <c:v>0.60059095236964122</c:v>
                </c:pt>
                <c:pt idx="908" formatCode="0.00">
                  <c:v>0.59983898333362462</c:v>
                </c:pt>
                <c:pt idx="909" formatCode="0.00">
                  <c:v>0.60008754009291632</c:v>
                </c:pt>
                <c:pt idx="910" formatCode="0.00">
                  <c:v>0.60316785014930874</c:v>
                </c:pt>
                <c:pt idx="911" formatCode="0.00">
                  <c:v>0.60348528338910334</c:v>
                </c:pt>
                <c:pt idx="912" formatCode="0.00">
                  <c:v>0.604384346084339</c:v>
                </c:pt>
                <c:pt idx="913" formatCode="0.00">
                  <c:v>0.61346248125432246</c:v>
                </c:pt>
                <c:pt idx="914" formatCode="0.00">
                  <c:v>0.61344067704295402</c:v>
                </c:pt>
                <c:pt idx="915" formatCode="0.00">
                  <c:v>0.61260343567741737</c:v>
                </c:pt>
                <c:pt idx="916" formatCode="0.00">
                  <c:v>0.61786837209547985</c:v>
                </c:pt>
                <c:pt idx="917" formatCode="0.00">
                  <c:v>0.61861647443137213</c:v>
                </c:pt>
                <c:pt idx="918" formatCode="0.00">
                  <c:v>0.61954798304038339</c:v>
                </c:pt>
                <c:pt idx="919" formatCode="0.00">
                  <c:v>0.62028499852390395</c:v>
                </c:pt>
                <c:pt idx="920" formatCode="0.00">
                  <c:v>0.62039945282477171</c:v>
                </c:pt>
                <c:pt idx="921" formatCode="0.00">
                  <c:v>0.62042143995099364</c:v>
                </c:pt>
                <c:pt idx="922" formatCode="0.00">
                  <c:v>0.62251893131134284</c:v>
                </c:pt>
                <c:pt idx="923" formatCode="0.00">
                  <c:v>0.62239539060725535</c:v>
                </c:pt>
                <c:pt idx="924" formatCode="0.00">
                  <c:v>0.61656084764965013</c:v>
                </c:pt>
                <c:pt idx="925" formatCode="0.00">
                  <c:v>0.61665647765381604</c:v>
                </c:pt>
                <c:pt idx="926" formatCode="0.00">
                  <c:v>0.61454170540779474</c:v>
                </c:pt>
                <c:pt idx="927" formatCode="0.00">
                  <c:v>0.61154506300872991</c:v>
                </c:pt>
                <c:pt idx="928" formatCode="0.00">
                  <c:v>0.61122198716340093</c:v>
                </c:pt>
                <c:pt idx="929" formatCode="0.00">
                  <c:v>0.61274136982897764</c:v>
                </c:pt>
                <c:pt idx="930" formatCode="0.00">
                  <c:v>0.61259911307659698</c:v>
                </c:pt>
                <c:pt idx="931" formatCode="0.00">
                  <c:v>0.60839089120285461</c:v>
                </c:pt>
                <c:pt idx="932" formatCode="0.00">
                  <c:v>0.61079334167798016</c:v>
                </c:pt>
                <c:pt idx="933" formatCode="0.00">
                  <c:v>0.60825498985775595</c:v>
                </c:pt>
                <c:pt idx="934" formatCode="0.00">
                  <c:v>0.6108599058218489</c:v>
                </c:pt>
                <c:pt idx="935" formatCode="0.00">
                  <c:v>0.61293571431973048</c:v>
                </c:pt>
                <c:pt idx="936" formatCode="0.00">
                  <c:v>0.61791794333703542</c:v>
                </c:pt>
                <c:pt idx="937" formatCode="0.00">
                  <c:v>0.61876985545806718</c:v>
                </c:pt>
                <c:pt idx="938" formatCode="0.00">
                  <c:v>0.61987253399500597</c:v>
                </c:pt>
                <c:pt idx="939" formatCode="0.00">
                  <c:v>0.62192810252559894</c:v>
                </c:pt>
                <c:pt idx="940" formatCode="0.00">
                  <c:v>0.62237301855278482</c:v>
                </c:pt>
                <c:pt idx="941" formatCode="0.00">
                  <c:v>0.62222800823596336</c:v>
                </c:pt>
                <c:pt idx="942" formatCode="0.00">
                  <c:v>0.62303219832065626</c:v>
                </c:pt>
                <c:pt idx="943" formatCode="0.00">
                  <c:v>0.62270100104199588</c:v>
                </c:pt>
                <c:pt idx="944" formatCode="0.00">
                  <c:v>0.62523147269897272</c:v>
                </c:pt>
                <c:pt idx="945" formatCode="0.00">
                  <c:v>0.62417744943324571</c:v>
                </c:pt>
                <c:pt idx="946" formatCode="0.00">
                  <c:v>0.62195921239194707</c:v>
                </c:pt>
                <c:pt idx="947" formatCode="0.00">
                  <c:v>0.62197776653119896</c:v>
                </c:pt>
                <c:pt idx="948" formatCode="0.00">
                  <c:v>0.6221478713754558</c:v>
                </c:pt>
                <c:pt idx="949" formatCode="0.00">
                  <c:v>0.62858836756209513</c:v>
                </c:pt>
                <c:pt idx="950" formatCode="0.00">
                  <c:v>0.62850195662787334</c:v>
                </c:pt>
                <c:pt idx="951" formatCode="0.00">
                  <c:v>0.62623410610474384</c:v>
                </c:pt>
                <c:pt idx="952" formatCode="0.00">
                  <c:v>0.62551294132424262</c:v>
                </c:pt>
                <c:pt idx="953" formatCode="0.00">
                  <c:v>0.62745877120356497</c:v>
                </c:pt>
                <c:pt idx="954" formatCode="0.00">
                  <c:v>0.62794042285226392</c:v>
                </c:pt>
                <c:pt idx="955" formatCode="0.00">
                  <c:v>0.62502452368976869</c:v>
                </c:pt>
                <c:pt idx="956" formatCode="0.00">
                  <c:v>0.62444533381271294</c:v>
                </c:pt>
                <c:pt idx="957" formatCode="0.00">
                  <c:v>0.62813251800464531</c:v>
                </c:pt>
                <c:pt idx="958" formatCode="0.00">
                  <c:v>0.6283523225734402</c:v>
                </c:pt>
                <c:pt idx="959" formatCode="0.00">
                  <c:v>0.62387503793557475</c:v>
                </c:pt>
                <c:pt idx="960" formatCode="0.00">
                  <c:v>0.62287183581881667</c:v>
                </c:pt>
                <c:pt idx="961" formatCode="0.00">
                  <c:v>0.62119606413388995</c:v>
                </c:pt>
                <c:pt idx="962" formatCode="0.00">
                  <c:v>0.62010499135483133</c:v>
                </c:pt>
                <c:pt idx="963" formatCode="0.00">
                  <c:v>0.61985425230586744</c:v>
                </c:pt>
                <c:pt idx="964" formatCode="0.00">
                  <c:v>0.61597203963362501</c:v>
                </c:pt>
                <c:pt idx="965" formatCode="0.00">
                  <c:v>0.61474499704709407</c:v>
                </c:pt>
                <c:pt idx="966" formatCode="0.00">
                  <c:v>0.61477398743915812</c:v>
                </c:pt>
                <c:pt idx="967" formatCode="0.00">
                  <c:v>0.61928404244695678</c:v>
                </c:pt>
                <c:pt idx="968" formatCode="0.00">
                  <c:v>0.61980312611012811</c:v>
                </c:pt>
                <c:pt idx="969" formatCode="0.00">
                  <c:v>0.62083580146599726</c:v>
                </c:pt>
                <c:pt idx="970" formatCode="0.00">
                  <c:v>0.60982660100017405</c:v>
                </c:pt>
                <c:pt idx="971" formatCode="0.00">
                  <c:v>0.6092871396151972</c:v>
                </c:pt>
                <c:pt idx="972" formatCode="0.00">
                  <c:v>0.61424207324223212</c:v>
                </c:pt>
                <c:pt idx="973" formatCode="0.00">
                  <c:v>0.61388356491664386</c:v>
                </c:pt>
                <c:pt idx="974" formatCode="0.00">
                  <c:v>0.61432995968306536</c:v>
                </c:pt>
                <c:pt idx="975" formatCode="0.00">
                  <c:v>0.61519681764260026</c:v>
                </c:pt>
                <c:pt idx="976" formatCode="0.00">
                  <c:v>0.61627268849308758</c:v>
                </c:pt>
                <c:pt idx="977" formatCode="0.00">
                  <c:v>0.61637558403120374</c:v>
                </c:pt>
                <c:pt idx="978" formatCode="0.00">
                  <c:v>0.61813394284460643</c:v>
                </c:pt>
                <c:pt idx="979" formatCode="0.00">
                  <c:v>0.62217120402089032</c:v>
                </c:pt>
                <c:pt idx="980" formatCode="0.00">
                  <c:v>0.62229078140444627</c:v>
                </c:pt>
                <c:pt idx="981" formatCode="0.00">
                  <c:v>0.62270026911387066</c:v>
                </c:pt>
                <c:pt idx="982" formatCode="0.00">
                  <c:v>0.62750720834964235</c:v>
                </c:pt>
                <c:pt idx="983" formatCode="0.00">
                  <c:v>0.62642047794597422</c:v>
                </c:pt>
                <c:pt idx="984" formatCode="0.00">
                  <c:v>0.62313992261537254</c:v>
                </c:pt>
                <c:pt idx="985" formatCode="0.00">
                  <c:v>0.62239798198369634</c:v>
                </c:pt>
                <c:pt idx="986" formatCode="0.00">
                  <c:v>0.62227997808071278</c:v>
                </c:pt>
                <c:pt idx="987" formatCode="0.00">
                  <c:v>0.62209167601135607</c:v>
                </c:pt>
                <c:pt idx="988" formatCode="0.00">
                  <c:v>0.62123086361131219</c:v>
                </c:pt>
                <c:pt idx="989" formatCode="0.00">
                  <c:v>0.62088884360328744</c:v>
                </c:pt>
                <c:pt idx="990" formatCode="0.00">
                  <c:v>0.62042740105588123</c:v>
                </c:pt>
                <c:pt idx="991" formatCode="0.00">
                  <c:v>0.61913186205869886</c:v>
                </c:pt>
                <c:pt idx="992" formatCode="0.00">
                  <c:v>0.61915709023616194</c:v>
                </c:pt>
                <c:pt idx="993" formatCode="0.00">
                  <c:v>0.61900056241802914</c:v>
                </c:pt>
                <c:pt idx="994" formatCode="0.00">
                  <c:v>0.61908685492050841</c:v>
                </c:pt>
                <c:pt idx="995" formatCode="0.00">
                  <c:v>0.62397461088380624</c:v>
                </c:pt>
                <c:pt idx="996" formatCode="0.00">
                  <c:v>0.62841072880835291</c:v>
                </c:pt>
                <c:pt idx="997" formatCode="0.00">
                  <c:v>0.62858930847069483</c:v>
                </c:pt>
                <c:pt idx="998" formatCode="0.00">
                  <c:v>0.63165726241789821</c:v>
                </c:pt>
                <c:pt idx="999" formatCode="0.00">
                  <c:v>0.63051427896790502</c:v>
                </c:pt>
                <c:pt idx="1000" formatCode="0.00">
                  <c:v>0.63050019503582277</c:v>
                </c:pt>
                <c:pt idx="1001" formatCode="0.00">
                  <c:v>0.63143923235326549</c:v>
                </c:pt>
                <c:pt idx="1002" formatCode="0.00">
                  <c:v>0.63230231403840642</c:v>
                </c:pt>
                <c:pt idx="1003" formatCode="0.00">
                  <c:v>0.64690466584146156</c:v>
                </c:pt>
                <c:pt idx="1004" formatCode="0.00">
                  <c:v>0.64686644708295704</c:v>
                </c:pt>
                <c:pt idx="1005" formatCode="0.00">
                  <c:v>0.64778321236262204</c:v>
                </c:pt>
                <c:pt idx="1006" formatCode="0.00">
                  <c:v>0.65146415530022406</c:v>
                </c:pt>
                <c:pt idx="1007" formatCode="0.00">
                  <c:v>0.64336997544248287</c:v>
                </c:pt>
                <c:pt idx="1008" formatCode="0.00">
                  <c:v>0.64429464508489287</c:v>
                </c:pt>
                <c:pt idx="1009" formatCode="0.00">
                  <c:v>0.64584318052936751</c:v>
                </c:pt>
                <c:pt idx="1010" formatCode="0.00">
                  <c:v>0.63818337499711275</c:v>
                </c:pt>
                <c:pt idx="1011" formatCode="0.00">
                  <c:v>0.63810051391313338</c:v>
                </c:pt>
                <c:pt idx="1012" formatCode="0.00">
                  <c:v>0.63926977327050039</c:v>
                </c:pt>
                <c:pt idx="1013" formatCode="0.00">
                  <c:v>0.6393674895121807</c:v>
                </c:pt>
                <c:pt idx="1014" formatCode="0.00">
                  <c:v>0.63841623645720913</c:v>
                </c:pt>
                <c:pt idx="1015" formatCode="0.00">
                  <c:v>0.63839451740161635</c:v>
                </c:pt>
                <c:pt idx="1016" formatCode="0.00">
                  <c:v>0.63801773751981905</c:v>
                </c:pt>
                <c:pt idx="1017" formatCode="0.00">
                  <c:v>0.63831672178993748</c:v>
                </c:pt>
                <c:pt idx="1018" formatCode="0.00">
                  <c:v>0.63828525421242943</c:v>
                </c:pt>
                <c:pt idx="1019" formatCode="0.00">
                  <c:v>0.63973406796224741</c:v>
                </c:pt>
                <c:pt idx="1020" formatCode="0.00">
                  <c:v>0.63973470590517378</c:v>
                </c:pt>
                <c:pt idx="1021" formatCode="0.00">
                  <c:v>0.64133134480733645</c:v>
                </c:pt>
                <c:pt idx="1022" formatCode="0.00">
                  <c:v>0.64138158756278651</c:v>
                </c:pt>
                <c:pt idx="1023" formatCode="0.00">
                  <c:v>0.6363366932514799</c:v>
                </c:pt>
                <c:pt idx="1024" formatCode="0.00">
                  <c:v>0.63682394920467833</c:v>
                </c:pt>
                <c:pt idx="1025" formatCode="0.00">
                  <c:v>0.63844242158682596</c:v>
                </c:pt>
                <c:pt idx="1026" formatCode="0.00">
                  <c:v>0.63837039486569414</c:v>
                </c:pt>
                <c:pt idx="1027" formatCode="0.00">
                  <c:v>0.63678932855741566</c:v>
                </c:pt>
                <c:pt idx="1028" formatCode="0.00">
                  <c:v>0.63471925967423304</c:v>
                </c:pt>
                <c:pt idx="1029" formatCode="0.00">
                  <c:v>0.63433355251277146</c:v>
                </c:pt>
                <c:pt idx="1030" formatCode="0.00">
                  <c:v>0.63460915579164989</c:v>
                </c:pt>
                <c:pt idx="1031" formatCode="0.00">
                  <c:v>0.63439336753687203</c:v>
                </c:pt>
                <c:pt idx="1032" formatCode="0.00">
                  <c:v>0.64362407489613549</c:v>
                </c:pt>
                <c:pt idx="1033" formatCode="0.00">
                  <c:v>0.64847710524904334</c:v>
                </c:pt>
                <c:pt idx="1034" formatCode="0.00">
                  <c:v>0.65467590592091396</c:v>
                </c:pt>
                <c:pt idx="1035" formatCode="0.00">
                  <c:v>0.6529620348355839</c:v>
                </c:pt>
                <c:pt idx="1036" formatCode="0.00">
                  <c:v>0.65276346494378779</c:v>
                </c:pt>
                <c:pt idx="1037" formatCode="0.00">
                  <c:v>0.652745379567919</c:v>
                </c:pt>
                <c:pt idx="1038" formatCode="0.00">
                  <c:v>0.65360005816598454</c:v>
                </c:pt>
                <c:pt idx="1039" formatCode="0.00">
                  <c:v>0.65239022119302881</c:v>
                </c:pt>
                <c:pt idx="1040" formatCode="0.00">
                  <c:v>0.65649408375320084</c:v>
                </c:pt>
                <c:pt idx="1041" formatCode="0.00">
                  <c:v>0.65712132652730659</c:v>
                </c:pt>
                <c:pt idx="1042" formatCode="0.00">
                  <c:v>0.65711399484815969</c:v>
                </c:pt>
                <c:pt idx="1043" formatCode="0.00">
                  <c:v>0.65705909325703471</c:v>
                </c:pt>
                <c:pt idx="1044" formatCode="0.00">
                  <c:v>0.6574582571137535</c:v>
                </c:pt>
                <c:pt idx="1045" formatCode="0.00">
                  <c:v>0.65997735832721738</c:v>
                </c:pt>
                <c:pt idx="1046" formatCode="0.00">
                  <c:v>0.6594386193220938</c:v>
                </c:pt>
                <c:pt idx="1047" formatCode="0.00">
                  <c:v>0.65950469736068362</c:v>
                </c:pt>
                <c:pt idx="1048" formatCode="0.00">
                  <c:v>0.66031920626732665</c:v>
                </c:pt>
                <c:pt idx="1049" formatCode="0.00">
                  <c:v>0.65943436841839431</c:v>
                </c:pt>
                <c:pt idx="1050" formatCode="0.00">
                  <c:v>0.65949415410256718</c:v>
                </c:pt>
                <c:pt idx="1051" formatCode="0.00">
                  <c:v>0.65557160860727315</c:v>
                </c:pt>
                <c:pt idx="1052" formatCode="0.00">
                  <c:v>0.65489567599638754</c:v>
                </c:pt>
                <c:pt idx="1053" formatCode="0.00">
                  <c:v>0.65524494436542458</c:v>
                </c:pt>
                <c:pt idx="1054" formatCode="0.00">
                  <c:v>0.65541949126008714</c:v>
                </c:pt>
                <c:pt idx="1055" formatCode="0.00">
                  <c:v>0.65543657937327671</c:v>
                </c:pt>
                <c:pt idx="1056" formatCode="0.00">
                  <c:v>0.65556422467777231</c:v>
                </c:pt>
                <c:pt idx="1057" formatCode="0.00">
                  <c:v>0.65537319879075684</c:v>
                </c:pt>
                <c:pt idx="1058" formatCode="0.00">
                  <c:v>0.65789845061854191</c:v>
                </c:pt>
                <c:pt idx="1059" formatCode="0.00">
                  <c:v>0.65864139245080688</c:v>
                </c:pt>
                <c:pt idx="1060" formatCode="0.00">
                  <c:v>0.65937298334327199</c:v>
                </c:pt>
                <c:pt idx="1061" formatCode="0.00">
                  <c:v>0.65710620632401384</c:v>
                </c:pt>
                <c:pt idx="1062" formatCode="0.00">
                  <c:v>0.65601394381676004</c:v>
                </c:pt>
                <c:pt idx="1063" formatCode="0.00">
                  <c:v>0.65515244021549734</c:v>
                </c:pt>
                <c:pt idx="1064" formatCode="0.00">
                  <c:v>0.65390523277459556</c:v>
                </c:pt>
                <c:pt idx="1065" formatCode="0.00">
                  <c:v>0.65617794236005977</c:v>
                </c:pt>
                <c:pt idx="1066" formatCode="0.00">
                  <c:v>0.65626527719229233</c:v>
                </c:pt>
                <c:pt idx="1067" formatCode="0.00">
                  <c:v>0.65435455657829744</c:v>
                </c:pt>
                <c:pt idx="1068" formatCode="0.00">
                  <c:v>0.65462246186567963</c:v>
                </c:pt>
                <c:pt idx="1069" formatCode="0.00">
                  <c:v>0.65276511226459721</c:v>
                </c:pt>
                <c:pt idx="1070" formatCode="0.00">
                  <c:v>0.65240087563512805</c:v>
                </c:pt>
                <c:pt idx="1071" formatCode="0.00">
                  <c:v>0.65026748872913831</c:v>
                </c:pt>
                <c:pt idx="1072" formatCode="0.00">
                  <c:v>0.64482364522073654</c:v>
                </c:pt>
                <c:pt idx="1073" formatCode="0.00">
                  <c:v>0.64586279774378208</c:v>
                </c:pt>
                <c:pt idx="1074" formatCode="0.00">
                  <c:v>0.64520658008856158</c:v>
                </c:pt>
                <c:pt idx="1075" formatCode="0.00">
                  <c:v>0.64592275337138561</c:v>
                </c:pt>
                <c:pt idx="1076" formatCode="0.00">
                  <c:v>0.64785655603842374</c:v>
                </c:pt>
                <c:pt idx="1077" formatCode="0.00">
                  <c:v>0.64478730721898669</c:v>
                </c:pt>
                <c:pt idx="1078" formatCode="0.00">
                  <c:v>0.6430581654024855</c:v>
                </c:pt>
                <c:pt idx="1079" formatCode="0.00">
                  <c:v>0.64257594908266602</c:v>
                </c:pt>
                <c:pt idx="1080" formatCode="0.00">
                  <c:v>0.64353124989522548</c:v>
                </c:pt>
                <c:pt idx="1081" formatCode="0.00">
                  <c:v>0.64204052480510954</c:v>
                </c:pt>
                <c:pt idx="1082" formatCode="0.00">
                  <c:v>0.64224971411162024</c:v>
                </c:pt>
                <c:pt idx="1083" formatCode="0.00">
                  <c:v>0.64402966640915982</c:v>
                </c:pt>
                <c:pt idx="1084" formatCode="0.00">
                  <c:v>0.64405304737611624</c:v>
                </c:pt>
                <c:pt idx="1085" formatCode="0.00">
                  <c:v>0.6447031886312854</c:v>
                </c:pt>
                <c:pt idx="1086" formatCode="0.00">
                  <c:v>0.64466911613961819</c:v>
                </c:pt>
                <c:pt idx="1087" formatCode="0.00">
                  <c:v>0.64442008969882414</c:v>
                </c:pt>
                <c:pt idx="1088" formatCode="0.00">
                  <c:v>0.64439425174511711</c:v>
                </c:pt>
                <c:pt idx="1089" formatCode="0.00">
                  <c:v>0.64320531279473703</c:v>
                </c:pt>
                <c:pt idx="1090" formatCode="0.00">
                  <c:v>0.64264087137396286</c:v>
                </c:pt>
                <c:pt idx="1091" formatCode="0.00">
                  <c:v>0.64306702452932174</c:v>
                </c:pt>
                <c:pt idx="1092" formatCode="0.00">
                  <c:v>0.64660371049812049</c:v>
                </c:pt>
                <c:pt idx="1093" formatCode="0.00">
                  <c:v>0.64656476381408079</c:v>
                </c:pt>
                <c:pt idx="1094" formatCode="0.00">
                  <c:v>0.64653831069699208</c:v>
                </c:pt>
                <c:pt idx="1095" formatCode="0.00">
                  <c:v>0.64430809091520824</c:v>
                </c:pt>
                <c:pt idx="1096" formatCode="0.00">
                  <c:v>0.64270144875113577</c:v>
                </c:pt>
                <c:pt idx="1097" formatCode="0.00">
                  <c:v>0.64253896573487768</c:v>
                </c:pt>
                <c:pt idx="1098" formatCode="0.00">
                  <c:v>0.64220255251159386</c:v>
                </c:pt>
                <c:pt idx="1099" formatCode="0.00">
                  <c:v>0.64283910798499577</c:v>
                </c:pt>
                <c:pt idx="1100" formatCode="0.00">
                  <c:v>0.6485335995987801</c:v>
                </c:pt>
                <c:pt idx="1101" formatCode="0.00">
                  <c:v>0.65154968403088542</c:v>
                </c:pt>
                <c:pt idx="1102" formatCode="0.00">
                  <c:v>0.65243192028204766</c:v>
                </c:pt>
                <c:pt idx="1103" formatCode="0.00">
                  <c:v>0.65356232960814542</c:v>
                </c:pt>
                <c:pt idx="1104" formatCode="0.00">
                  <c:v>0.65035522743473761</c:v>
                </c:pt>
                <c:pt idx="1105" formatCode="0.00">
                  <c:v>0.65241305931200277</c:v>
                </c:pt>
                <c:pt idx="1106" formatCode="0.00">
                  <c:v>0.65263969562605806</c:v>
                </c:pt>
                <c:pt idx="1107" formatCode="0.00">
                  <c:v>0.65235810540003525</c:v>
                </c:pt>
                <c:pt idx="1108" formatCode="0.00">
                  <c:v>0.65208143298792276</c:v>
                </c:pt>
                <c:pt idx="1109" formatCode="0.00">
                  <c:v>0.65254120397483717</c:v>
                </c:pt>
                <c:pt idx="1110" formatCode="0.00">
                  <c:v>0.65171552956073964</c:v>
                </c:pt>
                <c:pt idx="1111" formatCode="0.00">
                  <c:v>0.65169881718637634</c:v>
                </c:pt>
                <c:pt idx="1112" formatCode="0.00">
                  <c:v>0.65164338787163267</c:v>
                </c:pt>
                <c:pt idx="1113" formatCode="0.00">
                  <c:v>0.65237419316029222</c:v>
                </c:pt>
                <c:pt idx="1114" formatCode="0.00">
                  <c:v>0.65176577889287257</c:v>
                </c:pt>
                <c:pt idx="1115" formatCode="0.00">
                  <c:v>0.6543106120384885</c:v>
                </c:pt>
                <c:pt idx="1116" formatCode="0.00">
                  <c:v>0.65396153647424904</c:v>
                </c:pt>
                <c:pt idx="1117" formatCode="0.00">
                  <c:v>0.65368682050078863</c:v>
                </c:pt>
                <c:pt idx="1118" formatCode="0.00">
                  <c:v>0.65417871765020719</c:v>
                </c:pt>
                <c:pt idx="1119" formatCode="0.00">
                  <c:v>0.65392656992006115</c:v>
                </c:pt>
                <c:pt idx="1120" formatCode="0.00">
                  <c:v>0.65395129685759146</c:v>
                </c:pt>
                <c:pt idx="1121" formatCode="0.00">
                  <c:v>0.65502538280082767</c:v>
                </c:pt>
                <c:pt idx="1122" formatCode="0.00">
                  <c:v>0.65505356458830122</c:v>
                </c:pt>
                <c:pt idx="1123" formatCode="0.00">
                  <c:v>0.65309758748474878</c:v>
                </c:pt>
                <c:pt idx="1124" formatCode="0.00">
                  <c:v>0.65301830415207007</c:v>
                </c:pt>
                <c:pt idx="1125" formatCode="0.00">
                  <c:v>0.65300865494580185</c:v>
                </c:pt>
                <c:pt idx="1126" formatCode="0.00">
                  <c:v>0.64536126627814761</c:v>
                </c:pt>
                <c:pt idx="1127" formatCode="0.00">
                  <c:v>0.64519724622360497</c:v>
                </c:pt>
                <c:pt idx="1128" formatCode="0.00">
                  <c:v>0.64601500006792079</c:v>
                </c:pt>
                <c:pt idx="1129" formatCode="0.00">
                  <c:v>0.64418649640016901</c:v>
                </c:pt>
                <c:pt idx="1130" formatCode="0.00">
                  <c:v>0.64111419984914209</c:v>
                </c:pt>
                <c:pt idx="1131" formatCode="0.00">
                  <c:v>0.63743465755638662</c:v>
                </c:pt>
                <c:pt idx="1132" formatCode="0.00">
                  <c:v>0.63862106138081731</c:v>
                </c:pt>
                <c:pt idx="1133" formatCode="0.00">
                  <c:v>0.63856753725842852</c:v>
                </c:pt>
                <c:pt idx="1134" formatCode="0.00">
                  <c:v>0.63853727141249095</c:v>
                </c:pt>
                <c:pt idx="1135" formatCode="0.00">
                  <c:v>0.63853041105979524</c:v>
                </c:pt>
                <c:pt idx="1136" formatCode="0.00">
                  <c:v>0.63786976099708959</c:v>
                </c:pt>
                <c:pt idx="1137" formatCode="0.00">
                  <c:v>0.64213022815452581</c:v>
                </c:pt>
                <c:pt idx="1138" formatCode="0.00">
                  <c:v>0.64031282849519588</c:v>
                </c:pt>
                <c:pt idx="1139" formatCode="0.00">
                  <c:v>0.63519296077209553</c:v>
                </c:pt>
                <c:pt idx="1140" formatCode="0.00">
                  <c:v>0.63815013533806453</c:v>
                </c:pt>
                <c:pt idx="1141" formatCode="0.00">
                  <c:v>0.64388383755469913</c:v>
                </c:pt>
                <c:pt idx="1142" formatCode="0.00">
                  <c:v>0.64384539374383698</c:v>
                </c:pt>
                <c:pt idx="1143" formatCode="0.00">
                  <c:v>0.64294776377839202</c:v>
                </c:pt>
                <c:pt idx="1144" formatCode="0.00">
                  <c:v>0.64150754786510289</c:v>
                </c:pt>
                <c:pt idx="1145" formatCode="0.00">
                  <c:v>0.64142782527313691</c:v>
                </c:pt>
                <c:pt idx="1146" formatCode="0.00">
                  <c:v>0.63917293451653612</c:v>
                </c:pt>
                <c:pt idx="1147" formatCode="0.00">
                  <c:v>0.63891910905448368</c:v>
                </c:pt>
                <c:pt idx="1148" formatCode="0.00">
                  <c:v>0.6354255701639786</c:v>
                </c:pt>
                <c:pt idx="1149" formatCode="0.00">
                  <c:v>0.62527590493734597</c:v>
                </c:pt>
                <c:pt idx="1150" formatCode="0.00">
                  <c:v>0.62655439303256855</c:v>
                </c:pt>
                <c:pt idx="1151" formatCode="0.00">
                  <c:v>0.62359225921520334</c:v>
                </c:pt>
                <c:pt idx="1152" formatCode="0.00">
                  <c:v>0.62359742671200169</c:v>
                </c:pt>
                <c:pt idx="1153" formatCode="0.00">
                  <c:v>0.62155206435078614</c:v>
                </c:pt>
                <c:pt idx="1154" formatCode="0.00">
                  <c:v>0.62247603275116448</c:v>
                </c:pt>
                <c:pt idx="1155" formatCode="0.00">
                  <c:v>0.62214717852276624</c:v>
                </c:pt>
                <c:pt idx="1156" formatCode="0.00">
                  <c:v>0.62432045992635543</c:v>
                </c:pt>
                <c:pt idx="1157" formatCode="0.00">
                  <c:v>0.62468882223601918</c:v>
                </c:pt>
                <c:pt idx="1158" formatCode="0.00">
                  <c:v>0.62468879721680515</c:v>
                </c:pt>
                <c:pt idx="1159" formatCode="0.00">
                  <c:v>0.62469117882062164</c:v>
                </c:pt>
                <c:pt idx="1160" formatCode="0.00">
                  <c:v>0.6246771773451576</c:v>
                </c:pt>
                <c:pt idx="1161" formatCode="0.00">
                  <c:v>0.6244151726900361</c:v>
                </c:pt>
                <c:pt idx="1162" formatCode="0.00">
                  <c:v>0.6245137788784888</c:v>
                </c:pt>
                <c:pt idx="1163" formatCode="0.00">
                  <c:v>0.62121646476713499</c:v>
                </c:pt>
                <c:pt idx="1164" formatCode="0.00">
                  <c:v>0.62050818629597604</c:v>
                </c:pt>
                <c:pt idx="1165" formatCode="0.00">
                  <c:v>0.61944949947616645</c:v>
                </c:pt>
                <c:pt idx="1166" formatCode="0.00">
                  <c:v>0.61203551652098975</c:v>
                </c:pt>
                <c:pt idx="1167" formatCode="0.00">
                  <c:v>0.61217889925919367</c:v>
                </c:pt>
                <c:pt idx="1168" formatCode="0.00">
                  <c:v>0.6145428488303778</c:v>
                </c:pt>
                <c:pt idx="1169" formatCode="0.00">
                  <c:v>0.6085205503641905</c:v>
                </c:pt>
                <c:pt idx="1170" formatCode="0.00">
                  <c:v>0.61067673115477827</c:v>
                </c:pt>
                <c:pt idx="1171" formatCode="0.00">
                  <c:v>0.61061842723763482</c:v>
                </c:pt>
                <c:pt idx="1172" formatCode="0.00">
                  <c:v>0.6098862292577879</c:v>
                </c:pt>
                <c:pt idx="1173" formatCode="0.00">
                  <c:v>0.61009403940420337</c:v>
                </c:pt>
                <c:pt idx="1174" formatCode="0.00">
                  <c:v>0.61084051712281784</c:v>
                </c:pt>
                <c:pt idx="1175" formatCode="0.00">
                  <c:v>0.60923187687556268</c:v>
                </c:pt>
                <c:pt idx="1176" formatCode="0.00">
                  <c:v>0.6084659336428766</c:v>
                </c:pt>
                <c:pt idx="1177" formatCode="0.00">
                  <c:v>0.60835974395297621</c:v>
                </c:pt>
                <c:pt idx="1178" formatCode="0.00">
                  <c:v>0.60878761481409271</c:v>
                </c:pt>
                <c:pt idx="1179" formatCode="0.00">
                  <c:v>0.60857980017359425</c:v>
                </c:pt>
                <c:pt idx="1180" formatCode="0.00">
                  <c:v>0.60901475908961722</c:v>
                </c:pt>
                <c:pt idx="1181" formatCode="0.00">
                  <c:v>0.60859228467681548</c:v>
                </c:pt>
                <c:pt idx="1182" formatCode="0.00">
                  <c:v>0.60683691372757109</c:v>
                </c:pt>
                <c:pt idx="1183" formatCode="0.00">
                  <c:v>0.60818502455123724</c:v>
                </c:pt>
                <c:pt idx="1184" formatCode="0.00">
                  <c:v>0.60812099016072207</c:v>
                </c:pt>
                <c:pt idx="1185" formatCode="0.00">
                  <c:v>0.60588545431662488</c:v>
                </c:pt>
                <c:pt idx="1186" formatCode="0.00">
                  <c:v>0.60742361597536221</c:v>
                </c:pt>
                <c:pt idx="1187" formatCode="0.00">
                  <c:v>0.60488556596882115</c:v>
                </c:pt>
                <c:pt idx="1188" formatCode="0.00">
                  <c:v>0.60313878159126111</c:v>
                </c:pt>
                <c:pt idx="1189" formatCode="0.00">
                  <c:v>0.59754348758614328</c:v>
                </c:pt>
                <c:pt idx="1190" formatCode="0.00">
                  <c:v>0.59709195212219102</c:v>
                </c:pt>
                <c:pt idx="1191" formatCode="0.00">
                  <c:v>0.59591073004384121</c:v>
                </c:pt>
                <c:pt idx="1192" formatCode="0.00">
                  <c:v>0.58874059357715924</c:v>
                </c:pt>
                <c:pt idx="1193" formatCode="0.00">
                  <c:v>0.58851662223697876</c:v>
                </c:pt>
                <c:pt idx="1194" formatCode="0.00">
                  <c:v>0.58667575828729468</c:v>
                </c:pt>
                <c:pt idx="1195" formatCode="0.00">
                  <c:v>0.58562531027202913</c:v>
                </c:pt>
                <c:pt idx="1196" formatCode="0.00">
                  <c:v>0.58372068191830495</c:v>
                </c:pt>
                <c:pt idx="1197" formatCode="0.00">
                  <c:v>0.5814785082201005</c:v>
                </c:pt>
                <c:pt idx="1198" formatCode="0.00">
                  <c:v>0.58259406588979867</c:v>
                </c:pt>
                <c:pt idx="1199" formatCode="0.00">
                  <c:v>0.58296726851918301</c:v>
                </c:pt>
                <c:pt idx="1200" formatCode="0.00">
                  <c:v>0.58321797794817987</c:v>
                </c:pt>
                <c:pt idx="1201" formatCode="0.00">
                  <c:v>0.58333209715970069</c:v>
                </c:pt>
                <c:pt idx="1202" formatCode="0.00">
                  <c:v>0.57568137595298374</c:v>
                </c:pt>
                <c:pt idx="1203" formatCode="0.00">
                  <c:v>0.57895495843635392</c:v>
                </c:pt>
                <c:pt idx="1204" formatCode="0.00">
                  <c:v>0.57946289767833581</c:v>
                </c:pt>
                <c:pt idx="1205" formatCode="0.00">
                  <c:v>0.58134257333584027</c:v>
                </c:pt>
                <c:pt idx="1206" formatCode="0.00">
                  <c:v>0.57862650095672397</c:v>
                </c:pt>
                <c:pt idx="1207" formatCode="0.00">
                  <c:v>0.57982020273839585</c:v>
                </c:pt>
                <c:pt idx="1208" formatCode="0.00">
                  <c:v>0.58023785544429662</c:v>
                </c:pt>
                <c:pt idx="1209" formatCode="0.00">
                  <c:v>0.58058254802201692</c:v>
                </c:pt>
                <c:pt idx="1210" formatCode="0.00">
                  <c:v>0.57409692345846586</c:v>
                </c:pt>
                <c:pt idx="1211" formatCode="0.00">
                  <c:v>0.57708247883082564</c:v>
                </c:pt>
                <c:pt idx="1212" formatCode="0.00">
                  <c:v>0.57598584666115382</c:v>
                </c:pt>
                <c:pt idx="1213" formatCode="0.00">
                  <c:v>0.57584941379014432</c:v>
                </c:pt>
                <c:pt idx="1214" formatCode="0.00">
                  <c:v>0.57879862420480443</c:v>
                </c:pt>
                <c:pt idx="1215" formatCode="0.00">
                  <c:v>0.58057211459953484</c:v>
                </c:pt>
                <c:pt idx="1216" formatCode="0.00">
                  <c:v>0.58089598615724536</c:v>
                </c:pt>
                <c:pt idx="1217" formatCode="0.00">
                  <c:v>0.58654161611034061</c:v>
                </c:pt>
                <c:pt idx="1218" formatCode="0.00">
                  <c:v>0.58648721261110492</c:v>
                </c:pt>
                <c:pt idx="1219" formatCode="0.00">
                  <c:v>0.59134850648163462</c:v>
                </c:pt>
                <c:pt idx="1220" formatCode="0.00">
                  <c:v>0.58624092829809793</c:v>
                </c:pt>
                <c:pt idx="1221" formatCode="0.00">
                  <c:v>0.58542004491349353</c:v>
                </c:pt>
                <c:pt idx="1222" formatCode="0.00">
                  <c:v>0.58354317223694585</c:v>
                </c:pt>
                <c:pt idx="1223" formatCode="0.00">
                  <c:v>0.58363876747920851</c:v>
                </c:pt>
                <c:pt idx="1224" formatCode="0.00">
                  <c:v>0.58338459134377407</c:v>
                </c:pt>
                <c:pt idx="1225" formatCode="0.00">
                  <c:v>0.58017784430782593</c:v>
                </c:pt>
                <c:pt idx="1226" formatCode="0.00">
                  <c:v>0.58085949710750506</c:v>
                </c:pt>
                <c:pt idx="1227" formatCode="0.00">
                  <c:v>0.58067212170111626</c:v>
                </c:pt>
                <c:pt idx="1228" formatCode="0.00">
                  <c:v>0.58486814862457048</c:v>
                </c:pt>
                <c:pt idx="1229" formatCode="0.00">
                  <c:v>0.58433746503048578</c:v>
                </c:pt>
                <c:pt idx="1230" formatCode="0.00">
                  <c:v>0.58559144839474242</c:v>
                </c:pt>
                <c:pt idx="1231" formatCode="0.00">
                  <c:v>0.584591008915327</c:v>
                </c:pt>
                <c:pt idx="1232" formatCode="0.00">
                  <c:v>0.58798313811207137</c:v>
                </c:pt>
                <c:pt idx="1233" formatCode="0.00">
                  <c:v>0.58759527227490893</c:v>
                </c:pt>
                <c:pt idx="1234" formatCode="0.00">
                  <c:v>0.5867827206202243</c:v>
                </c:pt>
                <c:pt idx="1235" formatCode="0.00">
                  <c:v>0.58287836122275238</c:v>
                </c:pt>
                <c:pt idx="1236" formatCode="0.00">
                  <c:v>0.58306555600607946</c:v>
                </c:pt>
                <c:pt idx="1237" formatCode="0.00">
                  <c:v>0.58953570391990906</c:v>
                </c:pt>
                <c:pt idx="1238" formatCode="0.00">
                  <c:v>0.58954462916168338</c:v>
                </c:pt>
                <c:pt idx="1239" formatCode="0.00">
                  <c:v>0.58968502632518638</c:v>
                </c:pt>
                <c:pt idx="1240" formatCode="0.00">
                  <c:v>0.58949307599625966</c:v>
                </c:pt>
                <c:pt idx="1241" formatCode="0.00">
                  <c:v>0.59028827923075222</c:v>
                </c:pt>
                <c:pt idx="1242" formatCode="0.00">
                  <c:v>0.59050559739952901</c:v>
                </c:pt>
                <c:pt idx="1243" formatCode="0.00">
                  <c:v>0.59054607466139775</c:v>
                </c:pt>
                <c:pt idx="1244" formatCode="0.00">
                  <c:v>0.58494804870958994</c:v>
                </c:pt>
                <c:pt idx="1245" formatCode="0.00">
                  <c:v>0.58475553094051314</c:v>
                </c:pt>
                <c:pt idx="1246" formatCode="0.00">
                  <c:v>0.58477831683893777</c:v>
                </c:pt>
                <c:pt idx="1247" formatCode="0.00">
                  <c:v>0.58412455696686305</c:v>
                </c:pt>
                <c:pt idx="1248" formatCode="0.00">
                  <c:v>0.57762035720089844</c:v>
                </c:pt>
                <c:pt idx="1249" formatCode="0.00">
                  <c:v>0.57167386657109565</c:v>
                </c:pt>
                <c:pt idx="1250" formatCode="0.00">
                  <c:v>0.57147063700584488</c:v>
                </c:pt>
                <c:pt idx="1251" formatCode="0.00">
                  <c:v>0.57141888670429364</c:v>
                </c:pt>
                <c:pt idx="1252" formatCode="0.00">
                  <c:v>0.57137307087207345</c:v>
                </c:pt>
                <c:pt idx="1253" formatCode="0.00">
                  <c:v>0.57144540447951864</c:v>
                </c:pt>
                <c:pt idx="1254" formatCode="0.00">
                  <c:v>0.5701957412113855</c:v>
                </c:pt>
                <c:pt idx="1255" formatCode="0.00">
                  <c:v>0.57086237783023663</c:v>
                </c:pt>
                <c:pt idx="1256" formatCode="0.00">
                  <c:v>0.55733773170180023</c:v>
                </c:pt>
                <c:pt idx="1257" formatCode="0.00">
                  <c:v>0.55751978710843797</c:v>
                </c:pt>
                <c:pt idx="1258" formatCode="0.00">
                  <c:v>0.55655508334752413</c:v>
                </c:pt>
                <c:pt idx="1259" formatCode="0.00">
                  <c:v>0.55250119016175825</c:v>
                </c:pt>
                <c:pt idx="1260" formatCode="0.00">
                  <c:v>0.5527542197030495</c:v>
                </c:pt>
                <c:pt idx="1261" formatCode="0.00">
                  <c:v>0.55210506383484337</c:v>
                </c:pt>
                <c:pt idx="1262" formatCode="0.00">
                  <c:v>0.54857931740299348</c:v>
                </c:pt>
                <c:pt idx="1263" formatCode="0.00">
                  <c:v>0.54940277761773271</c:v>
                </c:pt>
                <c:pt idx="1264" formatCode="0.00">
                  <c:v>0.55282857822644482</c:v>
                </c:pt>
                <c:pt idx="1265" formatCode="0.00">
                  <c:v>0.55259536497985284</c:v>
                </c:pt>
                <c:pt idx="1266" formatCode="0.00">
                  <c:v>0.55897721104303444</c:v>
                </c:pt>
                <c:pt idx="1267" formatCode="0.00">
                  <c:v>0.55885768396205415</c:v>
                </c:pt>
                <c:pt idx="1268" formatCode="0.00">
                  <c:v>0.56213386550653444</c:v>
                </c:pt>
                <c:pt idx="1269" formatCode="0.00">
                  <c:v>0.56491369249050782</c:v>
                </c:pt>
                <c:pt idx="1270" formatCode="0.00">
                  <c:v>0.56612666224638786</c:v>
                </c:pt>
                <c:pt idx="1271" formatCode="0.00">
                  <c:v>0.56612558845901095</c:v>
                </c:pt>
                <c:pt idx="1272" formatCode="0.00">
                  <c:v>0.56854314869725842</c:v>
                </c:pt>
                <c:pt idx="1273" formatCode="0.00">
                  <c:v>0.57082893130094847</c:v>
                </c:pt>
                <c:pt idx="1274" formatCode="0.00">
                  <c:v>0.56880173199392303</c:v>
                </c:pt>
                <c:pt idx="1275" formatCode="0.00">
                  <c:v>0.56884783811581474</c:v>
                </c:pt>
                <c:pt idx="1276" formatCode="0.00">
                  <c:v>0.56964462090542189</c:v>
                </c:pt>
                <c:pt idx="1277" formatCode="0.00">
                  <c:v>0.56885768825426797</c:v>
                </c:pt>
                <c:pt idx="1278" formatCode="0.00">
                  <c:v>0.56723426713968428</c:v>
                </c:pt>
                <c:pt idx="1279" formatCode="0.00">
                  <c:v>0.56769353143312584</c:v>
                </c:pt>
                <c:pt idx="1280" formatCode="0.00">
                  <c:v>0.56656765336571713</c:v>
                </c:pt>
                <c:pt idx="1281" formatCode="0.00">
                  <c:v>0.5695016391120078</c:v>
                </c:pt>
                <c:pt idx="1282" formatCode="0.00">
                  <c:v>0.56797176625523738</c:v>
                </c:pt>
                <c:pt idx="1283" formatCode="0.00">
                  <c:v>0.56720319505701355</c:v>
                </c:pt>
                <c:pt idx="1284" formatCode="0.00">
                  <c:v>0.5667518986498099</c:v>
                </c:pt>
                <c:pt idx="1285" formatCode="0.00">
                  <c:v>0.55716354491029652</c:v>
                </c:pt>
                <c:pt idx="1286" formatCode="0.00">
                  <c:v>0.55182845220000776</c:v>
                </c:pt>
                <c:pt idx="1287" formatCode="0.00">
                  <c:v>0.5456488063346473</c:v>
                </c:pt>
                <c:pt idx="1288" formatCode="0.00">
                  <c:v>0.54432198203018034</c:v>
                </c:pt>
                <c:pt idx="1289" formatCode="0.00">
                  <c:v>0.54797649822319772</c:v>
                </c:pt>
                <c:pt idx="1290" formatCode="0.00">
                  <c:v>0.5481083778002549</c:v>
                </c:pt>
                <c:pt idx="1291" formatCode="0.00">
                  <c:v>0.54671876672370623</c:v>
                </c:pt>
                <c:pt idx="1292" formatCode="0.00">
                  <c:v>0.54661391253796676</c:v>
                </c:pt>
                <c:pt idx="1293" formatCode="0.00">
                  <c:v>0.54526134192363707</c:v>
                </c:pt>
                <c:pt idx="1294" formatCode="0.00">
                  <c:v>0.54393770109283246</c:v>
                </c:pt>
                <c:pt idx="1295" formatCode="0.00">
                  <c:v>0.54412954918629797</c:v>
                </c:pt>
                <c:pt idx="1296" formatCode="0.00">
                  <c:v>0.54376497715665273</c:v>
                </c:pt>
                <c:pt idx="1297" formatCode="0.00">
                  <c:v>0.55142797222289475</c:v>
                </c:pt>
                <c:pt idx="1298" formatCode="0.00">
                  <c:v>0.54806927613026091</c:v>
                </c:pt>
                <c:pt idx="1299" formatCode="0.00">
                  <c:v>0.54833665074342186</c:v>
                </c:pt>
                <c:pt idx="1300" formatCode="0.00">
                  <c:v>0.54894638090844672</c:v>
                </c:pt>
                <c:pt idx="1301" formatCode="0.00">
                  <c:v>0.54823470739056057</c:v>
                </c:pt>
                <c:pt idx="1302" formatCode="0.00">
                  <c:v>0.54823046375900997</c:v>
                </c:pt>
                <c:pt idx="1303" formatCode="0.00">
                  <c:v>0.54817050262716094</c:v>
                </c:pt>
                <c:pt idx="1304" formatCode="0.00">
                  <c:v>0.54823548410299527</c:v>
                </c:pt>
                <c:pt idx="1305" formatCode="0.00">
                  <c:v>0.54751793863002374</c:v>
                </c:pt>
                <c:pt idx="1306" formatCode="0.00">
                  <c:v>0.54724276673647432</c:v>
                </c:pt>
                <c:pt idx="1307" formatCode="0.00">
                  <c:v>0.54723470902288263</c:v>
                </c:pt>
                <c:pt idx="1308" formatCode="0.00">
                  <c:v>0.54811418327207673</c:v>
                </c:pt>
                <c:pt idx="1309" formatCode="0.00">
                  <c:v>0.54748137635274796</c:v>
                </c:pt>
                <c:pt idx="1310" formatCode="0.00">
                  <c:v>0.54961560165547019</c:v>
                </c:pt>
                <c:pt idx="1311" formatCode="0.00">
                  <c:v>0.54520427800319848</c:v>
                </c:pt>
                <c:pt idx="1312" formatCode="0.00">
                  <c:v>0.54500860556883157</c:v>
                </c:pt>
                <c:pt idx="1313" formatCode="0.00">
                  <c:v>0.54541042117620375</c:v>
                </c:pt>
                <c:pt idx="1314" formatCode="0.00">
                  <c:v>0.54626676493990844</c:v>
                </c:pt>
                <c:pt idx="1315" formatCode="0.00">
                  <c:v>0.54516331820131148</c:v>
                </c:pt>
                <c:pt idx="1316" formatCode="0.00">
                  <c:v>0.54573207412940283</c:v>
                </c:pt>
                <c:pt idx="1317" formatCode="0.00">
                  <c:v>0.5460315238731368</c:v>
                </c:pt>
                <c:pt idx="1318" formatCode="0.00">
                  <c:v>0.54248568630976468</c:v>
                </c:pt>
                <c:pt idx="1319" formatCode="0.00">
                  <c:v>0.54257511224434507</c:v>
                </c:pt>
                <c:pt idx="1320" formatCode="0.00">
                  <c:v>0.54420384094503582</c:v>
                </c:pt>
                <c:pt idx="1321" formatCode="0.00">
                  <c:v>0.54601303902294174</c:v>
                </c:pt>
                <c:pt idx="1322" formatCode="0.00">
                  <c:v>0.54726923708353881</c:v>
                </c:pt>
                <c:pt idx="1323" formatCode="0.00">
                  <c:v>0.5473412213366815</c:v>
                </c:pt>
                <c:pt idx="1324" formatCode="0.00">
                  <c:v>0.54717845889138184</c:v>
                </c:pt>
                <c:pt idx="1325" formatCode="0.00">
                  <c:v>0.54172432746078769</c:v>
                </c:pt>
                <c:pt idx="1326" formatCode="0.00">
                  <c:v>0.54076724778793994</c:v>
                </c:pt>
                <c:pt idx="1327" formatCode="0.00">
                  <c:v>0.5398543617556667</c:v>
                </c:pt>
                <c:pt idx="1328" formatCode="0.00">
                  <c:v>0.53712011942963034</c:v>
                </c:pt>
                <c:pt idx="1329" formatCode="0.00">
                  <c:v>0.54060869170324377</c:v>
                </c:pt>
                <c:pt idx="1330" formatCode="0.00">
                  <c:v>0.54102109616710348</c:v>
                </c:pt>
                <c:pt idx="1331" formatCode="0.00">
                  <c:v>0.54114655924299226</c:v>
                </c:pt>
                <c:pt idx="1332" formatCode="0.00">
                  <c:v>0.54438548360404293</c:v>
                </c:pt>
                <c:pt idx="1333" formatCode="0.00">
                  <c:v>0.54329707304038366</c:v>
                </c:pt>
                <c:pt idx="1334" formatCode="0.00">
                  <c:v>0.54272088600520763</c:v>
                </c:pt>
                <c:pt idx="1335" formatCode="0.00">
                  <c:v>0.54256041728563664</c:v>
                </c:pt>
                <c:pt idx="1336" formatCode="0.00">
                  <c:v>0.54083928183977459</c:v>
                </c:pt>
                <c:pt idx="1337" formatCode="0.00">
                  <c:v>0.54082143519480619</c:v>
                </c:pt>
                <c:pt idx="1338" formatCode="0.00">
                  <c:v>0.53918912473156821</c:v>
                </c:pt>
                <c:pt idx="1339" formatCode="0.00">
                  <c:v>0.53910761951868857</c:v>
                </c:pt>
                <c:pt idx="1340" formatCode="0.00">
                  <c:v>0.54171710687099195</c:v>
                </c:pt>
                <c:pt idx="1341" formatCode="0.00">
                  <c:v>0.54200458802773877</c:v>
                </c:pt>
                <c:pt idx="1342" formatCode="0.00">
                  <c:v>0.54291343689788352</c:v>
                </c:pt>
                <c:pt idx="1343" formatCode="0.00">
                  <c:v>0.54326523149731798</c:v>
                </c:pt>
                <c:pt idx="1344" formatCode="0.00">
                  <c:v>0.54425494473337255</c:v>
                </c:pt>
                <c:pt idx="1345" formatCode="0.00">
                  <c:v>0.54058060626786486</c:v>
                </c:pt>
                <c:pt idx="1346" formatCode="0.00">
                  <c:v>0.54057905832312647</c:v>
                </c:pt>
                <c:pt idx="1347" formatCode="0.00">
                  <c:v>0.54034111520232608</c:v>
                </c:pt>
                <c:pt idx="1348" formatCode="0.00">
                  <c:v>0.54208453272172508</c:v>
                </c:pt>
                <c:pt idx="1349" formatCode="0.00">
                  <c:v>0.54173854553352674</c:v>
                </c:pt>
                <c:pt idx="1350" formatCode="0.00">
                  <c:v>0.54171053899842003</c:v>
                </c:pt>
                <c:pt idx="1351" formatCode="0.00">
                  <c:v>0.54200592663785641</c:v>
                </c:pt>
                <c:pt idx="1352" formatCode="0.00">
                  <c:v>0.5420571924553157</c:v>
                </c:pt>
                <c:pt idx="1353" formatCode="0.00">
                  <c:v>0.5365857634269019</c:v>
                </c:pt>
                <c:pt idx="1354" formatCode="0.00">
                  <c:v>0.53053697891848028</c:v>
                </c:pt>
                <c:pt idx="1355" formatCode="0.00">
                  <c:v>0.52860974434890973</c:v>
                </c:pt>
                <c:pt idx="1356" formatCode="0.00">
                  <c:v>0.52704577875936165</c:v>
                </c:pt>
                <c:pt idx="1357" formatCode="0.00">
                  <c:v>0.52907785022726261</c:v>
                </c:pt>
                <c:pt idx="1358" formatCode="0.00">
                  <c:v>0.52647367500551889</c:v>
                </c:pt>
                <c:pt idx="1359" formatCode="0.00">
                  <c:v>0.5262769637885949</c:v>
                </c:pt>
                <c:pt idx="1360" formatCode="0.00">
                  <c:v>0.52629812006485344</c:v>
                </c:pt>
                <c:pt idx="1361" formatCode="0.00">
                  <c:v>0.52638839301848472</c:v>
                </c:pt>
                <c:pt idx="1362" formatCode="0.00">
                  <c:v>0.52636738351075174</c:v>
                </c:pt>
                <c:pt idx="1363" formatCode="0.00">
                  <c:v>0.52618367166581526</c:v>
                </c:pt>
                <c:pt idx="1364" formatCode="0.00">
                  <c:v>0.52668046649968625</c:v>
                </c:pt>
                <c:pt idx="1365" formatCode="0.00">
                  <c:v>0.52756850380631104</c:v>
                </c:pt>
                <c:pt idx="1366" formatCode="0.00">
                  <c:v>0.52696390294485329</c:v>
                </c:pt>
                <c:pt idx="1367" formatCode="0.00">
                  <c:v>0.52702287334169473</c:v>
                </c:pt>
                <c:pt idx="1368" formatCode="0.00">
                  <c:v>0.52375695211296736</c:v>
                </c:pt>
                <c:pt idx="1369" formatCode="0.00">
                  <c:v>0.52476536119837802</c:v>
                </c:pt>
                <c:pt idx="1370" formatCode="0.00">
                  <c:v>0.52508025671413117</c:v>
                </c:pt>
                <c:pt idx="1371" formatCode="0.00">
                  <c:v>0.52444360667420253</c:v>
                </c:pt>
                <c:pt idx="1372" formatCode="0.00">
                  <c:v>0.52462587265678184</c:v>
                </c:pt>
                <c:pt idx="1373" formatCode="0.00">
                  <c:v>0.52456299567722831</c:v>
                </c:pt>
                <c:pt idx="1374" formatCode="0.00">
                  <c:v>0.52316484166074073</c:v>
                </c:pt>
                <c:pt idx="1375" formatCode="0.00">
                  <c:v>0.52332352996187459</c:v>
                </c:pt>
                <c:pt idx="1376" formatCode="0.00">
                  <c:v>0.52171222450856936</c:v>
                </c:pt>
                <c:pt idx="1377" formatCode="0.00">
                  <c:v>0.52193129005688765</c:v>
                </c:pt>
                <c:pt idx="1378" formatCode="0.00">
                  <c:v>0.5221218483647786</c:v>
                </c:pt>
                <c:pt idx="1379" formatCode="0.00">
                  <c:v>0.52376939335357731</c:v>
                </c:pt>
                <c:pt idx="1380" formatCode="0.00">
                  <c:v>0.52403403869253362</c:v>
                </c:pt>
                <c:pt idx="1381" formatCode="0.00">
                  <c:v>0.52318627835018228</c:v>
                </c:pt>
                <c:pt idx="1382" formatCode="0.00">
                  <c:v>0.52352071437242298</c:v>
                </c:pt>
                <c:pt idx="1383" formatCode="0.00">
                  <c:v>0.52355471801318987</c:v>
                </c:pt>
                <c:pt idx="1384" formatCode="0.00">
                  <c:v>0.52356424142241753</c:v>
                </c:pt>
                <c:pt idx="1385" formatCode="0.00">
                  <c:v>0.52241515502185065</c:v>
                </c:pt>
                <c:pt idx="1386" formatCode="0.00">
                  <c:v>0.52233411279822817</c:v>
                </c:pt>
                <c:pt idx="1387" formatCode="0.00">
                  <c:v>0.5278779657312217</c:v>
                </c:pt>
                <c:pt idx="1388" formatCode="0.00">
                  <c:v>0.52896408069382039</c:v>
                </c:pt>
                <c:pt idx="1389" formatCode="0.00">
                  <c:v>0.52892769527349204</c:v>
                </c:pt>
                <c:pt idx="1390" formatCode="0.00">
                  <c:v>0.52388876970674825</c:v>
                </c:pt>
                <c:pt idx="1391" formatCode="0.00">
                  <c:v>0.52380593411283305</c:v>
                </c:pt>
                <c:pt idx="1392" formatCode="0.00">
                  <c:v>0.5240224615899004</c:v>
                </c:pt>
                <c:pt idx="1393" formatCode="0.00">
                  <c:v>0.51868110968167858</c:v>
                </c:pt>
                <c:pt idx="1394" formatCode="0.00">
                  <c:v>0.50892553459452627</c:v>
                </c:pt>
                <c:pt idx="1395" formatCode="0.00">
                  <c:v>0.5089190861581796</c:v>
                </c:pt>
                <c:pt idx="1396" formatCode="0.00">
                  <c:v>0.50946573481539115</c:v>
                </c:pt>
                <c:pt idx="1397" formatCode="0.00">
                  <c:v>0.51068049115176828</c:v>
                </c:pt>
                <c:pt idx="1398" formatCode="0.00">
                  <c:v>0.51097517034974382</c:v>
                </c:pt>
                <c:pt idx="1399" formatCode="0.00">
                  <c:v>0.51238954361251443</c:v>
                </c:pt>
                <c:pt idx="1400" formatCode="0.00">
                  <c:v>0.51199689771232371</c:v>
                </c:pt>
                <c:pt idx="1401" formatCode="0.00">
                  <c:v>0.51196926787686881</c:v>
                </c:pt>
                <c:pt idx="1402" formatCode="0.00">
                  <c:v>0.51278917190036521</c:v>
                </c:pt>
                <c:pt idx="1403" formatCode="0.00">
                  <c:v>0.50883734846314421</c:v>
                </c:pt>
                <c:pt idx="1404" formatCode="0.00">
                  <c:v>0.51334503603344583</c:v>
                </c:pt>
                <c:pt idx="1405" formatCode="0.00">
                  <c:v>0.51399625215318234</c:v>
                </c:pt>
                <c:pt idx="1406" formatCode="0.00">
                  <c:v>0.5135857631625943</c:v>
                </c:pt>
                <c:pt idx="1407" formatCode="0.00">
                  <c:v>0.5099869897705851</c:v>
                </c:pt>
                <c:pt idx="1408" formatCode="0.00">
                  <c:v>0.51064433455095526</c:v>
                </c:pt>
                <c:pt idx="1409" formatCode="0.00">
                  <c:v>0.50836537404202353</c:v>
                </c:pt>
                <c:pt idx="1410" formatCode="0.00">
                  <c:v>0.50790419692571975</c:v>
                </c:pt>
                <c:pt idx="1411" formatCode="0.00">
                  <c:v>0.50834687669243661</c:v>
                </c:pt>
                <c:pt idx="1412" formatCode="0.00">
                  <c:v>0.50860700548289073</c:v>
                </c:pt>
                <c:pt idx="1413" formatCode="0.00">
                  <c:v>0.51141901628041064</c:v>
                </c:pt>
                <c:pt idx="1414" formatCode="0.00">
                  <c:v>0.51167800726585855</c:v>
                </c:pt>
                <c:pt idx="1415" formatCode="0.00">
                  <c:v>0.51104536709114645</c:v>
                </c:pt>
                <c:pt idx="1416" formatCode="0.00">
                  <c:v>0.5115132843961665</c:v>
                </c:pt>
                <c:pt idx="1417" formatCode="0.00">
                  <c:v>0.51515631637863546</c:v>
                </c:pt>
                <c:pt idx="1418" formatCode="0.00">
                  <c:v>0.51519952302260918</c:v>
                </c:pt>
                <c:pt idx="1419" formatCode="0.00">
                  <c:v>0.51435519744048908</c:v>
                </c:pt>
                <c:pt idx="1420" formatCode="0.00">
                  <c:v>0.51503349988184155</c:v>
                </c:pt>
                <c:pt idx="1421" formatCode="0.00">
                  <c:v>0.51236212207895537</c:v>
                </c:pt>
                <c:pt idx="1422" formatCode="0.00">
                  <c:v>0.51163209841459811</c:v>
                </c:pt>
                <c:pt idx="1423" formatCode="0.00">
                  <c:v>0.50765926606994294</c:v>
                </c:pt>
                <c:pt idx="1424" formatCode="0.00">
                  <c:v>0.50668175493697731</c:v>
                </c:pt>
                <c:pt idx="1425" formatCode="0.00">
                  <c:v>0.50659007508277898</c:v>
                </c:pt>
                <c:pt idx="1426" formatCode="0.00">
                  <c:v>0.50818702418060002</c:v>
                </c:pt>
                <c:pt idx="1427" formatCode="0.00">
                  <c:v>0.51054573114750534</c:v>
                </c:pt>
                <c:pt idx="1428" formatCode="0.00">
                  <c:v>0.51303735312249388</c:v>
                </c:pt>
                <c:pt idx="1429" formatCode="0.00">
                  <c:v>0.51211889806943589</c:v>
                </c:pt>
                <c:pt idx="1430" formatCode="0.00">
                  <c:v>0.51265505605081074</c:v>
                </c:pt>
                <c:pt idx="1431" formatCode="0.00">
                  <c:v>0.5137723381470346</c:v>
                </c:pt>
                <c:pt idx="1432" formatCode="0.00">
                  <c:v>0.51460072303862003</c:v>
                </c:pt>
                <c:pt idx="1433" formatCode="0.00">
                  <c:v>0.51375631699880886</c:v>
                </c:pt>
                <c:pt idx="1434" formatCode="0.00">
                  <c:v>0.51450543878364574</c:v>
                </c:pt>
                <c:pt idx="1435" formatCode="0.00">
                  <c:v>0.51642543188043355</c:v>
                </c:pt>
                <c:pt idx="1436" formatCode="0.00">
                  <c:v>0.51494815942352212</c:v>
                </c:pt>
                <c:pt idx="1437" formatCode="0.00">
                  <c:v>0.51521116560628688</c:v>
                </c:pt>
                <c:pt idx="1438" formatCode="0.00">
                  <c:v>0.51522515421973947</c:v>
                </c:pt>
                <c:pt idx="1439" formatCode="0.00">
                  <c:v>0.51547323878820484</c:v>
                </c:pt>
                <c:pt idx="1440" formatCode="0.00">
                  <c:v>0.51543499757043254</c:v>
                </c:pt>
                <c:pt idx="1441" formatCode="0.00">
                  <c:v>0.51435050474887212</c:v>
                </c:pt>
                <c:pt idx="1442" formatCode="0.00">
                  <c:v>0.51440559677804876</c:v>
                </c:pt>
                <c:pt idx="1443" formatCode="0.00">
                  <c:v>0.51394212850319154</c:v>
                </c:pt>
                <c:pt idx="1444" formatCode="0.00">
                  <c:v>0.51354494748481783</c:v>
                </c:pt>
                <c:pt idx="1445" formatCode="0.00">
                  <c:v>0.51252557822767819</c:v>
                </c:pt>
                <c:pt idx="1446" formatCode="0.00">
                  <c:v>0.51210639711452521</c:v>
                </c:pt>
                <c:pt idx="1447" formatCode="0.00">
                  <c:v>0.51221347591614885</c:v>
                </c:pt>
                <c:pt idx="1448" formatCode="0.00">
                  <c:v>0.51206797678255955</c:v>
                </c:pt>
                <c:pt idx="1449" formatCode="0.00">
                  <c:v>0.51222992738622863</c:v>
                </c:pt>
                <c:pt idx="1450" formatCode="0.00">
                  <c:v>0.51244269667762177</c:v>
                </c:pt>
                <c:pt idx="1451" formatCode="0.00">
                  <c:v>0.510988922355052</c:v>
                </c:pt>
                <c:pt idx="1452" formatCode="0.00">
                  <c:v>0.51081669178213207</c:v>
                </c:pt>
                <c:pt idx="1453" formatCode="0.00">
                  <c:v>0.51053548004946037</c:v>
                </c:pt>
                <c:pt idx="1454" formatCode="0.00">
                  <c:v>0.51086889192791707</c:v>
                </c:pt>
                <c:pt idx="1455" formatCode="0.00">
                  <c:v>0.51209936064699546</c:v>
                </c:pt>
                <c:pt idx="1456" formatCode="0.00">
                  <c:v>0.50868075263468515</c:v>
                </c:pt>
                <c:pt idx="1457" formatCode="0.00">
                  <c:v>0.50794702111096957</c:v>
                </c:pt>
                <c:pt idx="1458" formatCode="0.00">
                  <c:v>0.50700718324868388</c:v>
                </c:pt>
                <c:pt idx="1459" formatCode="0.00">
                  <c:v>0.50722461914620487</c:v>
                </c:pt>
                <c:pt idx="1460" formatCode="0.00">
                  <c:v>0.50862705383890061</c:v>
                </c:pt>
                <c:pt idx="1461" formatCode="0.00">
                  <c:v>0.50846553118946936</c:v>
                </c:pt>
                <c:pt idx="1462" formatCode="0.00">
                  <c:v>0.51404528482169976</c:v>
                </c:pt>
                <c:pt idx="1463" formatCode="0.00">
                  <c:v>0.5143348433307916</c:v>
                </c:pt>
                <c:pt idx="1464" formatCode="0.00">
                  <c:v>0.50869363798772094</c:v>
                </c:pt>
                <c:pt idx="1465" formatCode="0.00">
                  <c:v>0.50658005617080404</c:v>
                </c:pt>
                <c:pt idx="1466" formatCode="0.00">
                  <c:v>0.50657349057652901</c:v>
                </c:pt>
                <c:pt idx="1467" formatCode="0.00">
                  <c:v>0.50317944449415941</c:v>
                </c:pt>
                <c:pt idx="1468" formatCode="0.00">
                  <c:v>0.50379809636253658</c:v>
                </c:pt>
                <c:pt idx="1469" formatCode="0.00">
                  <c:v>0.50402040737770215</c:v>
                </c:pt>
                <c:pt idx="1470" formatCode="0.00">
                  <c:v>0.50779346665124891</c:v>
                </c:pt>
                <c:pt idx="1471" formatCode="0.00">
                  <c:v>0.50905377595361279</c:v>
                </c:pt>
                <c:pt idx="1472" formatCode="0.00">
                  <c:v>0.50514691458612426</c:v>
                </c:pt>
                <c:pt idx="1473" formatCode="0.00">
                  <c:v>0.50602596811996803</c:v>
                </c:pt>
                <c:pt idx="1474" formatCode="0.00">
                  <c:v>0.50565839771042931</c:v>
                </c:pt>
                <c:pt idx="1475" formatCode="0.00">
                  <c:v>0.50755644946039846</c:v>
                </c:pt>
                <c:pt idx="1476" formatCode="0.00">
                  <c:v>0.50889716983045974</c:v>
                </c:pt>
                <c:pt idx="1477" formatCode="0.00">
                  <c:v>0.50906234058611932</c:v>
                </c:pt>
                <c:pt idx="1478" formatCode="0.00">
                  <c:v>0.50802221014707194</c:v>
                </c:pt>
                <c:pt idx="1479" formatCode="0.00">
                  <c:v>0.50717800422817727</c:v>
                </c:pt>
                <c:pt idx="1480" formatCode="0.00">
                  <c:v>0.50753596893973074</c:v>
                </c:pt>
                <c:pt idx="1481" formatCode="0.00">
                  <c:v>0.50183262456291389</c:v>
                </c:pt>
                <c:pt idx="1482" formatCode="0.00">
                  <c:v>0.50172654761299273</c:v>
                </c:pt>
                <c:pt idx="1483" formatCode="0.00">
                  <c:v>0.50255610737139056</c:v>
                </c:pt>
                <c:pt idx="1484" formatCode="0.00">
                  <c:v>0.50218434896877351</c:v>
                </c:pt>
                <c:pt idx="1485" formatCode="0.00">
                  <c:v>0.49425605421446683</c:v>
                </c:pt>
                <c:pt idx="1486" formatCode="0.00">
                  <c:v>0.49578900561875933</c:v>
                </c:pt>
                <c:pt idx="1487" formatCode="0.00">
                  <c:v>0.49632403273576803</c:v>
                </c:pt>
                <c:pt idx="1488" formatCode="0.00">
                  <c:v>0.49628847538131721</c:v>
                </c:pt>
                <c:pt idx="1489" formatCode="0.00">
                  <c:v>0.4967318593761923</c:v>
                </c:pt>
                <c:pt idx="1490" formatCode="0.00">
                  <c:v>0.48904341119163214</c:v>
                </c:pt>
                <c:pt idx="1491" formatCode="0.00">
                  <c:v>0.48920435622121616</c:v>
                </c:pt>
                <c:pt idx="1492" formatCode="0.00">
                  <c:v>0.48908733784037817</c:v>
                </c:pt>
                <c:pt idx="1493" formatCode="0.00">
                  <c:v>0.48945074401403499</c:v>
                </c:pt>
                <c:pt idx="1494" formatCode="0.00">
                  <c:v>0.48962809670539592</c:v>
                </c:pt>
                <c:pt idx="1495" formatCode="0.00">
                  <c:v>0.48968282579414452</c:v>
                </c:pt>
                <c:pt idx="1496" formatCode="0.00">
                  <c:v>0.49059693703051777</c:v>
                </c:pt>
                <c:pt idx="1497" formatCode="0.00">
                  <c:v>0.49270706322348995</c:v>
                </c:pt>
                <c:pt idx="1498" formatCode="0.00">
                  <c:v>0.49267962857824027</c:v>
                </c:pt>
                <c:pt idx="1499" formatCode="0.00">
                  <c:v>0.49338983819800158</c:v>
                </c:pt>
                <c:pt idx="1500" formatCode="0.00">
                  <c:v>0.49374800987172468</c:v>
                </c:pt>
                <c:pt idx="1501" formatCode="0.00">
                  <c:v>0.49454980279507699</c:v>
                </c:pt>
                <c:pt idx="1502" formatCode="0.00">
                  <c:v>0.49456077178785929</c:v>
                </c:pt>
                <c:pt idx="1503" formatCode="0.00">
                  <c:v>0.49480903821427036</c:v>
                </c:pt>
                <c:pt idx="1504" formatCode="0.00">
                  <c:v>0.49171283412272732</c:v>
                </c:pt>
                <c:pt idx="1505" formatCode="0.00">
                  <c:v>0.49176500163078396</c:v>
                </c:pt>
                <c:pt idx="1506" formatCode="0.00">
                  <c:v>0.49209801375759782</c:v>
                </c:pt>
                <c:pt idx="1507" formatCode="0.00">
                  <c:v>0.49140832157615416</c:v>
                </c:pt>
                <c:pt idx="1508" formatCode="0.00">
                  <c:v>0.48818019651845418</c:v>
                </c:pt>
                <c:pt idx="1509" formatCode="0.00">
                  <c:v>0.48706587016133474</c:v>
                </c:pt>
                <c:pt idx="1510" formatCode="0.00">
                  <c:v>0.48694104829540946</c:v>
                </c:pt>
                <c:pt idx="1511" formatCode="0.00">
                  <c:v>0.48611971076316413</c:v>
                </c:pt>
                <c:pt idx="1512" formatCode="0.00">
                  <c:v>0.48562245155178591</c:v>
                </c:pt>
                <c:pt idx="1513" formatCode="0.00">
                  <c:v>0.48754370259790331</c:v>
                </c:pt>
                <c:pt idx="1514" formatCode="0.00">
                  <c:v>0.49277557752468376</c:v>
                </c:pt>
                <c:pt idx="1515" formatCode="0.00">
                  <c:v>0.49340147655299621</c:v>
                </c:pt>
                <c:pt idx="1516" formatCode="0.00">
                  <c:v>0.49145952627535799</c:v>
                </c:pt>
                <c:pt idx="1517" formatCode="0.00">
                  <c:v>0.49375449426933965</c:v>
                </c:pt>
                <c:pt idx="1518" formatCode="0.00">
                  <c:v>0.49081332615874185</c:v>
                </c:pt>
                <c:pt idx="1519" formatCode="0.00">
                  <c:v>0.48418482183412298</c:v>
                </c:pt>
                <c:pt idx="1520" formatCode="0.00">
                  <c:v>0.48400235466561364</c:v>
                </c:pt>
                <c:pt idx="1521" formatCode="0.00">
                  <c:v>0.48126361476603613</c:v>
                </c:pt>
                <c:pt idx="1522" formatCode="0.00">
                  <c:v>0.47780764788789859</c:v>
                </c:pt>
                <c:pt idx="1523" formatCode="0.00">
                  <c:v>0.47597633711391141</c:v>
                </c:pt>
                <c:pt idx="1524" formatCode="0.00">
                  <c:v>0.47681500962177098</c:v>
                </c:pt>
                <c:pt idx="1525" formatCode="0.00">
                  <c:v>0.47404698428099823</c:v>
                </c:pt>
                <c:pt idx="1526" formatCode="0.00">
                  <c:v>0.4716194969037128</c:v>
                </c:pt>
                <c:pt idx="1527" formatCode="0.00">
                  <c:v>0.46967438804222122</c:v>
                </c:pt>
                <c:pt idx="1528" formatCode="0.00">
                  <c:v>0.47111629856939768</c:v>
                </c:pt>
                <c:pt idx="1529" formatCode="0.00">
                  <c:v>0.46789269119866261</c:v>
                </c:pt>
                <c:pt idx="1530" formatCode="0.00">
                  <c:v>0.46809789419920794</c:v>
                </c:pt>
                <c:pt idx="1531" formatCode="0.00">
                  <c:v>0.46921165526097325</c:v>
                </c:pt>
                <c:pt idx="1532" formatCode="0.00">
                  <c:v>0.46884806267129803</c:v>
                </c:pt>
                <c:pt idx="1533" formatCode="0.00">
                  <c:v>0.47612046031138183</c:v>
                </c:pt>
                <c:pt idx="1534" formatCode="0.00">
                  <c:v>0.47567570695653072</c:v>
                </c:pt>
                <c:pt idx="1535" formatCode="0.00">
                  <c:v>0.47607702437401628</c:v>
                </c:pt>
                <c:pt idx="1536" formatCode="0.00">
                  <c:v>0.47637811522281409</c:v>
                </c:pt>
                <c:pt idx="1537" formatCode="0.00">
                  <c:v>0.48270183462413652</c:v>
                </c:pt>
                <c:pt idx="1538" formatCode="0.00">
                  <c:v>0.48262037520858003</c:v>
                </c:pt>
                <c:pt idx="1539" formatCode="0.00">
                  <c:v>0.48503607126256154</c:v>
                </c:pt>
                <c:pt idx="1540" formatCode="0.00">
                  <c:v>0.48442408909447365</c:v>
                </c:pt>
                <c:pt idx="1541" formatCode="0.00">
                  <c:v>0.48285386577192008</c:v>
                </c:pt>
                <c:pt idx="1542" formatCode="0.00">
                  <c:v>0.47862590383268105</c:v>
                </c:pt>
                <c:pt idx="1543" formatCode="0.00">
                  <c:v>0.47873430136688927</c:v>
                </c:pt>
                <c:pt idx="1544" formatCode="0.00">
                  <c:v>0.47893504248149149</c:v>
                </c:pt>
                <c:pt idx="1545" formatCode="0.00">
                  <c:v>0.47908018775829331</c:v>
                </c:pt>
                <c:pt idx="1546" formatCode="0.00">
                  <c:v>0.4754100267393187</c:v>
                </c:pt>
                <c:pt idx="1547" formatCode="0.00">
                  <c:v>0.47606798657553845</c:v>
                </c:pt>
                <c:pt idx="1548" formatCode="0.00">
                  <c:v>0.47585916071977147</c:v>
                </c:pt>
                <c:pt idx="1549" formatCode="0.00">
                  <c:v>0.47537937428631161</c:v>
                </c:pt>
                <c:pt idx="1550" formatCode="0.00">
                  <c:v>0.46799631597408925</c:v>
                </c:pt>
                <c:pt idx="1551" formatCode="0.00">
                  <c:v>0.46895883297360191</c:v>
                </c:pt>
                <c:pt idx="1552" formatCode="0.00">
                  <c:v>0.46852408042788074</c:v>
                </c:pt>
                <c:pt idx="1553" formatCode="0.00">
                  <c:v>0.46797933195080105</c:v>
                </c:pt>
                <c:pt idx="1554" formatCode="0.00">
                  <c:v>0.46746025605732588</c:v>
                </c:pt>
                <c:pt idx="1555" formatCode="0.00">
                  <c:v>0.46747535838853993</c:v>
                </c:pt>
                <c:pt idx="1556" formatCode="0.00">
                  <c:v>0.46747916603042455</c:v>
                </c:pt>
                <c:pt idx="1557" formatCode="0.00">
                  <c:v>0.46902616085123472</c:v>
                </c:pt>
                <c:pt idx="1558" formatCode="0.00">
                  <c:v>0.46897470232894822</c:v>
                </c:pt>
                <c:pt idx="1559" formatCode="0.00">
                  <c:v>0.46920970855229183</c:v>
                </c:pt>
                <c:pt idx="1560" formatCode="0.00">
                  <c:v>0.4693936719240519</c:v>
                </c:pt>
                <c:pt idx="1561" formatCode="0.00">
                  <c:v>0.46876537657244521</c:v>
                </c:pt>
                <c:pt idx="1562" formatCode="0.00">
                  <c:v>0.46936183723846242</c:v>
                </c:pt>
                <c:pt idx="1563" formatCode="0.00">
                  <c:v>0.46741382907893864</c:v>
                </c:pt>
                <c:pt idx="1564" formatCode="0.00">
                  <c:v>0.46830239020670755</c:v>
                </c:pt>
                <c:pt idx="1565" formatCode="0.00">
                  <c:v>0.46795509937134555</c:v>
                </c:pt>
                <c:pt idx="1566" formatCode="0.00">
                  <c:v>0.46666443732215751</c:v>
                </c:pt>
                <c:pt idx="1567" formatCode="0.00">
                  <c:v>0.46506260233667146</c:v>
                </c:pt>
                <c:pt idx="1568" formatCode="0.00">
                  <c:v>0.46629182536875613</c:v>
                </c:pt>
                <c:pt idx="1569" formatCode="0.00">
                  <c:v>0.46735822565989171</c:v>
                </c:pt>
                <c:pt idx="1570" formatCode="0.00">
                  <c:v>0.46706608548556411</c:v>
                </c:pt>
                <c:pt idx="1571" formatCode="0.00">
                  <c:v>0.46926565228357559</c:v>
                </c:pt>
                <c:pt idx="1572" formatCode="0.00">
                  <c:v>0.46913461328097589</c:v>
                </c:pt>
                <c:pt idx="1573" formatCode="0.00">
                  <c:v>0.46686175823102777</c:v>
                </c:pt>
                <c:pt idx="1574" formatCode="0.00">
                  <c:v>0.46383612951885744</c:v>
                </c:pt>
                <c:pt idx="1575" formatCode="0.00">
                  <c:v>0.46214976552412806</c:v>
                </c:pt>
                <c:pt idx="1576" formatCode="0.00">
                  <c:v>0.46182185115098734</c:v>
                </c:pt>
                <c:pt idx="1577" formatCode="0.00">
                  <c:v>0.46276656035118113</c:v>
                </c:pt>
                <c:pt idx="1578" formatCode="0.00">
                  <c:v>0.46298915004644808</c:v>
                </c:pt>
                <c:pt idx="1579" formatCode="0.00">
                  <c:v>0.46324349689311212</c:v>
                </c:pt>
                <c:pt idx="1580" formatCode="0.00">
                  <c:v>0.46330104356043628</c:v>
                </c:pt>
                <c:pt idx="1581" formatCode="0.00">
                  <c:v>0.46477957201200637</c:v>
                </c:pt>
                <c:pt idx="1582" formatCode="0.00">
                  <c:v>0.45803937223909486</c:v>
                </c:pt>
                <c:pt idx="1583" formatCode="0.00">
                  <c:v>0.45869008563009939</c:v>
                </c:pt>
                <c:pt idx="1584" formatCode="0.00">
                  <c:v>0.45800592348715807</c:v>
                </c:pt>
                <c:pt idx="1585" formatCode="0.00">
                  <c:v>0.45372470330624165</c:v>
                </c:pt>
                <c:pt idx="1586" formatCode="0.00">
                  <c:v>0.45344233943895979</c:v>
                </c:pt>
                <c:pt idx="1587" formatCode="0.00">
                  <c:v>0.45390907530243191</c:v>
                </c:pt>
                <c:pt idx="1588" formatCode="0.00">
                  <c:v>0.45412015242832221</c:v>
                </c:pt>
                <c:pt idx="1589" formatCode="0.00">
                  <c:v>0.45443924399889335</c:v>
                </c:pt>
                <c:pt idx="1590" formatCode="0.00">
                  <c:v>0.4549295221397584</c:v>
                </c:pt>
                <c:pt idx="1591" formatCode="0.00">
                  <c:v>0.45483454022329622</c:v>
                </c:pt>
                <c:pt idx="1592" formatCode="0.00">
                  <c:v>0.45469038635858944</c:v>
                </c:pt>
                <c:pt idx="1593" formatCode="0.00">
                  <c:v>0.4511710758068142</c:v>
                </c:pt>
                <c:pt idx="1594" formatCode="0.00">
                  <c:v>0.45179545949727523</c:v>
                </c:pt>
                <c:pt idx="1595" formatCode="0.00">
                  <c:v>0.45241619128131683</c:v>
                </c:pt>
                <c:pt idx="1596" formatCode="0.00">
                  <c:v>0.45274667888843306</c:v>
                </c:pt>
                <c:pt idx="1597" formatCode="0.00">
                  <c:v>0.45269281233655534</c:v>
                </c:pt>
                <c:pt idx="1598" formatCode="0.00">
                  <c:v>0.45361409270120773</c:v>
                </c:pt>
                <c:pt idx="1599" formatCode="0.00">
                  <c:v>0.45376675932031063</c:v>
                </c:pt>
                <c:pt idx="1600" formatCode="0.00">
                  <c:v>0.45368740549821407</c:v>
                </c:pt>
                <c:pt idx="1601" formatCode="0.00">
                  <c:v>0.45174601680831716</c:v>
                </c:pt>
                <c:pt idx="1602" formatCode="0.00">
                  <c:v>0.45249107747000467</c:v>
                </c:pt>
                <c:pt idx="1603" formatCode="0.00">
                  <c:v>0.45528449159643231</c:v>
                </c:pt>
                <c:pt idx="1604" formatCode="0.00">
                  <c:v>0.45480475809243409</c:v>
                </c:pt>
                <c:pt idx="1605" formatCode="0.00">
                  <c:v>0.4551117506202712</c:v>
                </c:pt>
                <c:pt idx="1606" formatCode="0.00">
                  <c:v>0.45446495588528968</c:v>
                </c:pt>
                <c:pt idx="1607" formatCode="0.00">
                  <c:v>0.45679483710607877</c:v>
                </c:pt>
                <c:pt idx="1608" formatCode="0.00">
                  <c:v>0.45808781820953315</c:v>
                </c:pt>
                <c:pt idx="1609" formatCode="0.00">
                  <c:v>0.46075175736005408</c:v>
                </c:pt>
                <c:pt idx="1610" formatCode="0.00">
                  <c:v>0.45811532108565201</c:v>
                </c:pt>
                <c:pt idx="1611" formatCode="0.00">
                  <c:v>0.45912305890183897</c:v>
                </c:pt>
                <c:pt idx="1612" formatCode="0.00">
                  <c:v>0.45899477826148122</c:v>
                </c:pt>
                <c:pt idx="1613" formatCode="0.00">
                  <c:v>0.46358226966607996</c:v>
                </c:pt>
                <c:pt idx="1614" formatCode="0.00">
                  <c:v>0.46443016598071846</c:v>
                </c:pt>
                <c:pt idx="1615" formatCode="0.00">
                  <c:v>0.46396069333204287</c:v>
                </c:pt>
                <c:pt idx="1616" formatCode="0.00">
                  <c:v>0.46843478656638426</c:v>
                </c:pt>
                <c:pt idx="1617" formatCode="0.00">
                  <c:v>0.47159544595507663</c:v>
                </c:pt>
                <c:pt idx="1618" formatCode="0.00">
                  <c:v>0.47073667523479196</c:v>
                </c:pt>
                <c:pt idx="1619" formatCode="0.00">
                  <c:v>0.47092617757187966</c:v>
                </c:pt>
                <c:pt idx="1620" formatCode="0.00">
                  <c:v>0.47189369663260639</c:v>
                </c:pt>
                <c:pt idx="1621" formatCode="0.00">
                  <c:v>0.47237121951470862</c:v>
                </c:pt>
                <c:pt idx="1622" formatCode="0.00">
                  <c:v>0.47156147858816849</c:v>
                </c:pt>
                <c:pt idx="1623" formatCode="0.00">
                  <c:v>0.47143295246961053</c:v>
                </c:pt>
                <c:pt idx="1624" formatCode="0.00">
                  <c:v>0.4712477760465279</c:v>
                </c:pt>
                <c:pt idx="1625" formatCode="0.00">
                  <c:v>0.4722038645422566</c:v>
                </c:pt>
                <c:pt idx="1626" formatCode="0.00">
                  <c:v>0.47223178379085101</c:v>
                </c:pt>
                <c:pt idx="1627" formatCode="0.00">
                  <c:v>0.47436209397124729</c:v>
                </c:pt>
                <c:pt idx="1628" formatCode="0.00">
                  <c:v>0.47459967278491177</c:v>
                </c:pt>
                <c:pt idx="1629" formatCode="0.00">
                  <c:v>0.47471116702849853</c:v>
                </c:pt>
                <c:pt idx="1630" formatCode="0.00">
                  <c:v>0.47396830862481421</c:v>
                </c:pt>
                <c:pt idx="1631" formatCode="0.00">
                  <c:v>0.47315445358553637</c:v>
                </c:pt>
                <c:pt idx="1632" formatCode="0.00">
                  <c:v>0.47093970437866001</c:v>
                </c:pt>
                <c:pt idx="1633" formatCode="0.00">
                  <c:v>0.47071388873565423</c:v>
                </c:pt>
                <c:pt idx="1634" formatCode="0.00">
                  <c:v>0.47151494284431023</c:v>
                </c:pt>
                <c:pt idx="1635" formatCode="0.00">
                  <c:v>0.47155612147363274</c:v>
                </c:pt>
                <c:pt idx="1636" formatCode="0.00">
                  <c:v>0.47234667645188305</c:v>
                </c:pt>
                <c:pt idx="1637" formatCode="0.00">
                  <c:v>0.4724978779445615</c:v>
                </c:pt>
                <c:pt idx="1638" formatCode="0.00">
                  <c:v>0.47314130719686093</c:v>
                </c:pt>
                <c:pt idx="1639" formatCode="0.00">
                  <c:v>0.47316661761048368</c:v>
                </c:pt>
                <c:pt idx="1640" formatCode="0.00">
                  <c:v>0.46729200936752763</c:v>
                </c:pt>
                <c:pt idx="1641" formatCode="0.00">
                  <c:v>0.46612161719036044</c:v>
                </c:pt>
                <c:pt idx="1642" formatCode="0.00">
                  <c:v>0.4660858198851115</c:v>
                </c:pt>
                <c:pt idx="1643" formatCode="0.00">
                  <c:v>0.46603512408892328</c:v>
                </c:pt>
                <c:pt idx="1644" formatCode="0.00">
                  <c:v>0.46664929277452533</c:v>
                </c:pt>
                <c:pt idx="1645" formatCode="0.00">
                  <c:v>0.46899197261033271</c:v>
                </c:pt>
                <c:pt idx="1646" formatCode="0.00">
                  <c:v>0.46917631224029455</c:v>
                </c:pt>
                <c:pt idx="1647" formatCode="0.00">
                  <c:v>0.47187775369570051</c:v>
                </c:pt>
                <c:pt idx="1648" formatCode="0.00">
                  <c:v>0.47301296634974727</c:v>
                </c:pt>
                <c:pt idx="1649" formatCode="0.00">
                  <c:v>0.47247341222315159</c:v>
                </c:pt>
                <c:pt idx="1650" formatCode="0.00">
                  <c:v>0.47227579423867788</c:v>
                </c:pt>
                <c:pt idx="1651" formatCode="0.00">
                  <c:v>0.47189601681384408</c:v>
                </c:pt>
                <c:pt idx="1652" formatCode="0.00">
                  <c:v>0.47259456371252107</c:v>
                </c:pt>
                <c:pt idx="1653" formatCode="0.00">
                  <c:v>0.47458670684212628</c:v>
                </c:pt>
                <c:pt idx="1654" formatCode="0.00">
                  <c:v>0.47561735342334333</c:v>
                </c:pt>
                <c:pt idx="1655" formatCode="0.00">
                  <c:v>0.4744627461484745</c:v>
                </c:pt>
                <c:pt idx="1656" formatCode="0.00">
                  <c:v>0.47452058491406768</c:v>
                </c:pt>
                <c:pt idx="1657" formatCode="0.00">
                  <c:v>0.47270729489238389</c:v>
                </c:pt>
                <c:pt idx="1658" formatCode="0.00">
                  <c:v>0.47260763466583161</c:v>
                </c:pt>
                <c:pt idx="1659" formatCode="0.00">
                  <c:v>0.47329726512804798</c:v>
                </c:pt>
                <c:pt idx="1660" formatCode="0.00">
                  <c:v>0.4734087448093543</c:v>
                </c:pt>
                <c:pt idx="1661" formatCode="0.00">
                  <c:v>0.47550610722408937</c:v>
                </c:pt>
                <c:pt idx="1662" formatCode="0.00">
                  <c:v>0.4842112150210609</c:v>
                </c:pt>
                <c:pt idx="1663" formatCode="0.00">
                  <c:v>0.48446818703706918</c:v>
                </c:pt>
                <c:pt idx="1664" formatCode="0.00">
                  <c:v>0.48427399834615548</c:v>
                </c:pt>
                <c:pt idx="1665" formatCode="0.00">
                  <c:v>0.48402380249564031</c:v>
                </c:pt>
                <c:pt idx="1666" formatCode="0.00">
                  <c:v>0.48113591602762706</c:v>
                </c:pt>
                <c:pt idx="1667" formatCode="0.00">
                  <c:v>0.4828681640396143</c:v>
                </c:pt>
                <c:pt idx="1668" formatCode="0.00">
                  <c:v>0.48288322344982282</c:v>
                </c:pt>
                <c:pt idx="1669" formatCode="0.00">
                  <c:v>0.4848053864428033</c:v>
                </c:pt>
                <c:pt idx="1670" formatCode="0.00">
                  <c:v>0.4807763162889484</c:v>
                </c:pt>
                <c:pt idx="1671" formatCode="0.00">
                  <c:v>0.48067975328609985</c:v>
                </c:pt>
                <c:pt idx="1672" formatCode="0.00">
                  <c:v>0.47970549980095906</c:v>
                </c:pt>
                <c:pt idx="1673" formatCode="0.00">
                  <c:v>0.47908403202397015</c:v>
                </c:pt>
                <c:pt idx="1674" formatCode="0.00">
                  <c:v>0.47949684155209638</c:v>
                </c:pt>
                <c:pt idx="1675" formatCode="0.00">
                  <c:v>0.47907727449097548</c:v>
                </c:pt>
                <c:pt idx="1676" formatCode="0.00">
                  <c:v>0.48036304591077311</c:v>
                </c:pt>
                <c:pt idx="1677" formatCode="0.00">
                  <c:v>0.48084365606531476</c:v>
                </c:pt>
                <c:pt idx="1678" formatCode="0.00">
                  <c:v>0.48094448223728903</c:v>
                </c:pt>
                <c:pt idx="1679" formatCode="0.00">
                  <c:v>0.47916848980878601</c:v>
                </c:pt>
                <c:pt idx="1680" formatCode="0.00">
                  <c:v>0.47613326302550524</c:v>
                </c:pt>
                <c:pt idx="1681" formatCode="0.00">
                  <c:v>0.472836267417863</c:v>
                </c:pt>
                <c:pt idx="1682" formatCode="0.00">
                  <c:v>0.47234788921976317</c:v>
                </c:pt>
                <c:pt idx="1683" formatCode="0.00">
                  <c:v>0.47156988365056696</c:v>
                </c:pt>
                <c:pt idx="1684" formatCode="0.00">
                  <c:v>0.47011147323332414</c:v>
                </c:pt>
                <c:pt idx="1685" formatCode="0.00">
                  <c:v>0.46900188112927094</c:v>
                </c:pt>
                <c:pt idx="1686" formatCode="0.00">
                  <c:v>0.46918358342596839</c:v>
                </c:pt>
                <c:pt idx="1687" formatCode="0.00">
                  <c:v>0.47604077597995031</c:v>
                </c:pt>
                <c:pt idx="1688" formatCode="0.00">
                  <c:v>0.47734673360571656</c:v>
                </c:pt>
                <c:pt idx="1689" formatCode="0.00">
                  <c:v>0.47701412715471181</c:v>
                </c:pt>
                <c:pt idx="1690" formatCode="0.00">
                  <c:v>0.47780946114462219</c:v>
                </c:pt>
                <c:pt idx="1691" formatCode="0.00">
                  <c:v>0.48326271203338372</c:v>
                </c:pt>
                <c:pt idx="1692" formatCode="0.00">
                  <c:v>0.48241570253337174</c:v>
                </c:pt>
                <c:pt idx="1693" formatCode="0.00">
                  <c:v>0.4819212878951909</c:v>
                </c:pt>
                <c:pt idx="1694" formatCode="0.00">
                  <c:v>0.48200319263118196</c:v>
                </c:pt>
                <c:pt idx="1695" formatCode="0.00">
                  <c:v>0.48272529322212565</c:v>
                </c:pt>
                <c:pt idx="1696" formatCode="0.00">
                  <c:v>0.48275223921068894</c:v>
                </c:pt>
                <c:pt idx="1697" formatCode="0.00">
                  <c:v>0.48275502751522281</c:v>
                </c:pt>
                <c:pt idx="1698" formatCode="0.00">
                  <c:v>0.48283112035797332</c:v>
                </c:pt>
                <c:pt idx="1699" formatCode="0.00">
                  <c:v>0.48276022981681005</c:v>
                </c:pt>
                <c:pt idx="1700" formatCode="0.00">
                  <c:v>0.48293297136020735</c:v>
                </c:pt>
                <c:pt idx="1701" formatCode="0.00">
                  <c:v>0.48350653704571589</c:v>
                </c:pt>
                <c:pt idx="1702" formatCode="0.00">
                  <c:v>0.48360058608293516</c:v>
                </c:pt>
                <c:pt idx="1703" formatCode="0.00">
                  <c:v>0.48362042891040591</c:v>
                </c:pt>
                <c:pt idx="1704" formatCode="0.00">
                  <c:v>0.48439975112946659</c:v>
                </c:pt>
                <c:pt idx="1705" formatCode="0.00">
                  <c:v>0.48401278236824857</c:v>
                </c:pt>
                <c:pt idx="1706" formatCode="0.00">
                  <c:v>0.48427161647867079</c:v>
                </c:pt>
                <c:pt idx="1707" formatCode="0.00">
                  <c:v>0.48262163276503955</c:v>
                </c:pt>
                <c:pt idx="1708" formatCode="0.00">
                  <c:v>0.48096326610204021</c:v>
                </c:pt>
                <c:pt idx="1709" formatCode="0.00">
                  <c:v>0.48077572900057175</c:v>
                </c:pt>
                <c:pt idx="1710" formatCode="0.00">
                  <c:v>0.48107542982571044</c:v>
                </c:pt>
                <c:pt idx="1711" formatCode="0.00">
                  <c:v>0.47982171363042092</c:v>
                </c:pt>
                <c:pt idx="1712" formatCode="0.00">
                  <c:v>0.47950312944971046</c:v>
                </c:pt>
                <c:pt idx="1713" formatCode="0.00">
                  <c:v>0.47559777618789867</c:v>
                </c:pt>
                <c:pt idx="1714" formatCode="0.00">
                  <c:v>0.474807570421452</c:v>
                </c:pt>
                <c:pt idx="1715" formatCode="0.00">
                  <c:v>0.46969175326187002</c:v>
                </c:pt>
                <c:pt idx="1716" formatCode="0.00">
                  <c:v>0.46930783432981277</c:v>
                </c:pt>
                <c:pt idx="1717" formatCode="0.00">
                  <c:v>0.46977816254592575</c:v>
                </c:pt>
                <c:pt idx="1718" formatCode="0.00">
                  <c:v>0.47089710457548539</c:v>
                </c:pt>
                <c:pt idx="1719" formatCode="0.00">
                  <c:v>0.47128230781737757</c:v>
                </c:pt>
                <c:pt idx="1720" formatCode="0.00">
                  <c:v>0.47115984420700208</c:v>
                </c:pt>
                <c:pt idx="1721" formatCode="0.00">
                  <c:v>0.47328867475655312</c:v>
                </c:pt>
                <c:pt idx="1722" formatCode="0.00">
                  <c:v>0.47264561274819372</c:v>
                </c:pt>
                <c:pt idx="1723" formatCode="0.00">
                  <c:v>0.46743113712946066</c:v>
                </c:pt>
                <c:pt idx="1724" formatCode="0.00">
                  <c:v>0.46626307104231579</c:v>
                </c:pt>
                <c:pt idx="1725" formatCode="0.00">
                  <c:v>0.47383209337528359</c:v>
                </c:pt>
                <c:pt idx="1726" formatCode="0.00">
                  <c:v>0.47549209524825314</c:v>
                </c:pt>
                <c:pt idx="1727" formatCode="0.00">
                  <c:v>0.47595595359926601</c:v>
                </c:pt>
                <c:pt idx="1728" formatCode="0.00">
                  <c:v>0.48005948501644868</c:v>
                </c:pt>
                <c:pt idx="1729" formatCode="0.00">
                  <c:v>0.48728248003892349</c:v>
                </c:pt>
                <c:pt idx="1730" formatCode="0.00">
                  <c:v>0.49175429106905183</c:v>
                </c:pt>
                <c:pt idx="1731" formatCode="0.00">
                  <c:v>0.49175557298715095</c:v>
                </c:pt>
                <c:pt idx="1732" formatCode="0.00">
                  <c:v>0.49222736694021346</c:v>
                </c:pt>
                <c:pt idx="1733" formatCode="0.00">
                  <c:v>0.4925792774469287</c:v>
                </c:pt>
                <c:pt idx="1734" formatCode="0.00">
                  <c:v>0.50788673903736103</c:v>
                </c:pt>
                <c:pt idx="1735" formatCode="0.00">
                  <c:v>0.51773760803306468</c:v>
                </c:pt>
                <c:pt idx="1736" formatCode="0.00">
                  <c:v>0.51662396360509288</c:v>
                </c:pt>
                <c:pt idx="1737" formatCode="0.00">
                  <c:v>0.51827226770868373</c:v>
                </c:pt>
                <c:pt idx="1738" formatCode="0.00">
                  <c:v>0.53130640906212023</c:v>
                </c:pt>
                <c:pt idx="1739" formatCode="0.00">
                  <c:v>0.53008164219586718</c:v>
                </c:pt>
                <c:pt idx="1740" formatCode="0.00">
                  <c:v>0.5366006908201626</c:v>
                </c:pt>
                <c:pt idx="1741" formatCode="0.00">
                  <c:v>0.53650082741474514</c:v>
                </c:pt>
                <c:pt idx="1742" formatCode="0.00">
                  <c:v>0.53587144131705777</c:v>
                </c:pt>
                <c:pt idx="1743" formatCode="0.00">
                  <c:v>0.53678086001419079</c:v>
                </c:pt>
                <c:pt idx="1744" formatCode="0.00">
                  <c:v>0.53711478895270437</c:v>
                </c:pt>
                <c:pt idx="1745" formatCode="0.00">
                  <c:v>0.53746934848220362</c:v>
                </c:pt>
                <c:pt idx="1746" formatCode="0.00">
                  <c:v>0.53780489441150203</c:v>
                </c:pt>
                <c:pt idx="1747" formatCode="0.00">
                  <c:v>0.54047216985124613</c:v>
                </c:pt>
                <c:pt idx="1748" formatCode="0.00">
                  <c:v>0.54074109051536012</c:v>
                </c:pt>
                <c:pt idx="1749" formatCode="0.00">
                  <c:v>0.54025962293644836</c:v>
                </c:pt>
                <c:pt idx="1750" formatCode="0.00">
                  <c:v>0.53942220185571921</c:v>
                </c:pt>
                <c:pt idx="1751" formatCode="0.00">
                  <c:v>0.53944256677189106</c:v>
                </c:pt>
                <c:pt idx="1752" formatCode="0.00">
                  <c:v>0.53945591469336351</c:v>
                </c:pt>
                <c:pt idx="1753" formatCode="0.00">
                  <c:v>0.53921943376872494</c:v>
                </c:pt>
                <c:pt idx="1754" formatCode="0.00">
                  <c:v>0.53861353880043739</c:v>
                </c:pt>
                <c:pt idx="1755" formatCode="0.00">
                  <c:v>0.53943015297184016</c:v>
                </c:pt>
                <c:pt idx="1756" formatCode="0.00">
                  <c:v>0.54148643440499578</c:v>
                </c:pt>
                <c:pt idx="1757" formatCode="0.00">
                  <c:v>0.54417278289096227</c:v>
                </c:pt>
                <c:pt idx="1758" formatCode="0.00">
                  <c:v>0.54415489619413504</c:v>
                </c:pt>
                <c:pt idx="1759" formatCode="0.00">
                  <c:v>0.54842368601655556</c:v>
                </c:pt>
                <c:pt idx="1760" formatCode="0.00">
                  <c:v>0.54790098257813702</c:v>
                </c:pt>
                <c:pt idx="1761" formatCode="0.00">
                  <c:v>0.54748516765059663</c:v>
                </c:pt>
                <c:pt idx="1762" formatCode="0.00">
                  <c:v>0.54736083423701665</c:v>
                </c:pt>
                <c:pt idx="1763" formatCode="0.00">
                  <c:v>0.54761610426815255</c:v>
                </c:pt>
                <c:pt idx="1764" formatCode="0.00">
                  <c:v>0.56526200594875819</c:v>
                </c:pt>
                <c:pt idx="1765" formatCode="0.00">
                  <c:v>0.5712058578066469</c:v>
                </c:pt>
                <c:pt idx="1766" formatCode="0.00">
                  <c:v>0.56943605710992473</c:v>
                </c:pt>
                <c:pt idx="1767" formatCode="0.00">
                  <c:v>0.56447181932531076</c:v>
                </c:pt>
                <c:pt idx="1768" formatCode="0.00">
                  <c:v>0.56679339872296963</c:v>
                </c:pt>
                <c:pt idx="1769" formatCode="0.00">
                  <c:v>0.56694548204733208</c:v>
                </c:pt>
                <c:pt idx="1770" formatCode="0.00">
                  <c:v>0.56253018046683756</c:v>
                </c:pt>
                <c:pt idx="1771" formatCode="0.00">
                  <c:v>0.56249848181000617</c:v>
                </c:pt>
                <c:pt idx="1772" formatCode="0.00">
                  <c:v>0.5621112295132461</c:v>
                </c:pt>
                <c:pt idx="1773" formatCode="0.00">
                  <c:v>0.56281045401597241</c:v>
                </c:pt>
                <c:pt idx="1774" formatCode="0.00">
                  <c:v>0.56211252532714751</c:v>
                </c:pt>
                <c:pt idx="1775" formatCode="0.00">
                  <c:v>0.56453115539978305</c:v>
                </c:pt>
                <c:pt idx="1776" formatCode="0.00">
                  <c:v>0.56639571263028088</c:v>
                </c:pt>
                <c:pt idx="1777" formatCode="0.00">
                  <c:v>0.5664630549791958</c:v>
                </c:pt>
                <c:pt idx="1778" formatCode="0.00">
                  <c:v>0.5651354028958161</c:v>
                </c:pt>
                <c:pt idx="1779" formatCode="0.00">
                  <c:v>0.56698673615599604</c:v>
                </c:pt>
                <c:pt idx="1780" formatCode="0.00">
                  <c:v>0.56713906436584482</c:v>
                </c:pt>
                <c:pt idx="1781" formatCode="0.00">
                  <c:v>0.56563388536890213</c:v>
                </c:pt>
                <c:pt idx="1782" formatCode="0.00">
                  <c:v>0.56640929042264476</c:v>
                </c:pt>
                <c:pt idx="1783" formatCode="0.00">
                  <c:v>0.56627304581139903</c:v>
                </c:pt>
                <c:pt idx="1784" formatCode="0.00">
                  <c:v>0.56964594074159247</c:v>
                </c:pt>
                <c:pt idx="1785" formatCode="0.00">
                  <c:v>0.56970748442878416</c:v>
                </c:pt>
                <c:pt idx="1786" formatCode="0.00">
                  <c:v>0.56420812115992913</c:v>
                </c:pt>
                <c:pt idx="1787" formatCode="0.00">
                  <c:v>0.56147386326612303</c:v>
                </c:pt>
                <c:pt idx="1788" formatCode="0.00">
                  <c:v>0.56598620956936829</c:v>
                </c:pt>
                <c:pt idx="1789" formatCode="0.00">
                  <c:v>0.56764998342760031</c:v>
                </c:pt>
                <c:pt idx="1790" formatCode="0.00">
                  <c:v>0.56207651734427089</c:v>
                </c:pt>
                <c:pt idx="1791" formatCode="0.00">
                  <c:v>0.56208229564531276</c:v>
                </c:pt>
                <c:pt idx="1792" formatCode="0.00">
                  <c:v>0.56077076944051996</c:v>
                </c:pt>
                <c:pt idx="1793" formatCode="0.00">
                  <c:v>0.56073066835608243</c:v>
                </c:pt>
                <c:pt idx="1794" formatCode="0.00">
                  <c:v>0.56210363019690801</c:v>
                </c:pt>
                <c:pt idx="1795" formatCode="0.00">
                  <c:v>0.56435615209572199</c:v>
                </c:pt>
                <c:pt idx="1796" formatCode="0.00">
                  <c:v>0.56708669796456823</c:v>
                </c:pt>
                <c:pt idx="1797" formatCode="0.00">
                  <c:v>0.56770749486941752</c:v>
                </c:pt>
                <c:pt idx="1798" formatCode="0.00">
                  <c:v>0.56869348888818616</c:v>
                </c:pt>
                <c:pt idx="1799" formatCode="0.00">
                  <c:v>0.57043033672397414</c:v>
                </c:pt>
                <c:pt idx="1800" formatCode="0.00">
                  <c:v>0.56992511157662917</c:v>
                </c:pt>
                <c:pt idx="1801" formatCode="0.00">
                  <c:v>0.56994516326723976</c:v>
                </c:pt>
                <c:pt idx="1802" formatCode="0.00">
                  <c:v>0.57011714863191731</c:v>
                </c:pt>
                <c:pt idx="1803" formatCode="0.00">
                  <c:v>0.56784070267442366</c:v>
                </c:pt>
                <c:pt idx="1804" formatCode="0.00">
                  <c:v>0.56703440768480684</c:v>
                </c:pt>
                <c:pt idx="1805" formatCode="0.00">
                  <c:v>0.56701083027707844</c:v>
                </c:pt>
                <c:pt idx="1806" formatCode="0.00">
                  <c:v>0.56714621536024346</c:v>
                </c:pt>
                <c:pt idx="1807" formatCode="0.00">
                  <c:v>0.56757166377123647</c:v>
                </c:pt>
                <c:pt idx="1808" formatCode="0.00">
                  <c:v>0.56964556751801321</c:v>
                </c:pt>
                <c:pt idx="1809" formatCode="0.00">
                  <c:v>0.57136305741454829</c:v>
                </c:pt>
                <c:pt idx="1810" formatCode="0.00">
                  <c:v>0.57238399376593929</c:v>
                </c:pt>
                <c:pt idx="1811" formatCode="0.00">
                  <c:v>0.57276009154002205</c:v>
                </c:pt>
                <c:pt idx="1812" formatCode="0.00">
                  <c:v>0.57250257609108413</c:v>
                </c:pt>
                <c:pt idx="1813" formatCode="0.00">
                  <c:v>0.57229410543857517</c:v>
                </c:pt>
                <c:pt idx="1814" formatCode="0.00">
                  <c:v>0.57233422198144823</c:v>
                </c:pt>
                <c:pt idx="1815" formatCode="0.00">
                  <c:v>0.57574050717279968</c:v>
                </c:pt>
                <c:pt idx="1816" formatCode="0.00">
                  <c:v>0.57498648866172597</c:v>
                </c:pt>
                <c:pt idx="1817" formatCode="0.00">
                  <c:v>0.57433172156908008</c:v>
                </c:pt>
                <c:pt idx="1818" formatCode="0.00">
                  <c:v>0.57499053073140494</c:v>
                </c:pt>
                <c:pt idx="1819" formatCode="0.00">
                  <c:v>0.57498735899754527</c:v>
                </c:pt>
                <c:pt idx="1820" formatCode="0.00">
                  <c:v>0.57461377223074084</c:v>
                </c:pt>
                <c:pt idx="1821" formatCode="0.00">
                  <c:v>0.57338332597415398</c:v>
                </c:pt>
                <c:pt idx="1822" formatCode="0.00">
                  <c:v>0.57282013270349874</c:v>
                </c:pt>
                <c:pt idx="1823" formatCode="0.00">
                  <c:v>0.57413235389408834</c:v>
                </c:pt>
                <c:pt idx="1824" formatCode="0.00">
                  <c:v>0.57223190113741951</c:v>
                </c:pt>
                <c:pt idx="1825" formatCode="0.00">
                  <c:v>0.57234831146267429</c:v>
                </c:pt>
                <c:pt idx="1826" formatCode="0.00">
                  <c:v>0.57263965155461516</c:v>
                </c:pt>
                <c:pt idx="1827" formatCode="0.00">
                  <c:v>0.57305005452014335</c:v>
                </c:pt>
                <c:pt idx="1828" formatCode="0.00">
                  <c:v>0.57528833822960046</c:v>
                </c:pt>
                <c:pt idx="1829" formatCode="0.00">
                  <c:v>0.57761446987925757</c:v>
                </c:pt>
                <c:pt idx="1830" formatCode="0.00">
                  <c:v>0.57699624270742822</c:v>
                </c:pt>
                <c:pt idx="1831" formatCode="0.00">
                  <c:v>0.57819832169356356</c:v>
                </c:pt>
                <c:pt idx="1832" formatCode="0.00">
                  <c:v>0.57805356861133883</c:v>
                </c:pt>
                <c:pt idx="1833" formatCode="0.00">
                  <c:v>0.57833753425654877</c:v>
                </c:pt>
                <c:pt idx="1834" formatCode="0.00">
                  <c:v>0.57686923105494869</c:v>
                </c:pt>
                <c:pt idx="1835" formatCode="0.00">
                  <c:v>0.57726699335005727</c:v>
                </c:pt>
                <c:pt idx="1836" formatCode="0.00">
                  <c:v>0.57674013694397364</c:v>
                </c:pt>
                <c:pt idx="1837" formatCode="0.00">
                  <c:v>0.57757821656592279</c:v>
                </c:pt>
                <c:pt idx="1838" formatCode="0.00">
                  <c:v>0.57930913675541618</c:v>
                </c:pt>
                <c:pt idx="1839" formatCode="0.00">
                  <c:v>0.57973099544829898</c:v>
                </c:pt>
                <c:pt idx="1840" formatCode="0.00">
                  <c:v>0.58018192381888778</c:v>
                </c:pt>
                <c:pt idx="1841" formatCode="0.00">
                  <c:v>0.57997694457511084</c:v>
                </c:pt>
                <c:pt idx="1842" formatCode="0.00">
                  <c:v>0.57977288311065034</c:v>
                </c:pt>
                <c:pt idx="1843" formatCode="0.00">
                  <c:v>0.58025992073717136</c:v>
                </c:pt>
                <c:pt idx="1844" formatCode="0.00">
                  <c:v>0.58151183739582368</c:v>
                </c:pt>
                <c:pt idx="1845" formatCode="0.00">
                  <c:v>0.5854577979026101</c:v>
                </c:pt>
                <c:pt idx="1846" formatCode="0.00">
                  <c:v>0.58573074221221777</c:v>
                </c:pt>
                <c:pt idx="1847" formatCode="0.00">
                  <c:v>0.58504654646540166</c:v>
                </c:pt>
                <c:pt idx="1848" formatCode="0.00">
                  <c:v>0.58527417516013147</c:v>
                </c:pt>
                <c:pt idx="1849" formatCode="0.00">
                  <c:v>0.58482376350292575</c:v>
                </c:pt>
                <c:pt idx="1850" formatCode="0.00">
                  <c:v>0.58375828268543273</c:v>
                </c:pt>
                <c:pt idx="1851" formatCode="0.00">
                  <c:v>0.5838747457504555</c:v>
                </c:pt>
                <c:pt idx="1852" formatCode="0.00">
                  <c:v>0.5838205276849382</c:v>
                </c:pt>
                <c:pt idx="1853" formatCode="0.00">
                  <c:v>0.58479870125923983</c:v>
                </c:pt>
                <c:pt idx="1854" formatCode="0.00">
                  <c:v>0.58797024649275498</c:v>
                </c:pt>
                <c:pt idx="1855" formatCode="0.00">
                  <c:v>0.58885641623063956</c:v>
                </c:pt>
                <c:pt idx="1856" formatCode="0.00">
                  <c:v>0.59354281144255139</c:v>
                </c:pt>
                <c:pt idx="1857" formatCode="0.00">
                  <c:v>0.59437458241693253</c:v>
                </c:pt>
                <c:pt idx="1858" formatCode="0.00">
                  <c:v>0.593477109763347</c:v>
                </c:pt>
                <c:pt idx="1859" formatCode="0.00">
                  <c:v>0.59318113683084495</c:v>
                </c:pt>
                <c:pt idx="1860" formatCode="0.00">
                  <c:v>0.59273536203170463</c:v>
                </c:pt>
                <c:pt idx="1861" formatCode="0.00">
                  <c:v>0.59189832291220723</c:v>
                </c:pt>
                <c:pt idx="1862" formatCode="0.00">
                  <c:v>0.58984104999191223</c:v>
                </c:pt>
                <c:pt idx="1863" formatCode="0.00">
                  <c:v>0.58980277790328717</c:v>
                </c:pt>
                <c:pt idx="1864" formatCode="0.00">
                  <c:v>0.59292532681942589</c:v>
                </c:pt>
                <c:pt idx="1865" formatCode="0.00">
                  <c:v>0.59950781582186785</c:v>
                </c:pt>
                <c:pt idx="1866" formatCode="0.00">
                  <c:v>0.59741143448466738</c:v>
                </c:pt>
                <c:pt idx="1867" formatCode="0.00">
                  <c:v>0.59671557587633317</c:v>
                </c:pt>
                <c:pt idx="1868" formatCode="0.00">
                  <c:v>0.59865886383838696</c:v>
                </c:pt>
                <c:pt idx="1869" formatCode="0.00">
                  <c:v>0.59552794782598906</c:v>
                </c:pt>
                <c:pt idx="1870" formatCode="0.00">
                  <c:v>0.59475579296401693</c:v>
                </c:pt>
                <c:pt idx="1871" formatCode="0.00">
                  <c:v>0.59663919775125884</c:v>
                </c:pt>
                <c:pt idx="1872" formatCode="0.00">
                  <c:v>0.59672323223550172</c:v>
                </c:pt>
                <c:pt idx="1873" formatCode="0.00">
                  <c:v>0.59473075892600336</c:v>
                </c:pt>
                <c:pt idx="1874" formatCode="0.00">
                  <c:v>0.59427837347115486</c:v>
                </c:pt>
                <c:pt idx="1875" formatCode="0.00">
                  <c:v>0.5942330045075408</c:v>
                </c:pt>
                <c:pt idx="1876" formatCode="0.00">
                  <c:v>0.59760009112548573</c:v>
                </c:pt>
                <c:pt idx="1877" formatCode="0.00">
                  <c:v>0.59781886418502783</c:v>
                </c:pt>
                <c:pt idx="1878" formatCode="0.00">
                  <c:v>0.59676486285158736</c:v>
                </c:pt>
                <c:pt idx="1879" formatCode="0.00">
                  <c:v>0.5968169385354738</c:v>
                </c:pt>
              </c:numCache>
            </c:numRef>
          </c:val>
          <c:smooth val="0"/>
        </c:ser>
        <c:ser>
          <c:idx val="2"/>
          <c:order val="1"/>
          <c:tx>
            <c:strRef>
              <c:f>'fixed target'!$N$18</c:f>
              <c:strCache>
                <c:ptCount val="1"/>
                <c:pt idx="0">
                  <c:v>70% reduciton target</c:v>
                </c:pt>
              </c:strCache>
            </c:strRef>
          </c:tx>
          <c:marker>
            <c:symbol val="none"/>
          </c:marker>
          <c:cat>
            <c:numRef>
              <c:f>'fixed target'!$B$19:$B$1898</c:f>
              <c:numCache>
                <c:formatCode>m/d/yyyy</c:formatCode>
                <c:ptCount val="1880"/>
                <c:pt idx="0">
                  <c:v>40987</c:v>
                </c:pt>
                <c:pt idx="1">
                  <c:v>40988</c:v>
                </c:pt>
                <c:pt idx="2">
                  <c:v>40989</c:v>
                </c:pt>
                <c:pt idx="3">
                  <c:v>40990</c:v>
                </c:pt>
                <c:pt idx="4">
                  <c:v>40991</c:v>
                </c:pt>
                <c:pt idx="5">
                  <c:v>40994</c:v>
                </c:pt>
                <c:pt idx="6">
                  <c:v>40995</c:v>
                </c:pt>
                <c:pt idx="7">
                  <c:v>40996</c:v>
                </c:pt>
                <c:pt idx="8">
                  <c:v>40997</c:v>
                </c:pt>
                <c:pt idx="9">
                  <c:v>40998</c:v>
                </c:pt>
                <c:pt idx="10">
                  <c:v>41001</c:v>
                </c:pt>
                <c:pt idx="11">
                  <c:v>41002</c:v>
                </c:pt>
                <c:pt idx="12">
                  <c:v>41003</c:v>
                </c:pt>
                <c:pt idx="13">
                  <c:v>41004</c:v>
                </c:pt>
                <c:pt idx="14">
                  <c:v>41005</c:v>
                </c:pt>
                <c:pt idx="15">
                  <c:v>41008</c:v>
                </c:pt>
                <c:pt idx="16">
                  <c:v>41009</c:v>
                </c:pt>
                <c:pt idx="17">
                  <c:v>41010</c:v>
                </c:pt>
                <c:pt idx="18">
                  <c:v>41011</c:v>
                </c:pt>
                <c:pt idx="19">
                  <c:v>41012</c:v>
                </c:pt>
                <c:pt idx="20">
                  <c:v>41015</c:v>
                </c:pt>
                <c:pt idx="21">
                  <c:v>41016</c:v>
                </c:pt>
                <c:pt idx="22">
                  <c:v>41017</c:v>
                </c:pt>
                <c:pt idx="23">
                  <c:v>41018</c:v>
                </c:pt>
                <c:pt idx="24">
                  <c:v>41019</c:v>
                </c:pt>
                <c:pt idx="25">
                  <c:v>41022</c:v>
                </c:pt>
                <c:pt idx="26">
                  <c:v>41023</c:v>
                </c:pt>
                <c:pt idx="27">
                  <c:v>41024</c:v>
                </c:pt>
                <c:pt idx="28">
                  <c:v>41025</c:v>
                </c:pt>
                <c:pt idx="29">
                  <c:v>41026</c:v>
                </c:pt>
                <c:pt idx="30">
                  <c:v>41029</c:v>
                </c:pt>
                <c:pt idx="31">
                  <c:v>41030</c:v>
                </c:pt>
                <c:pt idx="32">
                  <c:v>41031</c:v>
                </c:pt>
                <c:pt idx="33">
                  <c:v>41032</c:v>
                </c:pt>
                <c:pt idx="34">
                  <c:v>41033</c:v>
                </c:pt>
                <c:pt idx="35">
                  <c:v>41036</c:v>
                </c:pt>
                <c:pt idx="36">
                  <c:v>41037</c:v>
                </c:pt>
                <c:pt idx="37">
                  <c:v>41038</c:v>
                </c:pt>
                <c:pt idx="38">
                  <c:v>41039</c:v>
                </c:pt>
                <c:pt idx="39">
                  <c:v>41040</c:v>
                </c:pt>
                <c:pt idx="40">
                  <c:v>41043</c:v>
                </c:pt>
                <c:pt idx="41">
                  <c:v>41044</c:v>
                </c:pt>
                <c:pt idx="42">
                  <c:v>41045</c:v>
                </c:pt>
                <c:pt idx="43">
                  <c:v>41046</c:v>
                </c:pt>
                <c:pt idx="44">
                  <c:v>41047</c:v>
                </c:pt>
                <c:pt idx="45">
                  <c:v>41050</c:v>
                </c:pt>
                <c:pt idx="46">
                  <c:v>41051</c:v>
                </c:pt>
                <c:pt idx="47">
                  <c:v>41052</c:v>
                </c:pt>
                <c:pt idx="48">
                  <c:v>41053</c:v>
                </c:pt>
                <c:pt idx="49">
                  <c:v>41054</c:v>
                </c:pt>
                <c:pt idx="50">
                  <c:v>41057</c:v>
                </c:pt>
                <c:pt idx="51">
                  <c:v>41058</c:v>
                </c:pt>
                <c:pt idx="52">
                  <c:v>41059</c:v>
                </c:pt>
                <c:pt idx="53">
                  <c:v>41060</c:v>
                </c:pt>
                <c:pt idx="54">
                  <c:v>41061</c:v>
                </c:pt>
                <c:pt idx="55">
                  <c:v>41064</c:v>
                </c:pt>
                <c:pt idx="56">
                  <c:v>41065</c:v>
                </c:pt>
                <c:pt idx="57">
                  <c:v>41066</c:v>
                </c:pt>
                <c:pt idx="58">
                  <c:v>41067</c:v>
                </c:pt>
                <c:pt idx="59">
                  <c:v>41068</c:v>
                </c:pt>
                <c:pt idx="60">
                  <c:v>41071</c:v>
                </c:pt>
                <c:pt idx="61">
                  <c:v>41072</c:v>
                </c:pt>
                <c:pt idx="62">
                  <c:v>41073</c:v>
                </c:pt>
                <c:pt idx="63">
                  <c:v>41074</c:v>
                </c:pt>
                <c:pt idx="64">
                  <c:v>41075</c:v>
                </c:pt>
                <c:pt idx="65">
                  <c:v>41078</c:v>
                </c:pt>
                <c:pt idx="66">
                  <c:v>41079</c:v>
                </c:pt>
                <c:pt idx="67">
                  <c:v>41080</c:v>
                </c:pt>
                <c:pt idx="68">
                  <c:v>41081</c:v>
                </c:pt>
                <c:pt idx="69">
                  <c:v>41082</c:v>
                </c:pt>
                <c:pt idx="70">
                  <c:v>41085</c:v>
                </c:pt>
                <c:pt idx="71">
                  <c:v>41086</c:v>
                </c:pt>
                <c:pt idx="72">
                  <c:v>41087</c:v>
                </c:pt>
                <c:pt idx="73">
                  <c:v>41088</c:v>
                </c:pt>
                <c:pt idx="74">
                  <c:v>41089</c:v>
                </c:pt>
                <c:pt idx="75">
                  <c:v>41092</c:v>
                </c:pt>
                <c:pt idx="76">
                  <c:v>41093</c:v>
                </c:pt>
                <c:pt idx="77">
                  <c:v>41094</c:v>
                </c:pt>
                <c:pt idx="78">
                  <c:v>41095</c:v>
                </c:pt>
                <c:pt idx="79">
                  <c:v>41096</c:v>
                </c:pt>
                <c:pt idx="80">
                  <c:v>41099</c:v>
                </c:pt>
                <c:pt idx="81">
                  <c:v>41100</c:v>
                </c:pt>
                <c:pt idx="82">
                  <c:v>41101</c:v>
                </c:pt>
                <c:pt idx="83">
                  <c:v>41102</c:v>
                </c:pt>
                <c:pt idx="84">
                  <c:v>41103</c:v>
                </c:pt>
                <c:pt idx="85">
                  <c:v>41106</c:v>
                </c:pt>
                <c:pt idx="86">
                  <c:v>41107</c:v>
                </c:pt>
                <c:pt idx="87">
                  <c:v>41108</c:v>
                </c:pt>
                <c:pt idx="88">
                  <c:v>41109</c:v>
                </c:pt>
                <c:pt idx="89">
                  <c:v>41110</c:v>
                </c:pt>
                <c:pt idx="90">
                  <c:v>41113</c:v>
                </c:pt>
                <c:pt idx="91">
                  <c:v>41114</c:v>
                </c:pt>
                <c:pt idx="92">
                  <c:v>41115</c:v>
                </c:pt>
                <c:pt idx="93">
                  <c:v>41116</c:v>
                </c:pt>
                <c:pt idx="94">
                  <c:v>41117</c:v>
                </c:pt>
                <c:pt idx="95">
                  <c:v>41120</c:v>
                </c:pt>
                <c:pt idx="96">
                  <c:v>41121</c:v>
                </c:pt>
                <c:pt idx="97">
                  <c:v>41122</c:v>
                </c:pt>
                <c:pt idx="98">
                  <c:v>41123</c:v>
                </c:pt>
                <c:pt idx="99">
                  <c:v>41124</c:v>
                </c:pt>
                <c:pt idx="100">
                  <c:v>41127</c:v>
                </c:pt>
                <c:pt idx="101">
                  <c:v>41128</c:v>
                </c:pt>
                <c:pt idx="102">
                  <c:v>41129</c:v>
                </c:pt>
                <c:pt idx="103">
                  <c:v>41130</c:v>
                </c:pt>
                <c:pt idx="104">
                  <c:v>41131</c:v>
                </c:pt>
                <c:pt idx="105">
                  <c:v>41134</c:v>
                </c:pt>
                <c:pt idx="106">
                  <c:v>41135</c:v>
                </c:pt>
                <c:pt idx="107">
                  <c:v>41136</c:v>
                </c:pt>
                <c:pt idx="108">
                  <c:v>41137</c:v>
                </c:pt>
                <c:pt idx="109">
                  <c:v>41138</c:v>
                </c:pt>
                <c:pt idx="110">
                  <c:v>41141</c:v>
                </c:pt>
                <c:pt idx="111">
                  <c:v>41142</c:v>
                </c:pt>
                <c:pt idx="112">
                  <c:v>41143</c:v>
                </c:pt>
                <c:pt idx="113">
                  <c:v>41144</c:v>
                </c:pt>
                <c:pt idx="114">
                  <c:v>41145</c:v>
                </c:pt>
                <c:pt idx="115">
                  <c:v>41148</c:v>
                </c:pt>
                <c:pt idx="116">
                  <c:v>41149</c:v>
                </c:pt>
                <c:pt idx="117">
                  <c:v>41150</c:v>
                </c:pt>
                <c:pt idx="118">
                  <c:v>41151</c:v>
                </c:pt>
                <c:pt idx="119">
                  <c:v>41152</c:v>
                </c:pt>
                <c:pt idx="120">
                  <c:v>41155</c:v>
                </c:pt>
                <c:pt idx="121">
                  <c:v>41156</c:v>
                </c:pt>
                <c:pt idx="122">
                  <c:v>41157</c:v>
                </c:pt>
                <c:pt idx="123">
                  <c:v>41158</c:v>
                </c:pt>
                <c:pt idx="124">
                  <c:v>41159</c:v>
                </c:pt>
                <c:pt idx="125">
                  <c:v>41162</c:v>
                </c:pt>
                <c:pt idx="126">
                  <c:v>41163</c:v>
                </c:pt>
                <c:pt idx="127">
                  <c:v>41164</c:v>
                </c:pt>
                <c:pt idx="128">
                  <c:v>41165</c:v>
                </c:pt>
                <c:pt idx="129">
                  <c:v>41166</c:v>
                </c:pt>
                <c:pt idx="130">
                  <c:v>41169</c:v>
                </c:pt>
                <c:pt idx="131">
                  <c:v>41170</c:v>
                </c:pt>
                <c:pt idx="132">
                  <c:v>41171</c:v>
                </c:pt>
                <c:pt idx="133">
                  <c:v>41172</c:v>
                </c:pt>
                <c:pt idx="134">
                  <c:v>41173</c:v>
                </c:pt>
                <c:pt idx="135">
                  <c:v>41176</c:v>
                </c:pt>
                <c:pt idx="136">
                  <c:v>41177</c:v>
                </c:pt>
                <c:pt idx="137">
                  <c:v>41178</c:v>
                </c:pt>
                <c:pt idx="138">
                  <c:v>41179</c:v>
                </c:pt>
                <c:pt idx="139">
                  <c:v>41180</c:v>
                </c:pt>
                <c:pt idx="140">
                  <c:v>41183</c:v>
                </c:pt>
                <c:pt idx="141">
                  <c:v>41184</c:v>
                </c:pt>
                <c:pt idx="142">
                  <c:v>41185</c:v>
                </c:pt>
                <c:pt idx="143">
                  <c:v>41186</c:v>
                </c:pt>
                <c:pt idx="144">
                  <c:v>41187</c:v>
                </c:pt>
                <c:pt idx="145">
                  <c:v>41190</c:v>
                </c:pt>
                <c:pt idx="146">
                  <c:v>41191</c:v>
                </c:pt>
                <c:pt idx="147">
                  <c:v>41192</c:v>
                </c:pt>
                <c:pt idx="148">
                  <c:v>41193</c:v>
                </c:pt>
                <c:pt idx="149">
                  <c:v>41194</c:v>
                </c:pt>
                <c:pt idx="150">
                  <c:v>41197</c:v>
                </c:pt>
                <c:pt idx="151">
                  <c:v>41198</c:v>
                </c:pt>
                <c:pt idx="152">
                  <c:v>41199</c:v>
                </c:pt>
                <c:pt idx="153">
                  <c:v>41200</c:v>
                </c:pt>
                <c:pt idx="154">
                  <c:v>41201</c:v>
                </c:pt>
                <c:pt idx="155">
                  <c:v>41204</c:v>
                </c:pt>
                <c:pt idx="156">
                  <c:v>41205</c:v>
                </c:pt>
                <c:pt idx="157">
                  <c:v>41206</c:v>
                </c:pt>
                <c:pt idx="158">
                  <c:v>41207</c:v>
                </c:pt>
                <c:pt idx="159">
                  <c:v>41208</c:v>
                </c:pt>
                <c:pt idx="160">
                  <c:v>41211</c:v>
                </c:pt>
                <c:pt idx="161">
                  <c:v>41212</c:v>
                </c:pt>
                <c:pt idx="162">
                  <c:v>41213</c:v>
                </c:pt>
                <c:pt idx="163">
                  <c:v>41214</c:v>
                </c:pt>
                <c:pt idx="164">
                  <c:v>41215</c:v>
                </c:pt>
                <c:pt idx="165">
                  <c:v>41218</c:v>
                </c:pt>
                <c:pt idx="166">
                  <c:v>41219</c:v>
                </c:pt>
                <c:pt idx="167">
                  <c:v>41220</c:v>
                </c:pt>
                <c:pt idx="168">
                  <c:v>41221</c:v>
                </c:pt>
                <c:pt idx="169">
                  <c:v>41222</c:v>
                </c:pt>
                <c:pt idx="170">
                  <c:v>41225</c:v>
                </c:pt>
                <c:pt idx="171">
                  <c:v>41226</c:v>
                </c:pt>
                <c:pt idx="172">
                  <c:v>41227</c:v>
                </c:pt>
                <c:pt idx="173">
                  <c:v>41228</c:v>
                </c:pt>
                <c:pt idx="174">
                  <c:v>41229</c:v>
                </c:pt>
                <c:pt idx="175">
                  <c:v>41232</c:v>
                </c:pt>
                <c:pt idx="176">
                  <c:v>41233</c:v>
                </c:pt>
                <c:pt idx="177">
                  <c:v>41234</c:v>
                </c:pt>
                <c:pt idx="178">
                  <c:v>41235</c:v>
                </c:pt>
                <c:pt idx="179">
                  <c:v>41236</c:v>
                </c:pt>
                <c:pt idx="180">
                  <c:v>41239</c:v>
                </c:pt>
                <c:pt idx="181">
                  <c:v>41240</c:v>
                </c:pt>
                <c:pt idx="182">
                  <c:v>41241</c:v>
                </c:pt>
                <c:pt idx="183">
                  <c:v>41242</c:v>
                </c:pt>
                <c:pt idx="184">
                  <c:v>41243</c:v>
                </c:pt>
                <c:pt idx="185">
                  <c:v>41246</c:v>
                </c:pt>
                <c:pt idx="186">
                  <c:v>41247</c:v>
                </c:pt>
                <c:pt idx="187">
                  <c:v>41248</c:v>
                </c:pt>
                <c:pt idx="188">
                  <c:v>41249</c:v>
                </c:pt>
                <c:pt idx="189">
                  <c:v>41250</c:v>
                </c:pt>
                <c:pt idx="190">
                  <c:v>41253</c:v>
                </c:pt>
                <c:pt idx="191">
                  <c:v>41254</c:v>
                </c:pt>
                <c:pt idx="192">
                  <c:v>41255</c:v>
                </c:pt>
                <c:pt idx="193">
                  <c:v>41256</c:v>
                </c:pt>
                <c:pt idx="194">
                  <c:v>41257</c:v>
                </c:pt>
                <c:pt idx="195">
                  <c:v>41260</c:v>
                </c:pt>
                <c:pt idx="196">
                  <c:v>41261</c:v>
                </c:pt>
                <c:pt idx="197">
                  <c:v>41262</c:v>
                </c:pt>
                <c:pt idx="198">
                  <c:v>41263</c:v>
                </c:pt>
                <c:pt idx="199">
                  <c:v>41264</c:v>
                </c:pt>
                <c:pt idx="200">
                  <c:v>41267</c:v>
                </c:pt>
                <c:pt idx="201">
                  <c:v>41268</c:v>
                </c:pt>
                <c:pt idx="202">
                  <c:v>41269</c:v>
                </c:pt>
                <c:pt idx="203">
                  <c:v>41270</c:v>
                </c:pt>
                <c:pt idx="204">
                  <c:v>41271</c:v>
                </c:pt>
                <c:pt idx="205">
                  <c:v>41274</c:v>
                </c:pt>
                <c:pt idx="206">
                  <c:v>41275</c:v>
                </c:pt>
                <c:pt idx="207">
                  <c:v>41276</c:v>
                </c:pt>
                <c:pt idx="208">
                  <c:v>41277</c:v>
                </c:pt>
                <c:pt idx="209">
                  <c:v>41278</c:v>
                </c:pt>
                <c:pt idx="210">
                  <c:v>41281</c:v>
                </c:pt>
                <c:pt idx="211">
                  <c:v>41282</c:v>
                </c:pt>
                <c:pt idx="212">
                  <c:v>41283</c:v>
                </c:pt>
                <c:pt idx="213">
                  <c:v>41284</c:v>
                </c:pt>
                <c:pt idx="214">
                  <c:v>41285</c:v>
                </c:pt>
                <c:pt idx="215">
                  <c:v>41288</c:v>
                </c:pt>
                <c:pt idx="216">
                  <c:v>41289</c:v>
                </c:pt>
                <c:pt idx="217">
                  <c:v>41290</c:v>
                </c:pt>
                <c:pt idx="218">
                  <c:v>41291</c:v>
                </c:pt>
                <c:pt idx="219">
                  <c:v>41292</c:v>
                </c:pt>
                <c:pt idx="220">
                  <c:v>41295</c:v>
                </c:pt>
                <c:pt idx="221">
                  <c:v>41296</c:v>
                </c:pt>
                <c:pt idx="222">
                  <c:v>41297</c:v>
                </c:pt>
                <c:pt idx="223">
                  <c:v>41298</c:v>
                </c:pt>
                <c:pt idx="224">
                  <c:v>41299</c:v>
                </c:pt>
                <c:pt idx="225">
                  <c:v>41302</c:v>
                </c:pt>
                <c:pt idx="226">
                  <c:v>41303</c:v>
                </c:pt>
                <c:pt idx="227">
                  <c:v>41304</c:v>
                </c:pt>
                <c:pt idx="228">
                  <c:v>41305</c:v>
                </c:pt>
                <c:pt idx="229">
                  <c:v>41306</c:v>
                </c:pt>
                <c:pt idx="230">
                  <c:v>41309</c:v>
                </c:pt>
                <c:pt idx="231">
                  <c:v>41310</c:v>
                </c:pt>
                <c:pt idx="232">
                  <c:v>41311</c:v>
                </c:pt>
                <c:pt idx="233">
                  <c:v>41312</c:v>
                </c:pt>
                <c:pt idx="234">
                  <c:v>41313</c:v>
                </c:pt>
                <c:pt idx="235">
                  <c:v>41316</c:v>
                </c:pt>
                <c:pt idx="236">
                  <c:v>41317</c:v>
                </c:pt>
                <c:pt idx="237">
                  <c:v>41318</c:v>
                </c:pt>
                <c:pt idx="238">
                  <c:v>41319</c:v>
                </c:pt>
                <c:pt idx="239">
                  <c:v>41320</c:v>
                </c:pt>
                <c:pt idx="240">
                  <c:v>41323</c:v>
                </c:pt>
                <c:pt idx="241">
                  <c:v>41324</c:v>
                </c:pt>
                <c:pt idx="242">
                  <c:v>41325</c:v>
                </c:pt>
                <c:pt idx="243">
                  <c:v>41326</c:v>
                </c:pt>
                <c:pt idx="244">
                  <c:v>41327</c:v>
                </c:pt>
                <c:pt idx="245">
                  <c:v>41330</c:v>
                </c:pt>
                <c:pt idx="246">
                  <c:v>41331</c:v>
                </c:pt>
                <c:pt idx="247">
                  <c:v>41332</c:v>
                </c:pt>
                <c:pt idx="248">
                  <c:v>41333</c:v>
                </c:pt>
                <c:pt idx="249">
                  <c:v>41334</c:v>
                </c:pt>
                <c:pt idx="250">
                  <c:v>41337</c:v>
                </c:pt>
                <c:pt idx="251">
                  <c:v>41338</c:v>
                </c:pt>
                <c:pt idx="252">
                  <c:v>41339</c:v>
                </c:pt>
                <c:pt idx="253">
                  <c:v>41340</c:v>
                </c:pt>
                <c:pt idx="254">
                  <c:v>41341</c:v>
                </c:pt>
                <c:pt idx="255">
                  <c:v>41344</c:v>
                </c:pt>
                <c:pt idx="256">
                  <c:v>41345</c:v>
                </c:pt>
                <c:pt idx="257">
                  <c:v>41346</c:v>
                </c:pt>
                <c:pt idx="258">
                  <c:v>41347</c:v>
                </c:pt>
                <c:pt idx="259">
                  <c:v>41348</c:v>
                </c:pt>
                <c:pt idx="260">
                  <c:v>41351</c:v>
                </c:pt>
                <c:pt idx="261">
                  <c:v>41352</c:v>
                </c:pt>
                <c:pt idx="262">
                  <c:v>41353</c:v>
                </c:pt>
                <c:pt idx="263">
                  <c:v>41354</c:v>
                </c:pt>
                <c:pt idx="264">
                  <c:v>41355</c:v>
                </c:pt>
                <c:pt idx="265">
                  <c:v>41358</c:v>
                </c:pt>
                <c:pt idx="266">
                  <c:v>41359</c:v>
                </c:pt>
                <c:pt idx="267">
                  <c:v>41360</c:v>
                </c:pt>
                <c:pt idx="268">
                  <c:v>41361</c:v>
                </c:pt>
                <c:pt idx="269">
                  <c:v>41362</c:v>
                </c:pt>
                <c:pt idx="270">
                  <c:v>41365</c:v>
                </c:pt>
                <c:pt idx="271">
                  <c:v>41366</c:v>
                </c:pt>
                <c:pt idx="272">
                  <c:v>41367</c:v>
                </c:pt>
                <c:pt idx="273">
                  <c:v>41368</c:v>
                </c:pt>
                <c:pt idx="274">
                  <c:v>41369</c:v>
                </c:pt>
                <c:pt idx="275">
                  <c:v>41372</c:v>
                </c:pt>
                <c:pt idx="276">
                  <c:v>41373</c:v>
                </c:pt>
                <c:pt idx="277">
                  <c:v>41374</c:v>
                </c:pt>
                <c:pt idx="278">
                  <c:v>41375</c:v>
                </c:pt>
                <c:pt idx="279">
                  <c:v>41376</c:v>
                </c:pt>
                <c:pt idx="280">
                  <c:v>41379</c:v>
                </c:pt>
                <c:pt idx="281">
                  <c:v>41380</c:v>
                </c:pt>
                <c:pt idx="282">
                  <c:v>41381</c:v>
                </c:pt>
                <c:pt idx="283">
                  <c:v>41382</c:v>
                </c:pt>
                <c:pt idx="284">
                  <c:v>41383</c:v>
                </c:pt>
                <c:pt idx="285">
                  <c:v>41386</c:v>
                </c:pt>
                <c:pt idx="286">
                  <c:v>41387</c:v>
                </c:pt>
                <c:pt idx="287">
                  <c:v>41388</c:v>
                </c:pt>
                <c:pt idx="288">
                  <c:v>41389</c:v>
                </c:pt>
                <c:pt idx="289">
                  <c:v>41390</c:v>
                </c:pt>
                <c:pt idx="290">
                  <c:v>41393</c:v>
                </c:pt>
                <c:pt idx="291">
                  <c:v>41394</c:v>
                </c:pt>
                <c:pt idx="292">
                  <c:v>41395</c:v>
                </c:pt>
                <c:pt idx="293">
                  <c:v>41396</c:v>
                </c:pt>
                <c:pt idx="294">
                  <c:v>41397</c:v>
                </c:pt>
                <c:pt idx="295">
                  <c:v>41400</c:v>
                </c:pt>
                <c:pt idx="296">
                  <c:v>41401</c:v>
                </c:pt>
                <c:pt idx="297">
                  <c:v>41402</c:v>
                </c:pt>
                <c:pt idx="298">
                  <c:v>41403</c:v>
                </c:pt>
                <c:pt idx="299">
                  <c:v>41404</c:v>
                </c:pt>
                <c:pt idx="300">
                  <c:v>41407</c:v>
                </c:pt>
                <c:pt idx="301">
                  <c:v>41408</c:v>
                </c:pt>
                <c:pt idx="302">
                  <c:v>41409</c:v>
                </c:pt>
                <c:pt idx="303">
                  <c:v>41410</c:v>
                </c:pt>
                <c:pt idx="304">
                  <c:v>41411</c:v>
                </c:pt>
                <c:pt idx="305">
                  <c:v>41414</c:v>
                </c:pt>
                <c:pt idx="306">
                  <c:v>41415</c:v>
                </c:pt>
                <c:pt idx="307">
                  <c:v>41416</c:v>
                </c:pt>
                <c:pt idx="308">
                  <c:v>41417</c:v>
                </c:pt>
                <c:pt idx="309">
                  <c:v>41418</c:v>
                </c:pt>
                <c:pt idx="310">
                  <c:v>41421</c:v>
                </c:pt>
                <c:pt idx="311">
                  <c:v>41422</c:v>
                </c:pt>
                <c:pt idx="312">
                  <c:v>41423</c:v>
                </c:pt>
                <c:pt idx="313">
                  <c:v>41424</c:v>
                </c:pt>
                <c:pt idx="314">
                  <c:v>41425</c:v>
                </c:pt>
                <c:pt idx="315">
                  <c:v>41428</c:v>
                </c:pt>
                <c:pt idx="316">
                  <c:v>41429</c:v>
                </c:pt>
                <c:pt idx="317">
                  <c:v>41430</c:v>
                </c:pt>
                <c:pt idx="318">
                  <c:v>41431</c:v>
                </c:pt>
                <c:pt idx="319">
                  <c:v>41432</c:v>
                </c:pt>
                <c:pt idx="320">
                  <c:v>41435</c:v>
                </c:pt>
                <c:pt idx="321">
                  <c:v>41436</c:v>
                </c:pt>
                <c:pt idx="322">
                  <c:v>41437</c:v>
                </c:pt>
                <c:pt idx="323">
                  <c:v>41438</c:v>
                </c:pt>
                <c:pt idx="324">
                  <c:v>41439</c:v>
                </c:pt>
                <c:pt idx="325">
                  <c:v>41442</c:v>
                </c:pt>
                <c:pt idx="326">
                  <c:v>41443</c:v>
                </c:pt>
                <c:pt idx="327">
                  <c:v>41444</c:v>
                </c:pt>
                <c:pt idx="328">
                  <c:v>41445</c:v>
                </c:pt>
                <c:pt idx="329">
                  <c:v>41446</c:v>
                </c:pt>
                <c:pt idx="330">
                  <c:v>41449</c:v>
                </c:pt>
                <c:pt idx="331">
                  <c:v>41450</c:v>
                </c:pt>
                <c:pt idx="332">
                  <c:v>41451</c:v>
                </c:pt>
                <c:pt idx="333">
                  <c:v>41452</c:v>
                </c:pt>
                <c:pt idx="334">
                  <c:v>41453</c:v>
                </c:pt>
                <c:pt idx="335">
                  <c:v>41456</c:v>
                </c:pt>
                <c:pt idx="336">
                  <c:v>41457</c:v>
                </c:pt>
                <c:pt idx="337">
                  <c:v>41458</c:v>
                </c:pt>
                <c:pt idx="338">
                  <c:v>41459</c:v>
                </c:pt>
                <c:pt idx="339">
                  <c:v>41460</c:v>
                </c:pt>
                <c:pt idx="340">
                  <c:v>41463</c:v>
                </c:pt>
                <c:pt idx="341">
                  <c:v>41464</c:v>
                </c:pt>
                <c:pt idx="342">
                  <c:v>41465</c:v>
                </c:pt>
                <c:pt idx="343">
                  <c:v>41466</c:v>
                </c:pt>
                <c:pt idx="344">
                  <c:v>41467</c:v>
                </c:pt>
                <c:pt idx="345">
                  <c:v>41470</c:v>
                </c:pt>
                <c:pt idx="346">
                  <c:v>41471</c:v>
                </c:pt>
                <c:pt idx="347">
                  <c:v>41472</c:v>
                </c:pt>
                <c:pt idx="348">
                  <c:v>41473</c:v>
                </c:pt>
                <c:pt idx="349">
                  <c:v>41474</c:v>
                </c:pt>
                <c:pt idx="350">
                  <c:v>41477</c:v>
                </c:pt>
                <c:pt idx="351">
                  <c:v>41478</c:v>
                </c:pt>
                <c:pt idx="352">
                  <c:v>41479</c:v>
                </c:pt>
                <c:pt idx="353">
                  <c:v>41480</c:v>
                </c:pt>
                <c:pt idx="354">
                  <c:v>41481</c:v>
                </c:pt>
                <c:pt idx="355">
                  <c:v>41484</c:v>
                </c:pt>
                <c:pt idx="356">
                  <c:v>41485</c:v>
                </c:pt>
                <c:pt idx="357">
                  <c:v>41486</c:v>
                </c:pt>
                <c:pt idx="358">
                  <c:v>41487</c:v>
                </c:pt>
                <c:pt idx="359">
                  <c:v>41488</c:v>
                </c:pt>
                <c:pt idx="360">
                  <c:v>41491</c:v>
                </c:pt>
                <c:pt idx="361">
                  <c:v>41492</c:v>
                </c:pt>
                <c:pt idx="362">
                  <c:v>41493</c:v>
                </c:pt>
                <c:pt idx="363">
                  <c:v>41494</c:v>
                </c:pt>
                <c:pt idx="364">
                  <c:v>41495</c:v>
                </c:pt>
                <c:pt idx="365">
                  <c:v>41498</c:v>
                </c:pt>
                <c:pt idx="366">
                  <c:v>41499</c:v>
                </c:pt>
                <c:pt idx="367">
                  <c:v>41500</c:v>
                </c:pt>
                <c:pt idx="368">
                  <c:v>41501</c:v>
                </c:pt>
                <c:pt idx="369">
                  <c:v>41502</c:v>
                </c:pt>
                <c:pt idx="370">
                  <c:v>41505</c:v>
                </c:pt>
                <c:pt idx="371">
                  <c:v>41506</c:v>
                </c:pt>
                <c:pt idx="372">
                  <c:v>41507</c:v>
                </c:pt>
                <c:pt idx="373">
                  <c:v>41508</c:v>
                </c:pt>
                <c:pt idx="374">
                  <c:v>41509</c:v>
                </c:pt>
                <c:pt idx="375">
                  <c:v>41512</c:v>
                </c:pt>
                <c:pt idx="376">
                  <c:v>41513</c:v>
                </c:pt>
                <c:pt idx="377">
                  <c:v>41514</c:v>
                </c:pt>
                <c:pt idx="378">
                  <c:v>41515</c:v>
                </c:pt>
                <c:pt idx="379">
                  <c:v>41516</c:v>
                </c:pt>
                <c:pt idx="380">
                  <c:v>41519</c:v>
                </c:pt>
                <c:pt idx="381">
                  <c:v>41520</c:v>
                </c:pt>
                <c:pt idx="382">
                  <c:v>41521</c:v>
                </c:pt>
                <c:pt idx="383">
                  <c:v>41522</c:v>
                </c:pt>
                <c:pt idx="384">
                  <c:v>41523</c:v>
                </c:pt>
                <c:pt idx="385">
                  <c:v>41526</c:v>
                </c:pt>
                <c:pt idx="386">
                  <c:v>41527</c:v>
                </c:pt>
                <c:pt idx="387">
                  <c:v>41528</c:v>
                </c:pt>
                <c:pt idx="388">
                  <c:v>41529</c:v>
                </c:pt>
                <c:pt idx="389">
                  <c:v>41530</c:v>
                </c:pt>
                <c:pt idx="390">
                  <c:v>41533</c:v>
                </c:pt>
                <c:pt idx="391">
                  <c:v>41534</c:v>
                </c:pt>
                <c:pt idx="392">
                  <c:v>41535</c:v>
                </c:pt>
                <c:pt idx="393">
                  <c:v>41536</c:v>
                </c:pt>
                <c:pt idx="394">
                  <c:v>41537</c:v>
                </c:pt>
                <c:pt idx="395">
                  <c:v>41540</c:v>
                </c:pt>
                <c:pt idx="396">
                  <c:v>41541</c:v>
                </c:pt>
                <c:pt idx="397">
                  <c:v>41542</c:v>
                </c:pt>
                <c:pt idx="398">
                  <c:v>41543</c:v>
                </c:pt>
                <c:pt idx="399">
                  <c:v>41544</c:v>
                </c:pt>
                <c:pt idx="400">
                  <c:v>41547</c:v>
                </c:pt>
                <c:pt idx="401">
                  <c:v>41548</c:v>
                </c:pt>
                <c:pt idx="402">
                  <c:v>41549</c:v>
                </c:pt>
                <c:pt idx="403">
                  <c:v>41550</c:v>
                </c:pt>
                <c:pt idx="404">
                  <c:v>41551</c:v>
                </c:pt>
                <c:pt idx="405">
                  <c:v>41554</c:v>
                </c:pt>
                <c:pt idx="406">
                  <c:v>41555</c:v>
                </c:pt>
                <c:pt idx="407">
                  <c:v>41556</c:v>
                </c:pt>
                <c:pt idx="408">
                  <c:v>41557</c:v>
                </c:pt>
                <c:pt idx="409">
                  <c:v>41558</c:v>
                </c:pt>
                <c:pt idx="410">
                  <c:v>41561</c:v>
                </c:pt>
                <c:pt idx="411">
                  <c:v>41562</c:v>
                </c:pt>
                <c:pt idx="412">
                  <c:v>41563</c:v>
                </c:pt>
                <c:pt idx="413">
                  <c:v>41564</c:v>
                </c:pt>
                <c:pt idx="414">
                  <c:v>41565</c:v>
                </c:pt>
                <c:pt idx="415">
                  <c:v>41568</c:v>
                </c:pt>
                <c:pt idx="416">
                  <c:v>41569</c:v>
                </c:pt>
                <c:pt idx="417">
                  <c:v>41570</c:v>
                </c:pt>
                <c:pt idx="418">
                  <c:v>41571</c:v>
                </c:pt>
                <c:pt idx="419">
                  <c:v>41572</c:v>
                </c:pt>
                <c:pt idx="420">
                  <c:v>41575</c:v>
                </c:pt>
                <c:pt idx="421">
                  <c:v>41576</c:v>
                </c:pt>
                <c:pt idx="422">
                  <c:v>41577</c:v>
                </c:pt>
                <c:pt idx="423">
                  <c:v>41578</c:v>
                </c:pt>
                <c:pt idx="424">
                  <c:v>41579</c:v>
                </c:pt>
                <c:pt idx="425">
                  <c:v>41582</c:v>
                </c:pt>
                <c:pt idx="426">
                  <c:v>41583</c:v>
                </c:pt>
                <c:pt idx="427">
                  <c:v>41584</c:v>
                </c:pt>
                <c:pt idx="428">
                  <c:v>41585</c:v>
                </c:pt>
                <c:pt idx="429">
                  <c:v>41586</c:v>
                </c:pt>
                <c:pt idx="430">
                  <c:v>41589</c:v>
                </c:pt>
                <c:pt idx="431">
                  <c:v>41590</c:v>
                </c:pt>
                <c:pt idx="432">
                  <c:v>41591</c:v>
                </c:pt>
                <c:pt idx="433">
                  <c:v>41592</c:v>
                </c:pt>
                <c:pt idx="434">
                  <c:v>41593</c:v>
                </c:pt>
                <c:pt idx="435">
                  <c:v>41596</c:v>
                </c:pt>
                <c:pt idx="436">
                  <c:v>41597</c:v>
                </c:pt>
                <c:pt idx="437">
                  <c:v>41598</c:v>
                </c:pt>
                <c:pt idx="438">
                  <c:v>41599</c:v>
                </c:pt>
                <c:pt idx="439">
                  <c:v>41600</c:v>
                </c:pt>
                <c:pt idx="440">
                  <c:v>41603</c:v>
                </c:pt>
                <c:pt idx="441">
                  <c:v>41604</c:v>
                </c:pt>
                <c:pt idx="442">
                  <c:v>41605</c:v>
                </c:pt>
                <c:pt idx="443">
                  <c:v>41606</c:v>
                </c:pt>
                <c:pt idx="444">
                  <c:v>41607</c:v>
                </c:pt>
                <c:pt idx="445">
                  <c:v>41610</c:v>
                </c:pt>
                <c:pt idx="446">
                  <c:v>41611</c:v>
                </c:pt>
                <c:pt idx="447">
                  <c:v>41612</c:v>
                </c:pt>
                <c:pt idx="448">
                  <c:v>41613</c:v>
                </c:pt>
                <c:pt idx="449">
                  <c:v>41614</c:v>
                </c:pt>
                <c:pt idx="450">
                  <c:v>41617</c:v>
                </c:pt>
                <c:pt idx="451">
                  <c:v>41618</c:v>
                </c:pt>
                <c:pt idx="452">
                  <c:v>41619</c:v>
                </c:pt>
                <c:pt idx="453">
                  <c:v>41620</c:v>
                </c:pt>
                <c:pt idx="454">
                  <c:v>41621</c:v>
                </c:pt>
                <c:pt idx="455">
                  <c:v>41624</c:v>
                </c:pt>
                <c:pt idx="456">
                  <c:v>41625</c:v>
                </c:pt>
                <c:pt idx="457">
                  <c:v>41626</c:v>
                </c:pt>
                <c:pt idx="458">
                  <c:v>41627</c:v>
                </c:pt>
                <c:pt idx="459">
                  <c:v>41628</c:v>
                </c:pt>
                <c:pt idx="460">
                  <c:v>41631</c:v>
                </c:pt>
                <c:pt idx="461">
                  <c:v>41632</c:v>
                </c:pt>
                <c:pt idx="462">
                  <c:v>41633</c:v>
                </c:pt>
                <c:pt idx="463">
                  <c:v>41634</c:v>
                </c:pt>
                <c:pt idx="464">
                  <c:v>41635</c:v>
                </c:pt>
                <c:pt idx="465">
                  <c:v>41638</c:v>
                </c:pt>
                <c:pt idx="466">
                  <c:v>41639</c:v>
                </c:pt>
                <c:pt idx="467">
                  <c:v>41640</c:v>
                </c:pt>
                <c:pt idx="468">
                  <c:v>41641</c:v>
                </c:pt>
                <c:pt idx="469">
                  <c:v>41642</c:v>
                </c:pt>
                <c:pt idx="470">
                  <c:v>41645</c:v>
                </c:pt>
                <c:pt idx="471">
                  <c:v>41646</c:v>
                </c:pt>
                <c:pt idx="472">
                  <c:v>41647</c:v>
                </c:pt>
                <c:pt idx="473">
                  <c:v>41648</c:v>
                </c:pt>
                <c:pt idx="474">
                  <c:v>41649</c:v>
                </c:pt>
                <c:pt idx="475">
                  <c:v>41652</c:v>
                </c:pt>
                <c:pt idx="476">
                  <c:v>41653</c:v>
                </c:pt>
                <c:pt idx="477">
                  <c:v>41654</c:v>
                </c:pt>
                <c:pt idx="478">
                  <c:v>41655</c:v>
                </c:pt>
                <c:pt idx="479">
                  <c:v>41656</c:v>
                </c:pt>
                <c:pt idx="480">
                  <c:v>41659</c:v>
                </c:pt>
                <c:pt idx="481">
                  <c:v>41660</c:v>
                </c:pt>
                <c:pt idx="482">
                  <c:v>41661</c:v>
                </c:pt>
                <c:pt idx="483">
                  <c:v>41662</c:v>
                </c:pt>
                <c:pt idx="484">
                  <c:v>41663</c:v>
                </c:pt>
                <c:pt idx="485">
                  <c:v>41666</c:v>
                </c:pt>
                <c:pt idx="486">
                  <c:v>41667</c:v>
                </c:pt>
                <c:pt idx="487">
                  <c:v>41668</c:v>
                </c:pt>
                <c:pt idx="488">
                  <c:v>41669</c:v>
                </c:pt>
                <c:pt idx="489">
                  <c:v>41670</c:v>
                </c:pt>
                <c:pt idx="490">
                  <c:v>41673</c:v>
                </c:pt>
                <c:pt idx="491">
                  <c:v>41674</c:v>
                </c:pt>
                <c:pt idx="492">
                  <c:v>41675</c:v>
                </c:pt>
                <c:pt idx="493">
                  <c:v>41676</c:v>
                </c:pt>
                <c:pt idx="494">
                  <c:v>41677</c:v>
                </c:pt>
                <c:pt idx="495">
                  <c:v>41680</c:v>
                </c:pt>
                <c:pt idx="496">
                  <c:v>41681</c:v>
                </c:pt>
                <c:pt idx="497">
                  <c:v>41682</c:v>
                </c:pt>
                <c:pt idx="498">
                  <c:v>41683</c:v>
                </c:pt>
                <c:pt idx="499">
                  <c:v>41684</c:v>
                </c:pt>
                <c:pt idx="500">
                  <c:v>41687</c:v>
                </c:pt>
                <c:pt idx="501">
                  <c:v>41688</c:v>
                </c:pt>
                <c:pt idx="502">
                  <c:v>41689</c:v>
                </c:pt>
                <c:pt idx="503">
                  <c:v>41690</c:v>
                </c:pt>
                <c:pt idx="504">
                  <c:v>41691</c:v>
                </c:pt>
                <c:pt idx="505">
                  <c:v>41694</c:v>
                </c:pt>
                <c:pt idx="506">
                  <c:v>41695</c:v>
                </c:pt>
                <c:pt idx="507">
                  <c:v>41696</c:v>
                </c:pt>
                <c:pt idx="508">
                  <c:v>41697</c:v>
                </c:pt>
                <c:pt idx="509">
                  <c:v>41698</c:v>
                </c:pt>
                <c:pt idx="510">
                  <c:v>41701</c:v>
                </c:pt>
                <c:pt idx="511">
                  <c:v>41702</c:v>
                </c:pt>
                <c:pt idx="512">
                  <c:v>41703</c:v>
                </c:pt>
                <c:pt idx="513">
                  <c:v>41704</c:v>
                </c:pt>
                <c:pt idx="514">
                  <c:v>41705</c:v>
                </c:pt>
                <c:pt idx="515">
                  <c:v>41708</c:v>
                </c:pt>
                <c:pt idx="516">
                  <c:v>41709</c:v>
                </c:pt>
                <c:pt idx="517">
                  <c:v>41710</c:v>
                </c:pt>
                <c:pt idx="518">
                  <c:v>41711</c:v>
                </c:pt>
                <c:pt idx="519">
                  <c:v>41712</c:v>
                </c:pt>
                <c:pt idx="520">
                  <c:v>41715</c:v>
                </c:pt>
                <c:pt idx="521">
                  <c:v>41716</c:v>
                </c:pt>
                <c:pt idx="522">
                  <c:v>41717</c:v>
                </c:pt>
                <c:pt idx="523">
                  <c:v>41718</c:v>
                </c:pt>
                <c:pt idx="524">
                  <c:v>41719</c:v>
                </c:pt>
                <c:pt idx="525">
                  <c:v>41722</c:v>
                </c:pt>
                <c:pt idx="526">
                  <c:v>41723</c:v>
                </c:pt>
                <c:pt idx="527">
                  <c:v>41724</c:v>
                </c:pt>
                <c:pt idx="528">
                  <c:v>41725</c:v>
                </c:pt>
                <c:pt idx="529">
                  <c:v>41726</c:v>
                </c:pt>
                <c:pt idx="530">
                  <c:v>41729</c:v>
                </c:pt>
                <c:pt idx="531">
                  <c:v>41730</c:v>
                </c:pt>
                <c:pt idx="532">
                  <c:v>41731</c:v>
                </c:pt>
                <c:pt idx="533">
                  <c:v>41732</c:v>
                </c:pt>
                <c:pt idx="534">
                  <c:v>41733</c:v>
                </c:pt>
                <c:pt idx="535">
                  <c:v>41736</c:v>
                </c:pt>
                <c:pt idx="536">
                  <c:v>41737</c:v>
                </c:pt>
                <c:pt idx="537">
                  <c:v>41738</c:v>
                </c:pt>
                <c:pt idx="538">
                  <c:v>41739</c:v>
                </c:pt>
                <c:pt idx="539">
                  <c:v>41740</c:v>
                </c:pt>
                <c:pt idx="540">
                  <c:v>41743</c:v>
                </c:pt>
                <c:pt idx="541">
                  <c:v>41744</c:v>
                </c:pt>
                <c:pt idx="542">
                  <c:v>41745</c:v>
                </c:pt>
                <c:pt idx="543">
                  <c:v>41746</c:v>
                </c:pt>
                <c:pt idx="544">
                  <c:v>41747</c:v>
                </c:pt>
                <c:pt idx="545">
                  <c:v>41750</c:v>
                </c:pt>
                <c:pt idx="546">
                  <c:v>41751</c:v>
                </c:pt>
                <c:pt idx="547">
                  <c:v>41752</c:v>
                </c:pt>
                <c:pt idx="548">
                  <c:v>41753</c:v>
                </c:pt>
                <c:pt idx="549">
                  <c:v>41754</c:v>
                </c:pt>
                <c:pt idx="550">
                  <c:v>41757</c:v>
                </c:pt>
                <c:pt idx="551">
                  <c:v>41758</c:v>
                </c:pt>
                <c:pt idx="552">
                  <c:v>41759</c:v>
                </c:pt>
                <c:pt idx="553">
                  <c:v>41760</c:v>
                </c:pt>
                <c:pt idx="554">
                  <c:v>41761</c:v>
                </c:pt>
                <c:pt idx="555">
                  <c:v>41764</c:v>
                </c:pt>
                <c:pt idx="556">
                  <c:v>41765</c:v>
                </c:pt>
                <c:pt idx="557">
                  <c:v>41766</c:v>
                </c:pt>
                <c:pt idx="558">
                  <c:v>41767</c:v>
                </c:pt>
                <c:pt idx="559">
                  <c:v>41768</c:v>
                </c:pt>
                <c:pt idx="560">
                  <c:v>41771</c:v>
                </c:pt>
                <c:pt idx="561">
                  <c:v>41772</c:v>
                </c:pt>
                <c:pt idx="562">
                  <c:v>41773</c:v>
                </c:pt>
                <c:pt idx="563">
                  <c:v>41774</c:v>
                </c:pt>
                <c:pt idx="564">
                  <c:v>41775</c:v>
                </c:pt>
                <c:pt idx="565">
                  <c:v>41778</c:v>
                </c:pt>
                <c:pt idx="566">
                  <c:v>41779</c:v>
                </c:pt>
                <c:pt idx="567">
                  <c:v>41780</c:v>
                </c:pt>
                <c:pt idx="568">
                  <c:v>41781</c:v>
                </c:pt>
                <c:pt idx="569">
                  <c:v>41782</c:v>
                </c:pt>
                <c:pt idx="570">
                  <c:v>41785</c:v>
                </c:pt>
                <c:pt idx="571">
                  <c:v>41786</c:v>
                </c:pt>
                <c:pt idx="572">
                  <c:v>41787</c:v>
                </c:pt>
                <c:pt idx="573">
                  <c:v>41788</c:v>
                </c:pt>
                <c:pt idx="574">
                  <c:v>41789</c:v>
                </c:pt>
                <c:pt idx="575">
                  <c:v>41792</c:v>
                </c:pt>
                <c:pt idx="576">
                  <c:v>41793</c:v>
                </c:pt>
                <c:pt idx="577">
                  <c:v>41794</c:v>
                </c:pt>
                <c:pt idx="578">
                  <c:v>41795</c:v>
                </c:pt>
                <c:pt idx="579">
                  <c:v>41796</c:v>
                </c:pt>
                <c:pt idx="580">
                  <c:v>41799</c:v>
                </c:pt>
                <c:pt idx="581">
                  <c:v>41800</c:v>
                </c:pt>
                <c:pt idx="582">
                  <c:v>41801</c:v>
                </c:pt>
                <c:pt idx="583">
                  <c:v>41802</c:v>
                </c:pt>
                <c:pt idx="584">
                  <c:v>41803</c:v>
                </c:pt>
                <c:pt idx="585">
                  <c:v>41806</c:v>
                </c:pt>
                <c:pt idx="586">
                  <c:v>41807</c:v>
                </c:pt>
                <c:pt idx="587">
                  <c:v>41808</c:v>
                </c:pt>
                <c:pt idx="588">
                  <c:v>41809</c:v>
                </c:pt>
                <c:pt idx="589">
                  <c:v>41810</c:v>
                </c:pt>
                <c:pt idx="590">
                  <c:v>41813</c:v>
                </c:pt>
                <c:pt idx="591">
                  <c:v>41814</c:v>
                </c:pt>
                <c:pt idx="592">
                  <c:v>41815</c:v>
                </c:pt>
                <c:pt idx="593">
                  <c:v>41816</c:v>
                </c:pt>
                <c:pt idx="594">
                  <c:v>41817</c:v>
                </c:pt>
                <c:pt idx="595">
                  <c:v>41820</c:v>
                </c:pt>
                <c:pt idx="596">
                  <c:v>41821</c:v>
                </c:pt>
                <c:pt idx="597">
                  <c:v>41822</c:v>
                </c:pt>
                <c:pt idx="598">
                  <c:v>41823</c:v>
                </c:pt>
                <c:pt idx="599">
                  <c:v>41824</c:v>
                </c:pt>
                <c:pt idx="600">
                  <c:v>41827</c:v>
                </c:pt>
                <c:pt idx="601">
                  <c:v>41828</c:v>
                </c:pt>
                <c:pt idx="602">
                  <c:v>41829</c:v>
                </c:pt>
                <c:pt idx="603">
                  <c:v>41830</c:v>
                </c:pt>
                <c:pt idx="604">
                  <c:v>41831</c:v>
                </c:pt>
                <c:pt idx="605">
                  <c:v>41834</c:v>
                </c:pt>
                <c:pt idx="606">
                  <c:v>41835</c:v>
                </c:pt>
                <c:pt idx="607">
                  <c:v>41836</c:v>
                </c:pt>
                <c:pt idx="608">
                  <c:v>41837</c:v>
                </c:pt>
                <c:pt idx="609">
                  <c:v>41838</c:v>
                </c:pt>
                <c:pt idx="610">
                  <c:v>41841</c:v>
                </c:pt>
                <c:pt idx="611">
                  <c:v>41842</c:v>
                </c:pt>
                <c:pt idx="612">
                  <c:v>41843</c:v>
                </c:pt>
                <c:pt idx="613">
                  <c:v>41844</c:v>
                </c:pt>
                <c:pt idx="614">
                  <c:v>41845</c:v>
                </c:pt>
                <c:pt idx="615">
                  <c:v>41848</c:v>
                </c:pt>
                <c:pt idx="616">
                  <c:v>41849</c:v>
                </c:pt>
                <c:pt idx="617">
                  <c:v>41850</c:v>
                </c:pt>
                <c:pt idx="618">
                  <c:v>41851</c:v>
                </c:pt>
                <c:pt idx="619">
                  <c:v>41852</c:v>
                </c:pt>
                <c:pt idx="620">
                  <c:v>41855</c:v>
                </c:pt>
                <c:pt idx="621">
                  <c:v>41856</c:v>
                </c:pt>
                <c:pt idx="622">
                  <c:v>41857</c:v>
                </c:pt>
                <c:pt idx="623">
                  <c:v>41858</c:v>
                </c:pt>
                <c:pt idx="624">
                  <c:v>41859</c:v>
                </c:pt>
                <c:pt idx="625">
                  <c:v>41862</c:v>
                </c:pt>
                <c:pt idx="626">
                  <c:v>41863</c:v>
                </c:pt>
                <c:pt idx="627">
                  <c:v>41864</c:v>
                </c:pt>
                <c:pt idx="628">
                  <c:v>41865</c:v>
                </c:pt>
                <c:pt idx="629">
                  <c:v>41866</c:v>
                </c:pt>
                <c:pt idx="630">
                  <c:v>41869</c:v>
                </c:pt>
                <c:pt idx="631">
                  <c:v>41870</c:v>
                </c:pt>
                <c:pt idx="632">
                  <c:v>41871</c:v>
                </c:pt>
                <c:pt idx="633">
                  <c:v>41872</c:v>
                </c:pt>
                <c:pt idx="634">
                  <c:v>41873</c:v>
                </c:pt>
                <c:pt idx="635">
                  <c:v>41876</c:v>
                </c:pt>
                <c:pt idx="636">
                  <c:v>41877</c:v>
                </c:pt>
                <c:pt idx="637">
                  <c:v>41878</c:v>
                </c:pt>
                <c:pt idx="638">
                  <c:v>41879</c:v>
                </c:pt>
                <c:pt idx="639">
                  <c:v>41880</c:v>
                </c:pt>
                <c:pt idx="640">
                  <c:v>41883</c:v>
                </c:pt>
                <c:pt idx="641">
                  <c:v>41884</c:v>
                </c:pt>
                <c:pt idx="642">
                  <c:v>41885</c:v>
                </c:pt>
                <c:pt idx="643">
                  <c:v>41886</c:v>
                </c:pt>
                <c:pt idx="644">
                  <c:v>41887</c:v>
                </c:pt>
                <c:pt idx="645">
                  <c:v>41890</c:v>
                </c:pt>
                <c:pt idx="646">
                  <c:v>41891</c:v>
                </c:pt>
                <c:pt idx="647">
                  <c:v>41892</c:v>
                </c:pt>
                <c:pt idx="648">
                  <c:v>41893</c:v>
                </c:pt>
                <c:pt idx="649">
                  <c:v>41894</c:v>
                </c:pt>
                <c:pt idx="650">
                  <c:v>41897</c:v>
                </c:pt>
                <c:pt idx="651">
                  <c:v>41898</c:v>
                </c:pt>
                <c:pt idx="652">
                  <c:v>41899</c:v>
                </c:pt>
                <c:pt idx="653">
                  <c:v>41900</c:v>
                </c:pt>
                <c:pt idx="654">
                  <c:v>41901</c:v>
                </c:pt>
                <c:pt idx="655">
                  <c:v>41904</c:v>
                </c:pt>
                <c:pt idx="656">
                  <c:v>41905</c:v>
                </c:pt>
                <c:pt idx="657">
                  <c:v>41906</c:v>
                </c:pt>
                <c:pt idx="658">
                  <c:v>41907</c:v>
                </c:pt>
                <c:pt idx="659">
                  <c:v>41908</c:v>
                </c:pt>
                <c:pt idx="660">
                  <c:v>41911</c:v>
                </c:pt>
                <c:pt idx="661">
                  <c:v>41912</c:v>
                </c:pt>
                <c:pt idx="662">
                  <c:v>41913</c:v>
                </c:pt>
                <c:pt idx="663">
                  <c:v>41914</c:v>
                </c:pt>
                <c:pt idx="664">
                  <c:v>41915</c:v>
                </c:pt>
                <c:pt idx="665">
                  <c:v>41918</c:v>
                </c:pt>
                <c:pt idx="666">
                  <c:v>41919</c:v>
                </c:pt>
                <c:pt idx="667">
                  <c:v>41920</c:v>
                </c:pt>
                <c:pt idx="668">
                  <c:v>41921</c:v>
                </c:pt>
                <c:pt idx="669">
                  <c:v>41922</c:v>
                </c:pt>
                <c:pt idx="670">
                  <c:v>41925</c:v>
                </c:pt>
                <c:pt idx="671">
                  <c:v>41926</c:v>
                </c:pt>
                <c:pt idx="672">
                  <c:v>41927</c:v>
                </c:pt>
                <c:pt idx="673">
                  <c:v>41928</c:v>
                </c:pt>
                <c:pt idx="674">
                  <c:v>41929</c:v>
                </c:pt>
                <c:pt idx="675">
                  <c:v>41932</c:v>
                </c:pt>
                <c:pt idx="676">
                  <c:v>41933</c:v>
                </c:pt>
                <c:pt idx="677">
                  <c:v>41934</c:v>
                </c:pt>
                <c:pt idx="678">
                  <c:v>41935</c:v>
                </c:pt>
                <c:pt idx="679">
                  <c:v>41936</c:v>
                </c:pt>
                <c:pt idx="680">
                  <c:v>41939</c:v>
                </c:pt>
                <c:pt idx="681">
                  <c:v>41940</c:v>
                </c:pt>
                <c:pt idx="682">
                  <c:v>41941</c:v>
                </c:pt>
                <c:pt idx="683">
                  <c:v>41942</c:v>
                </c:pt>
                <c:pt idx="684">
                  <c:v>41943</c:v>
                </c:pt>
                <c:pt idx="685">
                  <c:v>41946</c:v>
                </c:pt>
                <c:pt idx="686">
                  <c:v>41947</c:v>
                </c:pt>
                <c:pt idx="687">
                  <c:v>41948</c:v>
                </c:pt>
                <c:pt idx="688">
                  <c:v>41949</c:v>
                </c:pt>
                <c:pt idx="689">
                  <c:v>41950</c:v>
                </c:pt>
                <c:pt idx="690">
                  <c:v>41953</c:v>
                </c:pt>
                <c:pt idx="691">
                  <c:v>41954</c:v>
                </c:pt>
                <c:pt idx="692">
                  <c:v>41955</c:v>
                </c:pt>
                <c:pt idx="693">
                  <c:v>41956</c:v>
                </c:pt>
                <c:pt idx="694">
                  <c:v>41957</c:v>
                </c:pt>
                <c:pt idx="695">
                  <c:v>41960</c:v>
                </c:pt>
                <c:pt idx="696">
                  <c:v>41961</c:v>
                </c:pt>
                <c:pt idx="697">
                  <c:v>41962</c:v>
                </c:pt>
                <c:pt idx="698">
                  <c:v>41963</c:v>
                </c:pt>
                <c:pt idx="699">
                  <c:v>41964</c:v>
                </c:pt>
                <c:pt idx="700">
                  <c:v>41967</c:v>
                </c:pt>
                <c:pt idx="701">
                  <c:v>41968</c:v>
                </c:pt>
                <c:pt idx="702">
                  <c:v>41969</c:v>
                </c:pt>
                <c:pt idx="703">
                  <c:v>41970</c:v>
                </c:pt>
                <c:pt idx="704">
                  <c:v>41971</c:v>
                </c:pt>
                <c:pt idx="705">
                  <c:v>41974</c:v>
                </c:pt>
                <c:pt idx="706">
                  <c:v>41975</c:v>
                </c:pt>
                <c:pt idx="707">
                  <c:v>41976</c:v>
                </c:pt>
                <c:pt idx="708">
                  <c:v>41977</c:v>
                </c:pt>
                <c:pt idx="709">
                  <c:v>41978</c:v>
                </c:pt>
                <c:pt idx="710">
                  <c:v>41981</c:v>
                </c:pt>
                <c:pt idx="711">
                  <c:v>41982</c:v>
                </c:pt>
                <c:pt idx="712">
                  <c:v>41983</c:v>
                </c:pt>
                <c:pt idx="713">
                  <c:v>41984</c:v>
                </c:pt>
                <c:pt idx="714">
                  <c:v>41985</c:v>
                </c:pt>
                <c:pt idx="715">
                  <c:v>41988</c:v>
                </c:pt>
                <c:pt idx="716">
                  <c:v>41989</c:v>
                </c:pt>
                <c:pt idx="717">
                  <c:v>41990</c:v>
                </c:pt>
                <c:pt idx="718">
                  <c:v>41991</c:v>
                </c:pt>
                <c:pt idx="719">
                  <c:v>41992</c:v>
                </c:pt>
                <c:pt idx="720">
                  <c:v>41995</c:v>
                </c:pt>
                <c:pt idx="721">
                  <c:v>41996</c:v>
                </c:pt>
                <c:pt idx="722">
                  <c:v>41997</c:v>
                </c:pt>
                <c:pt idx="723">
                  <c:v>41998</c:v>
                </c:pt>
                <c:pt idx="724">
                  <c:v>41999</c:v>
                </c:pt>
                <c:pt idx="725">
                  <c:v>42002</c:v>
                </c:pt>
                <c:pt idx="726">
                  <c:v>42003</c:v>
                </c:pt>
                <c:pt idx="727">
                  <c:v>42004</c:v>
                </c:pt>
                <c:pt idx="728">
                  <c:v>42005</c:v>
                </c:pt>
                <c:pt idx="729">
                  <c:v>42006</c:v>
                </c:pt>
                <c:pt idx="730">
                  <c:v>42009</c:v>
                </c:pt>
                <c:pt idx="731">
                  <c:v>42010</c:v>
                </c:pt>
                <c:pt idx="732">
                  <c:v>42011</c:v>
                </c:pt>
                <c:pt idx="733">
                  <c:v>42012</c:v>
                </c:pt>
                <c:pt idx="734">
                  <c:v>42013</c:v>
                </c:pt>
                <c:pt idx="735">
                  <c:v>42016</c:v>
                </c:pt>
                <c:pt idx="736">
                  <c:v>42017</c:v>
                </c:pt>
                <c:pt idx="737">
                  <c:v>42018</c:v>
                </c:pt>
                <c:pt idx="738">
                  <c:v>42019</c:v>
                </c:pt>
                <c:pt idx="739">
                  <c:v>42020</c:v>
                </c:pt>
                <c:pt idx="740">
                  <c:v>42023</c:v>
                </c:pt>
                <c:pt idx="741">
                  <c:v>42024</c:v>
                </c:pt>
                <c:pt idx="742">
                  <c:v>42025</c:v>
                </c:pt>
                <c:pt idx="743">
                  <c:v>42026</c:v>
                </c:pt>
                <c:pt idx="744">
                  <c:v>42027</c:v>
                </c:pt>
                <c:pt idx="745">
                  <c:v>42030</c:v>
                </c:pt>
                <c:pt idx="746">
                  <c:v>42031</c:v>
                </c:pt>
                <c:pt idx="747">
                  <c:v>42032</c:v>
                </c:pt>
                <c:pt idx="748">
                  <c:v>42033</c:v>
                </c:pt>
                <c:pt idx="749">
                  <c:v>42034</c:v>
                </c:pt>
                <c:pt idx="750">
                  <c:v>42037</c:v>
                </c:pt>
                <c:pt idx="751">
                  <c:v>42038</c:v>
                </c:pt>
                <c:pt idx="752">
                  <c:v>42039</c:v>
                </c:pt>
                <c:pt idx="753">
                  <c:v>42040</c:v>
                </c:pt>
                <c:pt idx="754">
                  <c:v>42041</c:v>
                </c:pt>
                <c:pt idx="755">
                  <c:v>42044</c:v>
                </c:pt>
                <c:pt idx="756">
                  <c:v>42045</c:v>
                </c:pt>
                <c:pt idx="757">
                  <c:v>42046</c:v>
                </c:pt>
                <c:pt idx="758">
                  <c:v>42047</c:v>
                </c:pt>
                <c:pt idx="759">
                  <c:v>42048</c:v>
                </c:pt>
                <c:pt idx="760">
                  <c:v>42051</c:v>
                </c:pt>
                <c:pt idx="761">
                  <c:v>42052</c:v>
                </c:pt>
                <c:pt idx="762">
                  <c:v>42053</c:v>
                </c:pt>
                <c:pt idx="763">
                  <c:v>42054</c:v>
                </c:pt>
                <c:pt idx="764">
                  <c:v>42055</c:v>
                </c:pt>
                <c:pt idx="765">
                  <c:v>42058</c:v>
                </c:pt>
                <c:pt idx="766">
                  <c:v>42059</c:v>
                </c:pt>
                <c:pt idx="767">
                  <c:v>42060</c:v>
                </c:pt>
                <c:pt idx="768">
                  <c:v>42061</c:v>
                </c:pt>
                <c:pt idx="769">
                  <c:v>42062</c:v>
                </c:pt>
                <c:pt idx="770">
                  <c:v>42065</c:v>
                </c:pt>
                <c:pt idx="771">
                  <c:v>42066</c:v>
                </c:pt>
                <c:pt idx="772">
                  <c:v>42067</c:v>
                </c:pt>
                <c:pt idx="773">
                  <c:v>42068</c:v>
                </c:pt>
                <c:pt idx="774">
                  <c:v>42069</c:v>
                </c:pt>
                <c:pt idx="775">
                  <c:v>42072</c:v>
                </c:pt>
                <c:pt idx="776">
                  <c:v>42073</c:v>
                </c:pt>
                <c:pt idx="777">
                  <c:v>42074</c:v>
                </c:pt>
                <c:pt idx="778">
                  <c:v>42075</c:v>
                </c:pt>
                <c:pt idx="779">
                  <c:v>42076</c:v>
                </c:pt>
                <c:pt idx="780">
                  <c:v>42079</c:v>
                </c:pt>
                <c:pt idx="781">
                  <c:v>42080</c:v>
                </c:pt>
                <c:pt idx="782">
                  <c:v>42081</c:v>
                </c:pt>
                <c:pt idx="783">
                  <c:v>42082</c:v>
                </c:pt>
                <c:pt idx="784">
                  <c:v>42083</c:v>
                </c:pt>
                <c:pt idx="785">
                  <c:v>42086</c:v>
                </c:pt>
                <c:pt idx="786">
                  <c:v>42087</c:v>
                </c:pt>
                <c:pt idx="787">
                  <c:v>42088</c:v>
                </c:pt>
                <c:pt idx="788">
                  <c:v>42089</c:v>
                </c:pt>
                <c:pt idx="789">
                  <c:v>42090</c:v>
                </c:pt>
                <c:pt idx="790">
                  <c:v>42093</c:v>
                </c:pt>
                <c:pt idx="791">
                  <c:v>42094</c:v>
                </c:pt>
                <c:pt idx="792">
                  <c:v>42095</c:v>
                </c:pt>
                <c:pt idx="793">
                  <c:v>42096</c:v>
                </c:pt>
                <c:pt idx="794">
                  <c:v>42097</c:v>
                </c:pt>
                <c:pt idx="795">
                  <c:v>42100</c:v>
                </c:pt>
                <c:pt idx="796">
                  <c:v>42101</c:v>
                </c:pt>
                <c:pt idx="797">
                  <c:v>42102</c:v>
                </c:pt>
                <c:pt idx="798">
                  <c:v>42103</c:v>
                </c:pt>
                <c:pt idx="799">
                  <c:v>42104</c:v>
                </c:pt>
                <c:pt idx="800">
                  <c:v>42107</c:v>
                </c:pt>
                <c:pt idx="801">
                  <c:v>42108</c:v>
                </c:pt>
                <c:pt idx="802">
                  <c:v>42109</c:v>
                </c:pt>
                <c:pt idx="803">
                  <c:v>42110</c:v>
                </c:pt>
                <c:pt idx="804">
                  <c:v>42111</c:v>
                </c:pt>
                <c:pt idx="805">
                  <c:v>42114</c:v>
                </c:pt>
                <c:pt idx="806">
                  <c:v>42115</c:v>
                </c:pt>
                <c:pt idx="807">
                  <c:v>42116</c:v>
                </c:pt>
                <c:pt idx="808">
                  <c:v>42117</c:v>
                </c:pt>
                <c:pt idx="809">
                  <c:v>42118</c:v>
                </c:pt>
                <c:pt idx="810">
                  <c:v>42121</c:v>
                </c:pt>
                <c:pt idx="811">
                  <c:v>42122</c:v>
                </c:pt>
                <c:pt idx="812">
                  <c:v>42123</c:v>
                </c:pt>
                <c:pt idx="813">
                  <c:v>42124</c:v>
                </c:pt>
                <c:pt idx="814">
                  <c:v>42125</c:v>
                </c:pt>
                <c:pt idx="815">
                  <c:v>42128</c:v>
                </c:pt>
                <c:pt idx="816">
                  <c:v>42129</c:v>
                </c:pt>
                <c:pt idx="817">
                  <c:v>42130</c:v>
                </c:pt>
                <c:pt idx="818">
                  <c:v>42131</c:v>
                </c:pt>
                <c:pt idx="819">
                  <c:v>42132</c:v>
                </c:pt>
                <c:pt idx="820">
                  <c:v>42135</c:v>
                </c:pt>
                <c:pt idx="821">
                  <c:v>42136</c:v>
                </c:pt>
                <c:pt idx="822">
                  <c:v>42137</c:v>
                </c:pt>
                <c:pt idx="823">
                  <c:v>42138</c:v>
                </c:pt>
                <c:pt idx="824">
                  <c:v>42139</c:v>
                </c:pt>
                <c:pt idx="825">
                  <c:v>42142</c:v>
                </c:pt>
                <c:pt idx="826">
                  <c:v>42143</c:v>
                </c:pt>
                <c:pt idx="827">
                  <c:v>42144</c:v>
                </c:pt>
                <c:pt idx="828">
                  <c:v>42145</c:v>
                </c:pt>
                <c:pt idx="829">
                  <c:v>42146</c:v>
                </c:pt>
                <c:pt idx="830">
                  <c:v>42149</c:v>
                </c:pt>
                <c:pt idx="831">
                  <c:v>42150</c:v>
                </c:pt>
                <c:pt idx="832">
                  <c:v>42151</c:v>
                </c:pt>
                <c:pt idx="833">
                  <c:v>42152</c:v>
                </c:pt>
                <c:pt idx="834">
                  <c:v>42153</c:v>
                </c:pt>
                <c:pt idx="835">
                  <c:v>42156</c:v>
                </c:pt>
                <c:pt idx="836">
                  <c:v>42157</c:v>
                </c:pt>
                <c:pt idx="837">
                  <c:v>42158</c:v>
                </c:pt>
                <c:pt idx="838">
                  <c:v>42159</c:v>
                </c:pt>
                <c:pt idx="839">
                  <c:v>42160</c:v>
                </c:pt>
                <c:pt idx="840">
                  <c:v>42163</c:v>
                </c:pt>
                <c:pt idx="841">
                  <c:v>42164</c:v>
                </c:pt>
                <c:pt idx="842">
                  <c:v>42165</c:v>
                </c:pt>
                <c:pt idx="843">
                  <c:v>42166</c:v>
                </c:pt>
                <c:pt idx="844">
                  <c:v>42167</c:v>
                </c:pt>
                <c:pt idx="845">
                  <c:v>42170</c:v>
                </c:pt>
                <c:pt idx="846">
                  <c:v>42171</c:v>
                </c:pt>
                <c:pt idx="847">
                  <c:v>42172</c:v>
                </c:pt>
                <c:pt idx="848">
                  <c:v>42173</c:v>
                </c:pt>
                <c:pt idx="849">
                  <c:v>42174</c:v>
                </c:pt>
                <c:pt idx="850">
                  <c:v>42177</c:v>
                </c:pt>
                <c:pt idx="851">
                  <c:v>42178</c:v>
                </c:pt>
                <c:pt idx="852">
                  <c:v>42179</c:v>
                </c:pt>
                <c:pt idx="853">
                  <c:v>42180</c:v>
                </c:pt>
                <c:pt idx="854">
                  <c:v>42181</c:v>
                </c:pt>
                <c:pt idx="855">
                  <c:v>42184</c:v>
                </c:pt>
                <c:pt idx="856">
                  <c:v>42185</c:v>
                </c:pt>
                <c:pt idx="857">
                  <c:v>42186</c:v>
                </c:pt>
                <c:pt idx="858">
                  <c:v>42187</c:v>
                </c:pt>
                <c:pt idx="859">
                  <c:v>42188</c:v>
                </c:pt>
                <c:pt idx="860">
                  <c:v>42191</c:v>
                </c:pt>
                <c:pt idx="861">
                  <c:v>42192</c:v>
                </c:pt>
                <c:pt idx="862">
                  <c:v>42193</c:v>
                </c:pt>
                <c:pt idx="863">
                  <c:v>42194</c:v>
                </c:pt>
                <c:pt idx="864">
                  <c:v>42195</c:v>
                </c:pt>
                <c:pt idx="865">
                  <c:v>42198</c:v>
                </c:pt>
                <c:pt idx="866">
                  <c:v>42199</c:v>
                </c:pt>
                <c:pt idx="867">
                  <c:v>42200</c:v>
                </c:pt>
                <c:pt idx="868">
                  <c:v>42201</c:v>
                </c:pt>
                <c:pt idx="869">
                  <c:v>42202</c:v>
                </c:pt>
                <c:pt idx="870">
                  <c:v>42205</c:v>
                </c:pt>
                <c:pt idx="871">
                  <c:v>42206</c:v>
                </c:pt>
                <c:pt idx="872">
                  <c:v>42207</c:v>
                </c:pt>
                <c:pt idx="873">
                  <c:v>42208</c:v>
                </c:pt>
                <c:pt idx="874">
                  <c:v>42209</c:v>
                </c:pt>
                <c:pt idx="875">
                  <c:v>42212</c:v>
                </c:pt>
                <c:pt idx="876">
                  <c:v>42213</c:v>
                </c:pt>
                <c:pt idx="877">
                  <c:v>42214</c:v>
                </c:pt>
                <c:pt idx="878">
                  <c:v>42215</c:v>
                </c:pt>
                <c:pt idx="879">
                  <c:v>42216</c:v>
                </c:pt>
                <c:pt idx="880">
                  <c:v>42219</c:v>
                </c:pt>
                <c:pt idx="881">
                  <c:v>42220</c:v>
                </c:pt>
                <c:pt idx="882">
                  <c:v>42221</c:v>
                </c:pt>
                <c:pt idx="883">
                  <c:v>42222</c:v>
                </c:pt>
                <c:pt idx="884">
                  <c:v>42223</c:v>
                </c:pt>
                <c:pt idx="885">
                  <c:v>42226</c:v>
                </c:pt>
                <c:pt idx="886">
                  <c:v>42227</c:v>
                </c:pt>
                <c:pt idx="887">
                  <c:v>42228</c:v>
                </c:pt>
                <c:pt idx="888">
                  <c:v>42229</c:v>
                </c:pt>
                <c:pt idx="889">
                  <c:v>42230</c:v>
                </c:pt>
                <c:pt idx="890">
                  <c:v>42233</c:v>
                </c:pt>
                <c:pt idx="891">
                  <c:v>42234</c:v>
                </c:pt>
                <c:pt idx="892">
                  <c:v>42235</c:v>
                </c:pt>
                <c:pt idx="893">
                  <c:v>42236</c:v>
                </c:pt>
                <c:pt idx="894">
                  <c:v>42237</c:v>
                </c:pt>
                <c:pt idx="895">
                  <c:v>42240</c:v>
                </c:pt>
                <c:pt idx="896">
                  <c:v>42241</c:v>
                </c:pt>
                <c:pt idx="897">
                  <c:v>42242</c:v>
                </c:pt>
                <c:pt idx="898">
                  <c:v>42243</c:v>
                </c:pt>
                <c:pt idx="899">
                  <c:v>42244</c:v>
                </c:pt>
                <c:pt idx="900">
                  <c:v>42247</c:v>
                </c:pt>
                <c:pt idx="901">
                  <c:v>42248</c:v>
                </c:pt>
                <c:pt idx="902">
                  <c:v>42249</c:v>
                </c:pt>
                <c:pt idx="903">
                  <c:v>42250</c:v>
                </c:pt>
                <c:pt idx="904">
                  <c:v>42251</c:v>
                </c:pt>
                <c:pt idx="905">
                  <c:v>42254</c:v>
                </c:pt>
                <c:pt idx="906">
                  <c:v>42255</c:v>
                </c:pt>
                <c:pt idx="907">
                  <c:v>42256</c:v>
                </c:pt>
                <c:pt idx="908">
                  <c:v>42257</c:v>
                </c:pt>
                <c:pt idx="909">
                  <c:v>42258</c:v>
                </c:pt>
                <c:pt idx="910">
                  <c:v>42261</c:v>
                </c:pt>
                <c:pt idx="911">
                  <c:v>42262</c:v>
                </c:pt>
                <c:pt idx="912">
                  <c:v>42263</c:v>
                </c:pt>
                <c:pt idx="913">
                  <c:v>42264</c:v>
                </c:pt>
                <c:pt idx="914">
                  <c:v>42265</c:v>
                </c:pt>
                <c:pt idx="915">
                  <c:v>42268</c:v>
                </c:pt>
                <c:pt idx="916">
                  <c:v>42269</c:v>
                </c:pt>
                <c:pt idx="917">
                  <c:v>42270</c:v>
                </c:pt>
                <c:pt idx="918">
                  <c:v>42271</c:v>
                </c:pt>
                <c:pt idx="919">
                  <c:v>42272</c:v>
                </c:pt>
                <c:pt idx="920">
                  <c:v>42275</c:v>
                </c:pt>
                <c:pt idx="921">
                  <c:v>42276</c:v>
                </c:pt>
                <c:pt idx="922">
                  <c:v>42277</c:v>
                </c:pt>
                <c:pt idx="923">
                  <c:v>42278</c:v>
                </c:pt>
                <c:pt idx="924">
                  <c:v>42279</c:v>
                </c:pt>
                <c:pt idx="925">
                  <c:v>42282</c:v>
                </c:pt>
                <c:pt idx="926">
                  <c:v>42283</c:v>
                </c:pt>
                <c:pt idx="927">
                  <c:v>42284</c:v>
                </c:pt>
                <c:pt idx="928">
                  <c:v>42285</c:v>
                </c:pt>
                <c:pt idx="929">
                  <c:v>42286</c:v>
                </c:pt>
                <c:pt idx="930">
                  <c:v>42289</c:v>
                </c:pt>
                <c:pt idx="931">
                  <c:v>42290</c:v>
                </c:pt>
                <c:pt idx="932">
                  <c:v>42291</c:v>
                </c:pt>
                <c:pt idx="933">
                  <c:v>42292</c:v>
                </c:pt>
                <c:pt idx="934">
                  <c:v>42293</c:v>
                </c:pt>
                <c:pt idx="935">
                  <c:v>42296</c:v>
                </c:pt>
                <c:pt idx="936">
                  <c:v>42297</c:v>
                </c:pt>
                <c:pt idx="937">
                  <c:v>42298</c:v>
                </c:pt>
                <c:pt idx="938">
                  <c:v>42299</c:v>
                </c:pt>
                <c:pt idx="939">
                  <c:v>42300</c:v>
                </c:pt>
                <c:pt idx="940">
                  <c:v>42303</c:v>
                </c:pt>
                <c:pt idx="941">
                  <c:v>42304</c:v>
                </c:pt>
                <c:pt idx="942">
                  <c:v>42305</c:v>
                </c:pt>
                <c:pt idx="943">
                  <c:v>42306</c:v>
                </c:pt>
                <c:pt idx="944">
                  <c:v>42307</c:v>
                </c:pt>
                <c:pt idx="945">
                  <c:v>42310</c:v>
                </c:pt>
                <c:pt idx="946">
                  <c:v>42311</c:v>
                </c:pt>
                <c:pt idx="947">
                  <c:v>42312</c:v>
                </c:pt>
                <c:pt idx="948">
                  <c:v>42313</c:v>
                </c:pt>
                <c:pt idx="949">
                  <c:v>42314</c:v>
                </c:pt>
                <c:pt idx="950">
                  <c:v>42317</c:v>
                </c:pt>
                <c:pt idx="951">
                  <c:v>42318</c:v>
                </c:pt>
                <c:pt idx="952">
                  <c:v>42319</c:v>
                </c:pt>
                <c:pt idx="953">
                  <c:v>42320</c:v>
                </c:pt>
                <c:pt idx="954">
                  <c:v>42321</c:v>
                </c:pt>
                <c:pt idx="955">
                  <c:v>42324</c:v>
                </c:pt>
                <c:pt idx="956">
                  <c:v>42325</c:v>
                </c:pt>
                <c:pt idx="957">
                  <c:v>42326</c:v>
                </c:pt>
                <c:pt idx="958">
                  <c:v>42327</c:v>
                </c:pt>
                <c:pt idx="959">
                  <c:v>42328</c:v>
                </c:pt>
                <c:pt idx="960">
                  <c:v>42331</c:v>
                </c:pt>
                <c:pt idx="961">
                  <c:v>42332</c:v>
                </c:pt>
                <c:pt idx="962">
                  <c:v>42333</c:v>
                </c:pt>
                <c:pt idx="963">
                  <c:v>42334</c:v>
                </c:pt>
                <c:pt idx="964">
                  <c:v>42335</c:v>
                </c:pt>
                <c:pt idx="965">
                  <c:v>42338</c:v>
                </c:pt>
                <c:pt idx="966">
                  <c:v>42339</c:v>
                </c:pt>
                <c:pt idx="967">
                  <c:v>42340</c:v>
                </c:pt>
                <c:pt idx="968">
                  <c:v>42341</c:v>
                </c:pt>
                <c:pt idx="969">
                  <c:v>42342</c:v>
                </c:pt>
                <c:pt idx="970">
                  <c:v>42345</c:v>
                </c:pt>
                <c:pt idx="971">
                  <c:v>42346</c:v>
                </c:pt>
                <c:pt idx="972">
                  <c:v>42347</c:v>
                </c:pt>
                <c:pt idx="973">
                  <c:v>42348</c:v>
                </c:pt>
                <c:pt idx="974">
                  <c:v>42349</c:v>
                </c:pt>
                <c:pt idx="975">
                  <c:v>42352</c:v>
                </c:pt>
                <c:pt idx="976">
                  <c:v>42353</c:v>
                </c:pt>
                <c:pt idx="977">
                  <c:v>42354</c:v>
                </c:pt>
                <c:pt idx="978">
                  <c:v>42355</c:v>
                </c:pt>
                <c:pt idx="979">
                  <c:v>42356</c:v>
                </c:pt>
                <c:pt idx="980">
                  <c:v>42359</c:v>
                </c:pt>
                <c:pt idx="981">
                  <c:v>42360</c:v>
                </c:pt>
                <c:pt idx="982">
                  <c:v>42361</c:v>
                </c:pt>
                <c:pt idx="983">
                  <c:v>42362</c:v>
                </c:pt>
                <c:pt idx="984">
                  <c:v>42363</c:v>
                </c:pt>
                <c:pt idx="985">
                  <c:v>42366</c:v>
                </c:pt>
                <c:pt idx="986">
                  <c:v>42367</c:v>
                </c:pt>
                <c:pt idx="987">
                  <c:v>42368</c:v>
                </c:pt>
                <c:pt idx="988">
                  <c:v>42369</c:v>
                </c:pt>
                <c:pt idx="989">
                  <c:v>42370</c:v>
                </c:pt>
                <c:pt idx="990">
                  <c:v>42373</c:v>
                </c:pt>
                <c:pt idx="991">
                  <c:v>42374</c:v>
                </c:pt>
                <c:pt idx="992">
                  <c:v>42375</c:v>
                </c:pt>
                <c:pt idx="993">
                  <c:v>42376</c:v>
                </c:pt>
                <c:pt idx="994">
                  <c:v>42377</c:v>
                </c:pt>
                <c:pt idx="995">
                  <c:v>42380</c:v>
                </c:pt>
                <c:pt idx="996">
                  <c:v>42381</c:v>
                </c:pt>
                <c:pt idx="997">
                  <c:v>42382</c:v>
                </c:pt>
                <c:pt idx="998">
                  <c:v>42383</c:v>
                </c:pt>
                <c:pt idx="999">
                  <c:v>42384</c:v>
                </c:pt>
                <c:pt idx="1000">
                  <c:v>42387</c:v>
                </c:pt>
                <c:pt idx="1001">
                  <c:v>42388</c:v>
                </c:pt>
                <c:pt idx="1002">
                  <c:v>42389</c:v>
                </c:pt>
                <c:pt idx="1003">
                  <c:v>42390</c:v>
                </c:pt>
                <c:pt idx="1004">
                  <c:v>42391</c:v>
                </c:pt>
                <c:pt idx="1005">
                  <c:v>42394</c:v>
                </c:pt>
                <c:pt idx="1006">
                  <c:v>42395</c:v>
                </c:pt>
                <c:pt idx="1007">
                  <c:v>42396</c:v>
                </c:pt>
                <c:pt idx="1008">
                  <c:v>42397</c:v>
                </c:pt>
                <c:pt idx="1009">
                  <c:v>42398</c:v>
                </c:pt>
                <c:pt idx="1010">
                  <c:v>42401</c:v>
                </c:pt>
                <c:pt idx="1011">
                  <c:v>42402</c:v>
                </c:pt>
                <c:pt idx="1012">
                  <c:v>42403</c:v>
                </c:pt>
                <c:pt idx="1013">
                  <c:v>42404</c:v>
                </c:pt>
                <c:pt idx="1014">
                  <c:v>42405</c:v>
                </c:pt>
                <c:pt idx="1015">
                  <c:v>42408</c:v>
                </c:pt>
                <c:pt idx="1016">
                  <c:v>42409</c:v>
                </c:pt>
                <c:pt idx="1017">
                  <c:v>42410</c:v>
                </c:pt>
                <c:pt idx="1018">
                  <c:v>42411</c:v>
                </c:pt>
                <c:pt idx="1019">
                  <c:v>42412</c:v>
                </c:pt>
                <c:pt idx="1020">
                  <c:v>42415</c:v>
                </c:pt>
                <c:pt idx="1021">
                  <c:v>42416</c:v>
                </c:pt>
                <c:pt idx="1022">
                  <c:v>42417</c:v>
                </c:pt>
                <c:pt idx="1023">
                  <c:v>42418</c:v>
                </c:pt>
                <c:pt idx="1024">
                  <c:v>42419</c:v>
                </c:pt>
                <c:pt idx="1025">
                  <c:v>42422</c:v>
                </c:pt>
                <c:pt idx="1026">
                  <c:v>42423</c:v>
                </c:pt>
                <c:pt idx="1027">
                  <c:v>42424</c:v>
                </c:pt>
                <c:pt idx="1028">
                  <c:v>42425</c:v>
                </c:pt>
                <c:pt idx="1029">
                  <c:v>42426</c:v>
                </c:pt>
                <c:pt idx="1030">
                  <c:v>42429</c:v>
                </c:pt>
                <c:pt idx="1031">
                  <c:v>42430</c:v>
                </c:pt>
                <c:pt idx="1032">
                  <c:v>42431</c:v>
                </c:pt>
                <c:pt idx="1033">
                  <c:v>42432</c:v>
                </c:pt>
                <c:pt idx="1034">
                  <c:v>42433</c:v>
                </c:pt>
                <c:pt idx="1035">
                  <c:v>42436</c:v>
                </c:pt>
                <c:pt idx="1036">
                  <c:v>42437</c:v>
                </c:pt>
                <c:pt idx="1037">
                  <c:v>42438</c:v>
                </c:pt>
                <c:pt idx="1038">
                  <c:v>42439</c:v>
                </c:pt>
                <c:pt idx="1039">
                  <c:v>42440</c:v>
                </c:pt>
                <c:pt idx="1040">
                  <c:v>42443</c:v>
                </c:pt>
                <c:pt idx="1041">
                  <c:v>42444</c:v>
                </c:pt>
                <c:pt idx="1042">
                  <c:v>42445</c:v>
                </c:pt>
                <c:pt idx="1043">
                  <c:v>42446</c:v>
                </c:pt>
                <c:pt idx="1044">
                  <c:v>42447</c:v>
                </c:pt>
                <c:pt idx="1045">
                  <c:v>42450</c:v>
                </c:pt>
                <c:pt idx="1046">
                  <c:v>42451</c:v>
                </c:pt>
                <c:pt idx="1047">
                  <c:v>42452</c:v>
                </c:pt>
                <c:pt idx="1048">
                  <c:v>42453</c:v>
                </c:pt>
                <c:pt idx="1049">
                  <c:v>42454</c:v>
                </c:pt>
                <c:pt idx="1050">
                  <c:v>42457</c:v>
                </c:pt>
                <c:pt idx="1051">
                  <c:v>42458</c:v>
                </c:pt>
                <c:pt idx="1052">
                  <c:v>42459</c:v>
                </c:pt>
                <c:pt idx="1053">
                  <c:v>42460</c:v>
                </c:pt>
                <c:pt idx="1054">
                  <c:v>42461</c:v>
                </c:pt>
                <c:pt idx="1055">
                  <c:v>42464</c:v>
                </c:pt>
                <c:pt idx="1056">
                  <c:v>42465</c:v>
                </c:pt>
                <c:pt idx="1057">
                  <c:v>42466</c:v>
                </c:pt>
                <c:pt idx="1058">
                  <c:v>42467</c:v>
                </c:pt>
                <c:pt idx="1059">
                  <c:v>42468</c:v>
                </c:pt>
                <c:pt idx="1060">
                  <c:v>42471</c:v>
                </c:pt>
                <c:pt idx="1061">
                  <c:v>42472</c:v>
                </c:pt>
                <c:pt idx="1062">
                  <c:v>42473</c:v>
                </c:pt>
                <c:pt idx="1063">
                  <c:v>42474</c:v>
                </c:pt>
                <c:pt idx="1064">
                  <c:v>42475</c:v>
                </c:pt>
                <c:pt idx="1065">
                  <c:v>42478</c:v>
                </c:pt>
                <c:pt idx="1066">
                  <c:v>42479</c:v>
                </c:pt>
                <c:pt idx="1067">
                  <c:v>42480</c:v>
                </c:pt>
                <c:pt idx="1068">
                  <c:v>42481</c:v>
                </c:pt>
                <c:pt idx="1069">
                  <c:v>42482</c:v>
                </c:pt>
                <c:pt idx="1070">
                  <c:v>42485</c:v>
                </c:pt>
                <c:pt idx="1071">
                  <c:v>42486</c:v>
                </c:pt>
                <c:pt idx="1072">
                  <c:v>42487</c:v>
                </c:pt>
                <c:pt idx="1073">
                  <c:v>42488</c:v>
                </c:pt>
                <c:pt idx="1074">
                  <c:v>42489</c:v>
                </c:pt>
                <c:pt idx="1075">
                  <c:v>42492</c:v>
                </c:pt>
                <c:pt idx="1076">
                  <c:v>42493</c:v>
                </c:pt>
                <c:pt idx="1077">
                  <c:v>42494</c:v>
                </c:pt>
                <c:pt idx="1078">
                  <c:v>42495</c:v>
                </c:pt>
                <c:pt idx="1079">
                  <c:v>42496</c:v>
                </c:pt>
                <c:pt idx="1080">
                  <c:v>42499</c:v>
                </c:pt>
                <c:pt idx="1081">
                  <c:v>42500</c:v>
                </c:pt>
                <c:pt idx="1082">
                  <c:v>42501</c:v>
                </c:pt>
                <c:pt idx="1083">
                  <c:v>42502</c:v>
                </c:pt>
                <c:pt idx="1084">
                  <c:v>42503</c:v>
                </c:pt>
                <c:pt idx="1085">
                  <c:v>42506</c:v>
                </c:pt>
                <c:pt idx="1086">
                  <c:v>42507</c:v>
                </c:pt>
                <c:pt idx="1087">
                  <c:v>42508</c:v>
                </c:pt>
                <c:pt idx="1088">
                  <c:v>42509</c:v>
                </c:pt>
                <c:pt idx="1089">
                  <c:v>42510</c:v>
                </c:pt>
                <c:pt idx="1090">
                  <c:v>42513</c:v>
                </c:pt>
                <c:pt idx="1091">
                  <c:v>42514</c:v>
                </c:pt>
                <c:pt idx="1092">
                  <c:v>42515</c:v>
                </c:pt>
                <c:pt idx="1093">
                  <c:v>42516</c:v>
                </c:pt>
                <c:pt idx="1094">
                  <c:v>42517</c:v>
                </c:pt>
                <c:pt idx="1095">
                  <c:v>42520</c:v>
                </c:pt>
                <c:pt idx="1096">
                  <c:v>42521</c:v>
                </c:pt>
                <c:pt idx="1097">
                  <c:v>42522</c:v>
                </c:pt>
                <c:pt idx="1098">
                  <c:v>42523</c:v>
                </c:pt>
                <c:pt idx="1099">
                  <c:v>42524</c:v>
                </c:pt>
                <c:pt idx="1100">
                  <c:v>42527</c:v>
                </c:pt>
                <c:pt idx="1101">
                  <c:v>42528</c:v>
                </c:pt>
                <c:pt idx="1102">
                  <c:v>42529</c:v>
                </c:pt>
                <c:pt idx="1103">
                  <c:v>42530</c:v>
                </c:pt>
                <c:pt idx="1104">
                  <c:v>42531</c:v>
                </c:pt>
                <c:pt idx="1105">
                  <c:v>42534</c:v>
                </c:pt>
                <c:pt idx="1106">
                  <c:v>42535</c:v>
                </c:pt>
                <c:pt idx="1107">
                  <c:v>42536</c:v>
                </c:pt>
                <c:pt idx="1108">
                  <c:v>42537</c:v>
                </c:pt>
                <c:pt idx="1109">
                  <c:v>42538</c:v>
                </c:pt>
                <c:pt idx="1110">
                  <c:v>42541</c:v>
                </c:pt>
                <c:pt idx="1111">
                  <c:v>42542</c:v>
                </c:pt>
                <c:pt idx="1112">
                  <c:v>42543</c:v>
                </c:pt>
                <c:pt idx="1113">
                  <c:v>42544</c:v>
                </c:pt>
                <c:pt idx="1114">
                  <c:v>42545</c:v>
                </c:pt>
                <c:pt idx="1115">
                  <c:v>42548</c:v>
                </c:pt>
                <c:pt idx="1116">
                  <c:v>42549</c:v>
                </c:pt>
                <c:pt idx="1117">
                  <c:v>42550</c:v>
                </c:pt>
                <c:pt idx="1118">
                  <c:v>42551</c:v>
                </c:pt>
                <c:pt idx="1119">
                  <c:v>42552</c:v>
                </c:pt>
                <c:pt idx="1120">
                  <c:v>42555</c:v>
                </c:pt>
                <c:pt idx="1121">
                  <c:v>42556</c:v>
                </c:pt>
                <c:pt idx="1122">
                  <c:v>42557</c:v>
                </c:pt>
                <c:pt idx="1123">
                  <c:v>42558</c:v>
                </c:pt>
                <c:pt idx="1124">
                  <c:v>42559</c:v>
                </c:pt>
                <c:pt idx="1125">
                  <c:v>42562</c:v>
                </c:pt>
                <c:pt idx="1126">
                  <c:v>42563</c:v>
                </c:pt>
                <c:pt idx="1127">
                  <c:v>42564</c:v>
                </c:pt>
                <c:pt idx="1128">
                  <c:v>42565</c:v>
                </c:pt>
                <c:pt idx="1129">
                  <c:v>42566</c:v>
                </c:pt>
                <c:pt idx="1130">
                  <c:v>42569</c:v>
                </c:pt>
                <c:pt idx="1131">
                  <c:v>42570</c:v>
                </c:pt>
                <c:pt idx="1132">
                  <c:v>42571</c:v>
                </c:pt>
                <c:pt idx="1133">
                  <c:v>42572</c:v>
                </c:pt>
                <c:pt idx="1134">
                  <c:v>42573</c:v>
                </c:pt>
                <c:pt idx="1135">
                  <c:v>42576</c:v>
                </c:pt>
                <c:pt idx="1136">
                  <c:v>42577</c:v>
                </c:pt>
                <c:pt idx="1137">
                  <c:v>42578</c:v>
                </c:pt>
                <c:pt idx="1138">
                  <c:v>42579</c:v>
                </c:pt>
                <c:pt idx="1139">
                  <c:v>42580</c:v>
                </c:pt>
                <c:pt idx="1140">
                  <c:v>42583</c:v>
                </c:pt>
                <c:pt idx="1141">
                  <c:v>42584</c:v>
                </c:pt>
                <c:pt idx="1142">
                  <c:v>42585</c:v>
                </c:pt>
                <c:pt idx="1143">
                  <c:v>42586</c:v>
                </c:pt>
                <c:pt idx="1144">
                  <c:v>42587</c:v>
                </c:pt>
                <c:pt idx="1145">
                  <c:v>42590</c:v>
                </c:pt>
                <c:pt idx="1146">
                  <c:v>42591</c:v>
                </c:pt>
                <c:pt idx="1147">
                  <c:v>42592</c:v>
                </c:pt>
                <c:pt idx="1148">
                  <c:v>42593</c:v>
                </c:pt>
                <c:pt idx="1149">
                  <c:v>42594</c:v>
                </c:pt>
                <c:pt idx="1150">
                  <c:v>42597</c:v>
                </c:pt>
                <c:pt idx="1151">
                  <c:v>42598</c:v>
                </c:pt>
                <c:pt idx="1152">
                  <c:v>42599</c:v>
                </c:pt>
                <c:pt idx="1153">
                  <c:v>42600</c:v>
                </c:pt>
                <c:pt idx="1154">
                  <c:v>42601</c:v>
                </c:pt>
                <c:pt idx="1155">
                  <c:v>42604</c:v>
                </c:pt>
                <c:pt idx="1156">
                  <c:v>42605</c:v>
                </c:pt>
                <c:pt idx="1157">
                  <c:v>42606</c:v>
                </c:pt>
                <c:pt idx="1158">
                  <c:v>42607</c:v>
                </c:pt>
                <c:pt idx="1159">
                  <c:v>42608</c:v>
                </c:pt>
                <c:pt idx="1160">
                  <c:v>42611</c:v>
                </c:pt>
                <c:pt idx="1161">
                  <c:v>42612</c:v>
                </c:pt>
                <c:pt idx="1162">
                  <c:v>42613</c:v>
                </c:pt>
                <c:pt idx="1163">
                  <c:v>42614</c:v>
                </c:pt>
                <c:pt idx="1164">
                  <c:v>42615</c:v>
                </c:pt>
                <c:pt idx="1165">
                  <c:v>42618</c:v>
                </c:pt>
                <c:pt idx="1166">
                  <c:v>42619</c:v>
                </c:pt>
                <c:pt idx="1167">
                  <c:v>42620</c:v>
                </c:pt>
                <c:pt idx="1168">
                  <c:v>42621</c:v>
                </c:pt>
                <c:pt idx="1169">
                  <c:v>42622</c:v>
                </c:pt>
                <c:pt idx="1170">
                  <c:v>42625</c:v>
                </c:pt>
                <c:pt idx="1171">
                  <c:v>42626</c:v>
                </c:pt>
                <c:pt idx="1172">
                  <c:v>42627</c:v>
                </c:pt>
                <c:pt idx="1173">
                  <c:v>42628</c:v>
                </c:pt>
                <c:pt idx="1174">
                  <c:v>42629</c:v>
                </c:pt>
                <c:pt idx="1175">
                  <c:v>42632</c:v>
                </c:pt>
                <c:pt idx="1176">
                  <c:v>42633</c:v>
                </c:pt>
                <c:pt idx="1177">
                  <c:v>42634</c:v>
                </c:pt>
                <c:pt idx="1178">
                  <c:v>42635</c:v>
                </c:pt>
                <c:pt idx="1179">
                  <c:v>42636</c:v>
                </c:pt>
                <c:pt idx="1180">
                  <c:v>42639</c:v>
                </c:pt>
                <c:pt idx="1181">
                  <c:v>42640</c:v>
                </c:pt>
                <c:pt idx="1182">
                  <c:v>42641</c:v>
                </c:pt>
                <c:pt idx="1183">
                  <c:v>42642</c:v>
                </c:pt>
                <c:pt idx="1184">
                  <c:v>42643</c:v>
                </c:pt>
                <c:pt idx="1185">
                  <c:v>42646</c:v>
                </c:pt>
                <c:pt idx="1186">
                  <c:v>42647</c:v>
                </c:pt>
                <c:pt idx="1187">
                  <c:v>42648</c:v>
                </c:pt>
                <c:pt idx="1188">
                  <c:v>42649</c:v>
                </c:pt>
                <c:pt idx="1189">
                  <c:v>42650</c:v>
                </c:pt>
                <c:pt idx="1190">
                  <c:v>42653</c:v>
                </c:pt>
                <c:pt idx="1191">
                  <c:v>42654</c:v>
                </c:pt>
                <c:pt idx="1192">
                  <c:v>42655</c:v>
                </c:pt>
                <c:pt idx="1193">
                  <c:v>42656</c:v>
                </c:pt>
                <c:pt idx="1194">
                  <c:v>42657</c:v>
                </c:pt>
                <c:pt idx="1195">
                  <c:v>42660</c:v>
                </c:pt>
                <c:pt idx="1196">
                  <c:v>42661</c:v>
                </c:pt>
                <c:pt idx="1197">
                  <c:v>42662</c:v>
                </c:pt>
                <c:pt idx="1198">
                  <c:v>42663</c:v>
                </c:pt>
                <c:pt idx="1199">
                  <c:v>42664</c:v>
                </c:pt>
                <c:pt idx="1200">
                  <c:v>42667</c:v>
                </c:pt>
                <c:pt idx="1201">
                  <c:v>42668</c:v>
                </c:pt>
                <c:pt idx="1202">
                  <c:v>42669</c:v>
                </c:pt>
                <c:pt idx="1203">
                  <c:v>42670</c:v>
                </c:pt>
                <c:pt idx="1204">
                  <c:v>42671</c:v>
                </c:pt>
                <c:pt idx="1205">
                  <c:v>42674</c:v>
                </c:pt>
                <c:pt idx="1206">
                  <c:v>42675</c:v>
                </c:pt>
                <c:pt idx="1207">
                  <c:v>42676</c:v>
                </c:pt>
                <c:pt idx="1208">
                  <c:v>42677</c:v>
                </c:pt>
                <c:pt idx="1209">
                  <c:v>42678</c:v>
                </c:pt>
                <c:pt idx="1210">
                  <c:v>42681</c:v>
                </c:pt>
                <c:pt idx="1211">
                  <c:v>42682</c:v>
                </c:pt>
                <c:pt idx="1212">
                  <c:v>42683</c:v>
                </c:pt>
                <c:pt idx="1213">
                  <c:v>42684</c:v>
                </c:pt>
                <c:pt idx="1214">
                  <c:v>42685</c:v>
                </c:pt>
                <c:pt idx="1215">
                  <c:v>42688</c:v>
                </c:pt>
                <c:pt idx="1216">
                  <c:v>42689</c:v>
                </c:pt>
                <c:pt idx="1217">
                  <c:v>42690</c:v>
                </c:pt>
                <c:pt idx="1218">
                  <c:v>42691</c:v>
                </c:pt>
                <c:pt idx="1219">
                  <c:v>42692</c:v>
                </c:pt>
                <c:pt idx="1220">
                  <c:v>42695</c:v>
                </c:pt>
                <c:pt idx="1221">
                  <c:v>42696</c:v>
                </c:pt>
                <c:pt idx="1222">
                  <c:v>42697</c:v>
                </c:pt>
                <c:pt idx="1223">
                  <c:v>42698</c:v>
                </c:pt>
                <c:pt idx="1224">
                  <c:v>42699</c:v>
                </c:pt>
                <c:pt idx="1225">
                  <c:v>42702</c:v>
                </c:pt>
                <c:pt idx="1226">
                  <c:v>42703</c:v>
                </c:pt>
                <c:pt idx="1227">
                  <c:v>42704</c:v>
                </c:pt>
                <c:pt idx="1228">
                  <c:v>42705</c:v>
                </c:pt>
                <c:pt idx="1229">
                  <c:v>42706</c:v>
                </c:pt>
                <c:pt idx="1230">
                  <c:v>42709</c:v>
                </c:pt>
                <c:pt idx="1231">
                  <c:v>42710</c:v>
                </c:pt>
                <c:pt idx="1232">
                  <c:v>42711</c:v>
                </c:pt>
                <c:pt idx="1233">
                  <c:v>42712</c:v>
                </c:pt>
                <c:pt idx="1234">
                  <c:v>42713</c:v>
                </c:pt>
                <c:pt idx="1235">
                  <c:v>42716</c:v>
                </c:pt>
                <c:pt idx="1236">
                  <c:v>42717</c:v>
                </c:pt>
                <c:pt idx="1237">
                  <c:v>42718</c:v>
                </c:pt>
                <c:pt idx="1238">
                  <c:v>42719</c:v>
                </c:pt>
                <c:pt idx="1239">
                  <c:v>42720</c:v>
                </c:pt>
                <c:pt idx="1240">
                  <c:v>42723</c:v>
                </c:pt>
                <c:pt idx="1241">
                  <c:v>42724</c:v>
                </c:pt>
                <c:pt idx="1242">
                  <c:v>42725</c:v>
                </c:pt>
                <c:pt idx="1243">
                  <c:v>42726</c:v>
                </c:pt>
                <c:pt idx="1244">
                  <c:v>42727</c:v>
                </c:pt>
                <c:pt idx="1245">
                  <c:v>42730</c:v>
                </c:pt>
                <c:pt idx="1246">
                  <c:v>42731</c:v>
                </c:pt>
                <c:pt idx="1247">
                  <c:v>42732</c:v>
                </c:pt>
                <c:pt idx="1248">
                  <c:v>42733</c:v>
                </c:pt>
                <c:pt idx="1249">
                  <c:v>42734</c:v>
                </c:pt>
                <c:pt idx="1250">
                  <c:v>42737</c:v>
                </c:pt>
                <c:pt idx="1251">
                  <c:v>42738</c:v>
                </c:pt>
                <c:pt idx="1252">
                  <c:v>42739</c:v>
                </c:pt>
                <c:pt idx="1253">
                  <c:v>42740</c:v>
                </c:pt>
                <c:pt idx="1254">
                  <c:v>42741</c:v>
                </c:pt>
                <c:pt idx="1255">
                  <c:v>42744</c:v>
                </c:pt>
                <c:pt idx="1256">
                  <c:v>42745</c:v>
                </c:pt>
                <c:pt idx="1257">
                  <c:v>42746</c:v>
                </c:pt>
                <c:pt idx="1258">
                  <c:v>42747</c:v>
                </c:pt>
                <c:pt idx="1259">
                  <c:v>42748</c:v>
                </c:pt>
                <c:pt idx="1260">
                  <c:v>42751</c:v>
                </c:pt>
                <c:pt idx="1261">
                  <c:v>42752</c:v>
                </c:pt>
                <c:pt idx="1262">
                  <c:v>42753</c:v>
                </c:pt>
                <c:pt idx="1263">
                  <c:v>42754</c:v>
                </c:pt>
                <c:pt idx="1264">
                  <c:v>42755</c:v>
                </c:pt>
                <c:pt idx="1265">
                  <c:v>42758</c:v>
                </c:pt>
                <c:pt idx="1266">
                  <c:v>42759</c:v>
                </c:pt>
                <c:pt idx="1267">
                  <c:v>42760</c:v>
                </c:pt>
                <c:pt idx="1268">
                  <c:v>42761</c:v>
                </c:pt>
                <c:pt idx="1269">
                  <c:v>42762</c:v>
                </c:pt>
                <c:pt idx="1270">
                  <c:v>42765</c:v>
                </c:pt>
                <c:pt idx="1271">
                  <c:v>42766</c:v>
                </c:pt>
                <c:pt idx="1272">
                  <c:v>42767</c:v>
                </c:pt>
                <c:pt idx="1273">
                  <c:v>42768</c:v>
                </c:pt>
                <c:pt idx="1274">
                  <c:v>42769</c:v>
                </c:pt>
                <c:pt idx="1275">
                  <c:v>42772</c:v>
                </c:pt>
                <c:pt idx="1276">
                  <c:v>42773</c:v>
                </c:pt>
                <c:pt idx="1277">
                  <c:v>42774</c:v>
                </c:pt>
                <c:pt idx="1278">
                  <c:v>42775</c:v>
                </c:pt>
                <c:pt idx="1279">
                  <c:v>42776</c:v>
                </c:pt>
                <c:pt idx="1280">
                  <c:v>42779</c:v>
                </c:pt>
                <c:pt idx="1281">
                  <c:v>42780</c:v>
                </c:pt>
                <c:pt idx="1282">
                  <c:v>42781</c:v>
                </c:pt>
                <c:pt idx="1283">
                  <c:v>42782</c:v>
                </c:pt>
                <c:pt idx="1284">
                  <c:v>42783</c:v>
                </c:pt>
                <c:pt idx="1285">
                  <c:v>42786</c:v>
                </c:pt>
                <c:pt idx="1286">
                  <c:v>42787</c:v>
                </c:pt>
                <c:pt idx="1287">
                  <c:v>42788</c:v>
                </c:pt>
                <c:pt idx="1288">
                  <c:v>42789</c:v>
                </c:pt>
                <c:pt idx="1289">
                  <c:v>42790</c:v>
                </c:pt>
                <c:pt idx="1290">
                  <c:v>42793</c:v>
                </c:pt>
                <c:pt idx="1291">
                  <c:v>42794</c:v>
                </c:pt>
                <c:pt idx="1292">
                  <c:v>42795</c:v>
                </c:pt>
                <c:pt idx="1293">
                  <c:v>42796</c:v>
                </c:pt>
                <c:pt idx="1294">
                  <c:v>42797</c:v>
                </c:pt>
                <c:pt idx="1295">
                  <c:v>42800</c:v>
                </c:pt>
                <c:pt idx="1296">
                  <c:v>42801</c:v>
                </c:pt>
                <c:pt idx="1297">
                  <c:v>42802</c:v>
                </c:pt>
                <c:pt idx="1298">
                  <c:v>42803</c:v>
                </c:pt>
                <c:pt idx="1299">
                  <c:v>42804</c:v>
                </c:pt>
                <c:pt idx="1300">
                  <c:v>42807</c:v>
                </c:pt>
                <c:pt idx="1301">
                  <c:v>42808</c:v>
                </c:pt>
                <c:pt idx="1302">
                  <c:v>42809</c:v>
                </c:pt>
                <c:pt idx="1303">
                  <c:v>42810</c:v>
                </c:pt>
                <c:pt idx="1304">
                  <c:v>42811</c:v>
                </c:pt>
                <c:pt idx="1305">
                  <c:v>42814</c:v>
                </c:pt>
                <c:pt idx="1306">
                  <c:v>42815</c:v>
                </c:pt>
                <c:pt idx="1307">
                  <c:v>42816</c:v>
                </c:pt>
                <c:pt idx="1308">
                  <c:v>42817</c:v>
                </c:pt>
                <c:pt idx="1309">
                  <c:v>42818</c:v>
                </c:pt>
                <c:pt idx="1310">
                  <c:v>42821</c:v>
                </c:pt>
                <c:pt idx="1311">
                  <c:v>42822</c:v>
                </c:pt>
                <c:pt idx="1312">
                  <c:v>42823</c:v>
                </c:pt>
                <c:pt idx="1313">
                  <c:v>42824</c:v>
                </c:pt>
                <c:pt idx="1314">
                  <c:v>42825</c:v>
                </c:pt>
                <c:pt idx="1315">
                  <c:v>42828</c:v>
                </c:pt>
                <c:pt idx="1316">
                  <c:v>42829</c:v>
                </c:pt>
                <c:pt idx="1317">
                  <c:v>42830</c:v>
                </c:pt>
                <c:pt idx="1318">
                  <c:v>42831</c:v>
                </c:pt>
                <c:pt idx="1319">
                  <c:v>42832</c:v>
                </c:pt>
                <c:pt idx="1320">
                  <c:v>42835</c:v>
                </c:pt>
                <c:pt idx="1321">
                  <c:v>42836</c:v>
                </c:pt>
                <c:pt idx="1322">
                  <c:v>42837</c:v>
                </c:pt>
                <c:pt idx="1323">
                  <c:v>42838</c:v>
                </c:pt>
                <c:pt idx="1324">
                  <c:v>42839</c:v>
                </c:pt>
                <c:pt idx="1325">
                  <c:v>42842</c:v>
                </c:pt>
                <c:pt idx="1326">
                  <c:v>42843</c:v>
                </c:pt>
                <c:pt idx="1327">
                  <c:v>42844</c:v>
                </c:pt>
                <c:pt idx="1328">
                  <c:v>42845</c:v>
                </c:pt>
                <c:pt idx="1329">
                  <c:v>42846</c:v>
                </c:pt>
                <c:pt idx="1330">
                  <c:v>42849</c:v>
                </c:pt>
                <c:pt idx="1331">
                  <c:v>42850</c:v>
                </c:pt>
                <c:pt idx="1332">
                  <c:v>42851</c:v>
                </c:pt>
                <c:pt idx="1333">
                  <c:v>42852</c:v>
                </c:pt>
                <c:pt idx="1334">
                  <c:v>42853</c:v>
                </c:pt>
                <c:pt idx="1335">
                  <c:v>42856</c:v>
                </c:pt>
                <c:pt idx="1336">
                  <c:v>42857</c:v>
                </c:pt>
                <c:pt idx="1337">
                  <c:v>42858</c:v>
                </c:pt>
                <c:pt idx="1338">
                  <c:v>42859</c:v>
                </c:pt>
                <c:pt idx="1339">
                  <c:v>42860</c:v>
                </c:pt>
                <c:pt idx="1340">
                  <c:v>42863</c:v>
                </c:pt>
                <c:pt idx="1341">
                  <c:v>42864</c:v>
                </c:pt>
                <c:pt idx="1342">
                  <c:v>42865</c:v>
                </c:pt>
                <c:pt idx="1343">
                  <c:v>42866</c:v>
                </c:pt>
                <c:pt idx="1344">
                  <c:v>42867</c:v>
                </c:pt>
                <c:pt idx="1345">
                  <c:v>42870</c:v>
                </c:pt>
                <c:pt idx="1346">
                  <c:v>42871</c:v>
                </c:pt>
                <c:pt idx="1347">
                  <c:v>42872</c:v>
                </c:pt>
                <c:pt idx="1348">
                  <c:v>42873</c:v>
                </c:pt>
                <c:pt idx="1349">
                  <c:v>42874</c:v>
                </c:pt>
                <c:pt idx="1350">
                  <c:v>42877</c:v>
                </c:pt>
                <c:pt idx="1351">
                  <c:v>42878</c:v>
                </c:pt>
                <c:pt idx="1352">
                  <c:v>42879</c:v>
                </c:pt>
                <c:pt idx="1353">
                  <c:v>42880</c:v>
                </c:pt>
                <c:pt idx="1354">
                  <c:v>42881</c:v>
                </c:pt>
                <c:pt idx="1355">
                  <c:v>42884</c:v>
                </c:pt>
                <c:pt idx="1356">
                  <c:v>42885</c:v>
                </c:pt>
                <c:pt idx="1357">
                  <c:v>42886</c:v>
                </c:pt>
                <c:pt idx="1358">
                  <c:v>42887</c:v>
                </c:pt>
                <c:pt idx="1359">
                  <c:v>42888</c:v>
                </c:pt>
                <c:pt idx="1360">
                  <c:v>42891</c:v>
                </c:pt>
                <c:pt idx="1361">
                  <c:v>42892</c:v>
                </c:pt>
                <c:pt idx="1362">
                  <c:v>42893</c:v>
                </c:pt>
                <c:pt idx="1363">
                  <c:v>42894</c:v>
                </c:pt>
                <c:pt idx="1364">
                  <c:v>42895</c:v>
                </c:pt>
                <c:pt idx="1365">
                  <c:v>42898</c:v>
                </c:pt>
                <c:pt idx="1366">
                  <c:v>42899</c:v>
                </c:pt>
                <c:pt idx="1367">
                  <c:v>42900</c:v>
                </c:pt>
                <c:pt idx="1368">
                  <c:v>42901</c:v>
                </c:pt>
                <c:pt idx="1369">
                  <c:v>42902</c:v>
                </c:pt>
                <c:pt idx="1370">
                  <c:v>42905</c:v>
                </c:pt>
                <c:pt idx="1371">
                  <c:v>42906</c:v>
                </c:pt>
                <c:pt idx="1372">
                  <c:v>42907</c:v>
                </c:pt>
                <c:pt idx="1373">
                  <c:v>42908</c:v>
                </c:pt>
                <c:pt idx="1374">
                  <c:v>42909</c:v>
                </c:pt>
                <c:pt idx="1375">
                  <c:v>42912</c:v>
                </c:pt>
                <c:pt idx="1376">
                  <c:v>42913</c:v>
                </c:pt>
                <c:pt idx="1377">
                  <c:v>42914</c:v>
                </c:pt>
                <c:pt idx="1378">
                  <c:v>42915</c:v>
                </c:pt>
                <c:pt idx="1379">
                  <c:v>42916</c:v>
                </c:pt>
                <c:pt idx="1380">
                  <c:v>42919</c:v>
                </c:pt>
                <c:pt idx="1381">
                  <c:v>42920</c:v>
                </c:pt>
                <c:pt idx="1382">
                  <c:v>42921</c:v>
                </c:pt>
                <c:pt idx="1383">
                  <c:v>42922</c:v>
                </c:pt>
                <c:pt idx="1384">
                  <c:v>42923</c:v>
                </c:pt>
                <c:pt idx="1385">
                  <c:v>42926</c:v>
                </c:pt>
                <c:pt idx="1386">
                  <c:v>42927</c:v>
                </c:pt>
                <c:pt idx="1387">
                  <c:v>42928</c:v>
                </c:pt>
                <c:pt idx="1388">
                  <c:v>42929</c:v>
                </c:pt>
                <c:pt idx="1389">
                  <c:v>42930</c:v>
                </c:pt>
                <c:pt idx="1390">
                  <c:v>42933</c:v>
                </c:pt>
                <c:pt idx="1391">
                  <c:v>42934</c:v>
                </c:pt>
                <c:pt idx="1392">
                  <c:v>42935</c:v>
                </c:pt>
                <c:pt idx="1393">
                  <c:v>42936</c:v>
                </c:pt>
                <c:pt idx="1394">
                  <c:v>42937</c:v>
                </c:pt>
                <c:pt idx="1395">
                  <c:v>42940</c:v>
                </c:pt>
                <c:pt idx="1396">
                  <c:v>42941</c:v>
                </c:pt>
                <c:pt idx="1397">
                  <c:v>42942</c:v>
                </c:pt>
                <c:pt idx="1398">
                  <c:v>42943</c:v>
                </c:pt>
                <c:pt idx="1399">
                  <c:v>42944</c:v>
                </c:pt>
                <c:pt idx="1400">
                  <c:v>42947</c:v>
                </c:pt>
                <c:pt idx="1401">
                  <c:v>42948</c:v>
                </c:pt>
                <c:pt idx="1402">
                  <c:v>42949</c:v>
                </c:pt>
                <c:pt idx="1403">
                  <c:v>42950</c:v>
                </c:pt>
                <c:pt idx="1404">
                  <c:v>42951</c:v>
                </c:pt>
                <c:pt idx="1405">
                  <c:v>42954</c:v>
                </c:pt>
                <c:pt idx="1406">
                  <c:v>42955</c:v>
                </c:pt>
                <c:pt idx="1407">
                  <c:v>42956</c:v>
                </c:pt>
                <c:pt idx="1408">
                  <c:v>42957</c:v>
                </c:pt>
                <c:pt idx="1409">
                  <c:v>42958</c:v>
                </c:pt>
                <c:pt idx="1410">
                  <c:v>42961</c:v>
                </c:pt>
                <c:pt idx="1411">
                  <c:v>42962</c:v>
                </c:pt>
                <c:pt idx="1412">
                  <c:v>42963</c:v>
                </c:pt>
                <c:pt idx="1413">
                  <c:v>42964</c:v>
                </c:pt>
                <c:pt idx="1414">
                  <c:v>42965</c:v>
                </c:pt>
                <c:pt idx="1415">
                  <c:v>42968</c:v>
                </c:pt>
                <c:pt idx="1416">
                  <c:v>42969</c:v>
                </c:pt>
                <c:pt idx="1417">
                  <c:v>42970</c:v>
                </c:pt>
                <c:pt idx="1418">
                  <c:v>42971</c:v>
                </c:pt>
                <c:pt idx="1419">
                  <c:v>42972</c:v>
                </c:pt>
                <c:pt idx="1420">
                  <c:v>42975</c:v>
                </c:pt>
                <c:pt idx="1421">
                  <c:v>42976</c:v>
                </c:pt>
                <c:pt idx="1422">
                  <c:v>42977</c:v>
                </c:pt>
                <c:pt idx="1423">
                  <c:v>42978</c:v>
                </c:pt>
                <c:pt idx="1424">
                  <c:v>42979</c:v>
                </c:pt>
                <c:pt idx="1425">
                  <c:v>42982</c:v>
                </c:pt>
                <c:pt idx="1426">
                  <c:v>42983</c:v>
                </c:pt>
                <c:pt idx="1427">
                  <c:v>42984</c:v>
                </c:pt>
                <c:pt idx="1428">
                  <c:v>42985</c:v>
                </c:pt>
                <c:pt idx="1429">
                  <c:v>42986</c:v>
                </c:pt>
                <c:pt idx="1430">
                  <c:v>42989</c:v>
                </c:pt>
                <c:pt idx="1431">
                  <c:v>42990</c:v>
                </c:pt>
                <c:pt idx="1432">
                  <c:v>42991</c:v>
                </c:pt>
                <c:pt idx="1433">
                  <c:v>42992</c:v>
                </c:pt>
                <c:pt idx="1434">
                  <c:v>42993</c:v>
                </c:pt>
                <c:pt idx="1435">
                  <c:v>42996</c:v>
                </c:pt>
                <c:pt idx="1436">
                  <c:v>42997</c:v>
                </c:pt>
                <c:pt idx="1437">
                  <c:v>42998</c:v>
                </c:pt>
                <c:pt idx="1438">
                  <c:v>42999</c:v>
                </c:pt>
                <c:pt idx="1439">
                  <c:v>43000</c:v>
                </c:pt>
                <c:pt idx="1440">
                  <c:v>43003</c:v>
                </c:pt>
                <c:pt idx="1441">
                  <c:v>43004</c:v>
                </c:pt>
                <c:pt idx="1442">
                  <c:v>43005</c:v>
                </c:pt>
                <c:pt idx="1443">
                  <c:v>43006</c:v>
                </c:pt>
                <c:pt idx="1444">
                  <c:v>43007</c:v>
                </c:pt>
                <c:pt idx="1445">
                  <c:v>43010</c:v>
                </c:pt>
                <c:pt idx="1446">
                  <c:v>43011</c:v>
                </c:pt>
                <c:pt idx="1447">
                  <c:v>43012</c:v>
                </c:pt>
                <c:pt idx="1448">
                  <c:v>43013</c:v>
                </c:pt>
                <c:pt idx="1449">
                  <c:v>43014</c:v>
                </c:pt>
                <c:pt idx="1450">
                  <c:v>43017</c:v>
                </c:pt>
                <c:pt idx="1451">
                  <c:v>43018</c:v>
                </c:pt>
                <c:pt idx="1452">
                  <c:v>43019</c:v>
                </c:pt>
                <c:pt idx="1453">
                  <c:v>43020</c:v>
                </c:pt>
                <c:pt idx="1454">
                  <c:v>43021</c:v>
                </c:pt>
                <c:pt idx="1455">
                  <c:v>43024</c:v>
                </c:pt>
                <c:pt idx="1456">
                  <c:v>43025</c:v>
                </c:pt>
                <c:pt idx="1457">
                  <c:v>43026</c:v>
                </c:pt>
                <c:pt idx="1458">
                  <c:v>43027</c:v>
                </c:pt>
                <c:pt idx="1459">
                  <c:v>43028</c:v>
                </c:pt>
                <c:pt idx="1460">
                  <c:v>43031</c:v>
                </c:pt>
                <c:pt idx="1461">
                  <c:v>43032</c:v>
                </c:pt>
                <c:pt idx="1462">
                  <c:v>43033</c:v>
                </c:pt>
                <c:pt idx="1463">
                  <c:v>43034</c:v>
                </c:pt>
                <c:pt idx="1464">
                  <c:v>43035</c:v>
                </c:pt>
                <c:pt idx="1465">
                  <c:v>43038</c:v>
                </c:pt>
                <c:pt idx="1466">
                  <c:v>43039</c:v>
                </c:pt>
                <c:pt idx="1467">
                  <c:v>43040</c:v>
                </c:pt>
                <c:pt idx="1468">
                  <c:v>43041</c:v>
                </c:pt>
                <c:pt idx="1469">
                  <c:v>43042</c:v>
                </c:pt>
                <c:pt idx="1470">
                  <c:v>43045</c:v>
                </c:pt>
                <c:pt idx="1471">
                  <c:v>43046</c:v>
                </c:pt>
                <c:pt idx="1472">
                  <c:v>43047</c:v>
                </c:pt>
                <c:pt idx="1473">
                  <c:v>43048</c:v>
                </c:pt>
                <c:pt idx="1474">
                  <c:v>43049</c:v>
                </c:pt>
                <c:pt idx="1475">
                  <c:v>43052</c:v>
                </c:pt>
                <c:pt idx="1476">
                  <c:v>43053</c:v>
                </c:pt>
                <c:pt idx="1477">
                  <c:v>43054</c:v>
                </c:pt>
                <c:pt idx="1478">
                  <c:v>43055</c:v>
                </c:pt>
                <c:pt idx="1479">
                  <c:v>43056</c:v>
                </c:pt>
                <c:pt idx="1480">
                  <c:v>43059</c:v>
                </c:pt>
                <c:pt idx="1481">
                  <c:v>43060</c:v>
                </c:pt>
                <c:pt idx="1482">
                  <c:v>43061</c:v>
                </c:pt>
                <c:pt idx="1483">
                  <c:v>43062</c:v>
                </c:pt>
                <c:pt idx="1484">
                  <c:v>43063</c:v>
                </c:pt>
                <c:pt idx="1485">
                  <c:v>43066</c:v>
                </c:pt>
                <c:pt idx="1486">
                  <c:v>43067</c:v>
                </c:pt>
                <c:pt idx="1487">
                  <c:v>43068</c:v>
                </c:pt>
                <c:pt idx="1488">
                  <c:v>43069</c:v>
                </c:pt>
                <c:pt idx="1489">
                  <c:v>43070</c:v>
                </c:pt>
                <c:pt idx="1490">
                  <c:v>43073</c:v>
                </c:pt>
                <c:pt idx="1491">
                  <c:v>43074</c:v>
                </c:pt>
                <c:pt idx="1492">
                  <c:v>43075</c:v>
                </c:pt>
                <c:pt idx="1493">
                  <c:v>43076</c:v>
                </c:pt>
                <c:pt idx="1494">
                  <c:v>43077</c:v>
                </c:pt>
                <c:pt idx="1495">
                  <c:v>43080</c:v>
                </c:pt>
                <c:pt idx="1496">
                  <c:v>43081</c:v>
                </c:pt>
                <c:pt idx="1497">
                  <c:v>43082</c:v>
                </c:pt>
                <c:pt idx="1498">
                  <c:v>43083</c:v>
                </c:pt>
                <c:pt idx="1499">
                  <c:v>43084</c:v>
                </c:pt>
                <c:pt idx="1500">
                  <c:v>43087</c:v>
                </c:pt>
                <c:pt idx="1501">
                  <c:v>43088</c:v>
                </c:pt>
                <c:pt idx="1502">
                  <c:v>43089</c:v>
                </c:pt>
                <c:pt idx="1503">
                  <c:v>43090</c:v>
                </c:pt>
                <c:pt idx="1504">
                  <c:v>43091</c:v>
                </c:pt>
                <c:pt idx="1505">
                  <c:v>43094</c:v>
                </c:pt>
                <c:pt idx="1506">
                  <c:v>43095</c:v>
                </c:pt>
                <c:pt idx="1507">
                  <c:v>43096</c:v>
                </c:pt>
                <c:pt idx="1508">
                  <c:v>43097</c:v>
                </c:pt>
                <c:pt idx="1509">
                  <c:v>43098</c:v>
                </c:pt>
                <c:pt idx="1510">
                  <c:v>43101</c:v>
                </c:pt>
                <c:pt idx="1511">
                  <c:v>43102</c:v>
                </c:pt>
                <c:pt idx="1512">
                  <c:v>43103</c:v>
                </c:pt>
                <c:pt idx="1513">
                  <c:v>43104</c:v>
                </c:pt>
                <c:pt idx="1514">
                  <c:v>43105</c:v>
                </c:pt>
                <c:pt idx="1515">
                  <c:v>43108</c:v>
                </c:pt>
                <c:pt idx="1516">
                  <c:v>43109</c:v>
                </c:pt>
                <c:pt idx="1517">
                  <c:v>43110</c:v>
                </c:pt>
                <c:pt idx="1518">
                  <c:v>43111</c:v>
                </c:pt>
                <c:pt idx="1519">
                  <c:v>43112</c:v>
                </c:pt>
                <c:pt idx="1520">
                  <c:v>43115</c:v>
                </c:pt>
                <c:pt idx="1521">
                  <c:v>43116</c:v>
                </c:pt>
                <c:pt idx="1522">
                  <c:v>43117</c:v>
                </c:pt>
                <c:pt idx="1523">
                  <c:v>43118</c:v>
                </c:pt>
                <c:pt idx="1524">
                  <c:v>43119</c:v>
                </c:pt>
                <c:pt idx="1525">
                  <c:v>43122</c:v>
                </c:pt>
                <c:pt idx="1526">
                  <c:v>43123</c:v>
                </c:pt>
                <c:pt idx="1527">
                  <c:v>43124</c:v>
                </c:pt>
                <c:pt idx="1528">
                  <c:v>43125</c:v>
                </c:pt>
                <c:pt idx="1529">
                  <c:v>43126</c:v>
                </c:pt>
                <c:pt idx="1530">
                  <c:v>43129</c:v>
                </c:pt>
                <c:pt idx="1531">
                  <c:v>43130</c:v>
                </c:pt>
                <c:pt idx="1532">
                  <c:v>43131</c:v>
                </c:pt>
                <c:pt idx="1533">
                  <c:v>43132</c:v>
                </c:pt>
                <c:pt idx="1534">
                  <c:v>43133</c:v>
                </c:pt>
                <c:pt idx="1535">
                  <c:v>43136</c:v>
                </c:pt>
                <c:pt idx="1536">
                  <c:v>43137</c:v>
                </c:pt>
                <c:pt idx="1537">
                  <c:v>43138</c:v>
                </c:pt>
                <c:pt idx="1538">
                  <c:v>43139</c:v>
                </c:pt>
                <c:pt idx="1539">
                  <c:v>43140</c:v>
                </c:pt>
                <c:pt idx="1540">
                  <c:v>43143</c:v>
                </c:pt>
                <c:pt idx="1541">
                  <c:v>43144</c:v>
                </c:pt>
                <c:pt idx="1542">
                  <c:v>43145</c:v>
                </c:pt>
                <c:pt idx="1543">
                  <c:v>43146</c:v>
                </c:pt>
                <c:pt idx="1544">
                  <c:v>43147</c:v>
                </c:pt>
                <c:pt idx="1545">
                  <c:v>43150</c:v>
                </c:pt>
                <c:pt idx="1546">
                  <c:v>43151</c:v>
                </c:pt>
                <c:pt idx="1547">
                  <c:v>43152</c:v>
                </c:pt>
                <c:pt idx="1548">
                  <c:v>43153</c:v>
                </c:pt>
                <c:pt idx="1549">
                  <c:v>43154</c:v>
                </c:pt>
                <c:pt idx="1550">
                  <c:v>43157</c:v>
                </c:pt>
                <c:pt idx="1551">
                  <c:v>43158</c:v>
                </c:pt>
                <c:pt idx="1552">
                  <c:v>43159</c:v>
                </c:pt>
                <c:pt idx="1553">
                  <c:v>43160</c:v>
                </c:pt>
                <c:pt idx="1554">
                  <c:v>43161</c:v>
                </c:pt>
                <c:pt idx="1555">
                  <c:v>43164</c:v>
                </c:pt>
                <c:pt idx="1556">
                  <c:v>43165</c:v>
                </c:pt>
                <c:pt idx="1557">
                  <c:v>43166</c:v>
                </c:pt>
                <c:pt idx="1558">
                  <c:v>43167</c:v>
                </c:pt>
                <c:pt idx="1559">
                  <c:v>43168</c:v>
                </c:pt>
                <c:pt idx="1560">
                  <c:v>43171</c:v>
                </c:pt>
                <c:pt idx="1561">
                  <c:v>43172</c:v>
                </c:pt>
                <c:pt idx="1562">
                  <c:v>43173</c:v>
                </c:pt>
                <c:pt idx="1563">
                  <c:v>43174</c:v>
                </c:pt>
                <c:pt idx="1564">
                  <c:v>43175</c:v>
                </c:pt>
                <c:pt idx="1565">
                  <c:v>43178</c:v>
                </c:pt>
                <c:pt idx="1566">
                  <c:v>43179</c:v>
                </c:pt>
                <c:pt idx="1567">
                  <c:v>43180</c:v>
                </c:pt>
                <c:pt idx="1568">
                  <c:v>43181</c:v>
                </c:pt>
                <c:pt idx="1569">
                  <c:v>43182</c:v>
                </c:pt>
                <c:pt idx="1570">
                  <c:v>43185</c:v>
                </c:pt>
                <c:pt idx="1571">
                  <c:v>43186</c:v>
                </c:pt>
                <c:pt idx="1572">
                  <c:v>43187</c:v>
                </c:pt>
                <c:pt idx="1573">
                  <c:v>43188</c:v>
                </c:pt>
                <c:pt idx="1574">
                  <c:v>43189</c:v>
                </c:pt>
                <c:pt idx="1575">
                  <c:v>43192</c:v>
                </c:pt>
                <c:pt idx="1576">
                  <c:v>43193</c:v>
                </c:pt>
                <c:pt idx="1577">
                  <c:v>43194</c:v>
                </c:pt>
                <c:pt idx="1578">
                  <c:v>43195</c:v>
                </c:pt>
                <c:pt idx="1579">
                  <c:v>43196</c:v>
                </c:pt>
                <c:pt idx="1580">
                  <c:v>43199</c:v>
                </c:pt>
                <c:pt idx="1581">
                  <c:v>43200</c:v>
                </c:pt>
                <c:pt idx="1582">
                  <c:v>43201</c:v>
                </c:pt>
                <c:pt idx="1583">
                  <c:v>43202</c:v>
                </c:pt>
                <c:pt idx="1584">
                  <c:v>43203</c:v>
                </c:pt>
                <c:pt idx="1585">
                  <c:v>43206</c:v>
                </c:pt>
                <c:pt idx="1586">
                  <c:v>43207</c:v>
                </c:pt>
                <c:pt idx="1587">
                  <c:v>43208</c:v>
                </c:pt>
                <c:pt idx="1588">
                  <c:v>43209</c:v>
                </c:pt>
                <c:pt idx="1589">
                  <c:v>43210</c:v>
                </c:pt>
                <c:pt idx="1590">
                  <c:v>43213</c:v>
                </c:pt>
                <c:pt idx="1591">
                  <c:v>43214</c:v>
                </c:pt>
                <c:pt idx="1592">
                  <c:v>43215</c:v>
                </c:pt>
                <c:pt idx="1593">
                  <c:v>43216</c:v>
                </c:pt>
                <c:pt idx="1594">
                  <c:v>43217</c:v>
                </c:pt>
                <c:pt idx="1595">
                  <c:v>43220</c:v>
                </c:pt>
                <c:pt idx="1596">
                  <c:v>43221</c:v>
                </c:pt>
                <c:pt idx="1597">
                  <c:v>43222</c:v>
                </c:pt>
                <c:pt idx="1598">
                  <c:v>43223</c:v>
                </c:pt>
                <c:pt idx="1599">
                  <c:v>43224</c:v>
                </c:pt>
                <c:pt idx="1600">
                  <c:v>43227</c:v>
                </c:pt>
                <c:pt idx="1601">
                  <c:v>43228</c:v>
                </c:pt>
                <c:pt idx="1602">
                  <c:v>43229</c:v>
                </c:pt>
                <c:pt idx="1603">
                  <c:v>43230</c:v>
                </c:pt>
                <c:pt idx="1604">
                  <c:v>43231</c:v>
                </c:pt>
                <c:pt idx="1605">
                  <c:v>43234</c:v>
                </c:pt>
                <c:pt idx="1606">
                  <c:v>43235</c:v>
                </c:pt>
                <c:pt idx="1607">
                  <c:v>43236</c:v>
                </c:pt>
                <c:pt idx="1608">
                  <c:v>43237</c:v>
                </c:pt>
                <c:pt idx="1609">
                  <c:v>43238</c:v>
                </c:pt>
                <c:pt idx="1610">
                  <c:v>43241</c:v>
                </c:pt>
                <c:pt idx="1611">
                  <c:v>43242</c:v>
                </c:pt>
                <c:pt idx="1612">
                  <c:v>43243</c:v>
                </c:pt>
                <c:pt idx="1613">
                  <c:v>43244</c:v>
                </c:pt>
                <c:pt idx="1614">
                  <c:v>43245</c:v>
                </c:pt>
                <c:pt idx="1615">
                  <c:v>43248</c:v>
                </c:pt>
                <c:pt idx="1616">
                  <c:v>43249</c:v>
                </c:pt>
                <c:pt idx="1617">
                  <c:v>43250</c:v>
                </c:pt>
                <c:pt idx="1618">
                  <c:v>43251</c:v>
                </c:pt>
                <c:pt idx="1619">
                  <c:v>43252</c:v>
                </c:pt>
                <c:pt idx="1620">
                  <c:v>43255</c:v>
                </c:pt>
                <c:pt idx="1621">
                  <c:v>43256</c:v>
                </c:pt>
                <c:pt idx="1622">
                  <c:v>43257</c:v>
                </c:pt>
                <c:pt idx="1623">
                  <c:v>43258</c:v>
                </c:pt>
                <c:pt idx="1624">
                  <c:v>43259</c:v>
                </c:pt>
                <c:pt idx="1625">
                  <c:v>43262</c:v>
                </c:pt>
                <c:pt idx="1626">
                  <c:v>43263</c:v>
                </c:pt>
                <c:pt idx="1627">
                  <c:v>43264</c:v>
                </c:pt>
                <c:pt idx="1628">
                  <c:v>43265</c:v>
                </c:pt>
                <c:pt idx="1629">
                  <c:v>43266</c:v>
                </c:pt>
                <c:pt idx="1630">
                  <c:v>43269</c:v>
                </c:pt>
                <c:pt idx="1631">
                  <c:v>43270</c:v>
                </c:pt>
                <c:pt idx="1632">
                  <c:v>43271</c:v>
                </c:pt>
                <c:pt idx="1633">
                  <c:v>43272</c:v>
                </c:pt>
                <c:pt idx="1634">
                  <c:v>43273</c:v>
                </c:pt>
                <c:pt idx="1635">
                  <c:v>43276</c:v>
                </c:pt>
                <c:pt idx="1636">
                  <c:v>43277</c:v>
                </c:pt>
                <c:pt idx="1637">
                  <c:v>43278</c:v>
                </c:pt>
                <c:pt idx="1638">
                  <c:v>43279</c:v>
                </c:pt>
                <c:pt idx="1639">
                  <c:v>43280</c:v>
                </c:pt>
                <c:pt idx="1640">
                  <c:v>43283</c:v>
                </c:pt>
                <c:pt idx="1641">
                  <c:v>43284</c:v>
                </c:pt>
                <c:pt idx="1642">
                  <c:v>43285</c:v>
                </c:pt>
                <c:pt idx="1643">
                  <c:v>43286</c:v>
                </c:pt>
                <c:pt idx="1644">
                  <c:v>43287</c:v>
                </c:pt>
                <c:pt idx="1645">
                  <c:v>43290</c:v>
                </c:pt>
                <c:pt idx="1646">
                  <c:v>43291</c:v>
                </c:pt>
                <c:pt idx="1647">
                  <c:v>43292</c:v>
                </c:pt>
                <c:pt idx="1648">
                  <c:v>43293</c:v>
                </c:pt>
                <c:pt idx="1649">
                  <c:v>43294</c:v>
                </c:pt>
                <c:pt idx="1650">
                  <c:v>43297</c:v>
                </c:pt>
                <c:pt idx="1651">
                  <c:v>43298</c:v>
                </c:pt>
                <c:pt idx="1652">
                  <c:v>43299</c:v>
                </c:pt>
                <c:pt idx="1653">
                  <c:v>43300</c:v>
                </c:pt>
                <c:pt idx="1654">
                  <c:v>43301</c:v>
                </c:pt>
                <c:pt idx="1655">
                  <c:v>43304</c:v>
                </c:pt>
                <c:pt idx="1656">
                  <c:v>43305</c:v>
                </c:pt>
                <c:pt idx="1657">
                  <c:v>43306</c:v>
                </c:pt>
                <c:pt idx="1658">
                  <c:v>43307</c:v>
                </c:pt>
                <c:pt idx="1659">
                  <c:v>43308</c:v>
                </c:pt>
                <c:pt idx="1660">
                  <c:v>43311</c:v>
                </c:pt>
                <c:pt idx="1661">
                  <c:v>43312</c:v>
                </c:pt>
                <c:pt idx="1662">
                  <c:v>43313</c:v>
                </c:pt>
                <c:pt idx="1663">
                  <c:v>43314</c:v>
                </c:pt>
                <c:pt idx="1664">
                  <c:v>43315</c:v>
                </c:pt>
                <c:pt idx="1665">
                  <c:v>43318</c:v>
                </c:pt>
                <c:pt idx="1666">
                  <c:v>43319</c:v>
                </c:pt>
                <c:pt idx="1667">
                  <c:v>43320</c:v>
                </c:pt>
                <c:pt idx="1668">
                  <c:v>43321</c:v>
                </c:pt>
                <c:pt idx="1669">
                  <c:v>43322</c:v>
                </c:pt>
                <c:pt idx="1670">
                  <c:v>43325</c:v>
                </c:pt>
                <c:pt idx="1671">
                  <c:v>43326</c:v>
                </c:pt>
                <c:pt idx="1672">
                  <c:v>43327</c:v>
                </c:pt>
                <c:pt idx="1673">
                  <c:v>43328</c:v>
                </c:pt>
                <c:pt idx="1674">
                  <c:v>43329</c:v>
                </c:pt>
                <c:pt idx="1675">
                  <c:v>43332</c:v>
                </c:pt>
                <c:pt idx="1676">
                  <c:v>43333</c:v>
                </c:pt>
                <c:pt idx="1677">
                  <c:v>43334</c:v>
                </c:pt>
                <c:pt idx="1678">
                  <c:v>43335</c:v>
                </c:pt>
                <c:pt idx="1679">
                  <c:v>43336</c:v>
                </c:pt>
                <c:pt idx="1680">
                  <c:v>43339</c:v>
                </c:pt>
                <c:pt idx="1681">
                  <c:v>43340</c:v>
                </c:pt>
                <c:pt idx="1682">
                  <c:v>43341</c:v>
                </c:pt>
                <c:pt idx="1683">
                  <c:v>43342</c:v>
                </c:pt>
                <c:pt idx="1684">
                  <c:v>43343</c:v>
                </c:pt>
                <c:pt idx="1685">
                  <c:v>43346</c:v>
                </c:pt>
                <c:pt idx="1686">
                  <c:v>43347</c:v>
                </c:pt>
                <c:pt idx="1687">
                  <c:v>43348</c:v>
                </c:pt>
                <c:pt idx="1688">
                  <c:v>43349</c:v>
                </c:pt>
                <c:pt idx="1689">
                  <c:v>43350</c:v>
                </c:pt>
                <c:pt idx="1690">
                  <c:v>43353</c:v>
                </c:pt>
                <c:pt idx="1691">
                  <c:v>43354</c:v>
                </c:pt>
                <c:pt idx="1692">
                  <c:v>43355</c:v>
                </c:pt>
                <c:pt idx="1693">
                  <c:v>43356</c:v>
                </c:pt>
                <c:pt idx="1694">
                  <c:v>43357</c:v>
                </c:pt>
                <c:pt idx="1695">
                  <c:v>43360</c:v>
                </c:pt>
                <c:pt idx="1696">
                  <c:v>43361</c:v>
                </c:pt>
                <c:pt idx="1697">
                  <c:v>43362</c:v>
                </c:pt>
                <c:pt idx="1698">
                  <c:v>43363</c:v>
                </c:pt>
                <c:pt idx="1699">
                  <c:v>43364</c:v>
                </c:pt>
                <c:pt idx="1700">
                  <c:v>43367</c:v>
                </c:pt>
                <c:pt idx="1701">
                  <c:v>43368</c:v>
                </c:pt>
                <c:pt idx="1702">
                  <c:v>43369</c:v>
                </c:pt>
                <c:pt idx="1703">
                  <c:v>43370</c:v>
                </c:pt>
                <c:pt idx="1704">
                  <c:v>43371</c:v>
                </c:pt>
                <c:pt idx="1705">
                  <c:v>43374</c:v>
                </c:pt>
                <c:pt idx="1706">
                  <c:v>43375</c:v>
                </c:pt>
                <c:pt idx="1707">
                  <c:v>43376</c:v>
                </c:pt>
                <c:pt idx="1708">
                  <c:v>43377</c:v>
                </c:pt>
                <c:pt idx="1709">
                  <c:v>43378</c:v>
                </c:pt>
                <c:pt idx="1710">
                  <c:v>43381</c:v>
                </c:pt>
                <c:pt idx="1711">
                  <c:v>43382</c:v>
                </c:pt>
                <c:pt idx="1712">
                  <c:v>43383</c:v>
                </c:pt>
                <c:pt idx="1713">
                  <c:v>43384</c:v>
                </c:pt>
                <c:pt idx="1714">
                  <c:v>43385</c:v>
                </c:pt>
                <c:pt idx="1715">
                  <c:v>43388</c:v>
                </c:pt>
                <c:pt idx="1716">
                  <c:v>43389</c:v>
                </c:pt>
                <c:pt idx="1717">
                  <c:v>43390</c:v>
                </c:pt>
                <c:pt idx="1718">
                  <c:v>43391</c:v>
                </c:pt>
                <c:pt idx="1719">
                  <c:v>43392</c:v>
                </c:pt>
                <c:pt idx="1720">
                  <c:v>43395</c:v>
                </c:pt>
                <c:pt idx="1721">
                  <c:v>43396</c:v>
                </c:pt>
                <c:pt idx="1722">
                  <c:v>43397</c:v>
                </c:pt>
                <c:pt idx="1723">
                  <c:v>43398</c:v>
                </c:pt>
                <c:pt idx="1724">
                  <c:v>43399</c:v>
                </c:pt>
                <c:pt idx="1725">
                  <c:v>43402</c:v>
                </c:pt>
                <c:pt idx="1726">
                  <c:v>43403</c:v>
                </c:pt>
                <c:pt idx="1727">
                  <c:v>43404</c:v>
                </c:pt>
                <c:pt idx="1728">
                  <c:v>43405</c:v>
                </c:pt>
                <c:pt idx="1729">
                  <c:v>43406</c:v>
                </c:pt>
                <c:pt idx="1730">
                  <c:v>43409</c:v>
                </c:pt>
                <c:pt idx="1731">
                  <c:v>43410</c:v>
                </c:pt>
                <c:pt idx="1732">
                  <c:v>43411</c:v>
                </c:pt>
                <c:pt idx="1733">
                  <c:v>43412</c:v>
                </c:pt>
                <c:pt idx="1734">
                  <c:v>43413</c:v>
                </c:pt>
                <c:pt idx="1735">
                  <c:v>43416</c:v>
                </c:pt>
                <c:pt idx="1736">
                  <c:v>43417</c:v>
                </c:pt>
                <c:pt idx="1737">
                  <c:v>43418</c:v>
                </c:pt>
                <c:pt idx="1738">
                  <c:v>43419</c:v>
                </c:pt>
                <c:pt idx="1739">
                  <c:v>43420</c:v>
                </c:pt>
                <c:pt idx="1740">
                  <c:v>43423</c:v>
                </c:pt>
                <c:pt idx="1741">
                  <c:v>43424</c:v>
                </c:pt>
                <c:pt idx="1742">
                  <c:v>43425</c:v>
                </c:pt>
                <c:pt idx="1743">
                  <c:v>43426</c:v>
                </c:pt>
                <c:pt idx="1744">
                  <c:v>43427</c:v>
                </c:pt>
                <c:pt idx="1745">
                  <c:v>43430</c:v>
                </c:pt>
                <c:pt idx="1746">
                  <c:v>43431</c:v>
                </c:pt>
                <c:pt idx="1747">
                  <c:v>43432</c:v>
                </c:pt>
                <c:pt idx="1748">
                  <c:v>43433</c:v>
                </c:pt>
                <c:pt idx="1749">
                  <c:v>43434</c:v>
                </c:pt>
                <c:pt idx="1750">
                  <c:v>43437</c:v>
                </c:pt>
                <c:pt idx="1751">
                  <c:v>43438</c:v>
                </c:pt>
                <c:pt idx="1752">
                  <c:v>43439</c:v>
                </c:pt>
                <c:pt idx="1753">
                  <c:v>43440</c:v>
                </c:pt>
                <c:pt idx="1754">
                  <c:v>43441</c:v>
                </c:pt>
                <c:pt idx="1755">
                  <c:v>43444</c:v>
                </c:pt>
                <c:pt idx="1756">
                  <c:v>43445</c:v>
                </c:pt>
                <c:pt idx="1757">
                  <c:v>43446</c:v>
                </c:pt>
                <c:pt idx="1758">
                  <c:v>43447</c:v>
                </c:pt>
                <c:pt idx="1759">
                  <c:v>43448</c:v>
                </c:pt>
                <c:pt idx="1760">
                  <c:v>43451</c:v>
                </c:pt>
                <c:pt idx="1761">
                  <c:v>43452</c:v>
                </c:pt>
                <c:pt idx="1762">
                  <c:v>43453</c:v>
                </c:pt>
                <c:pt idx="1763">
                  <c:v>43454</c:v>
                </c:pt>
                <c:pt idx="1764">
                  <c:v>43455</c:v>
                </c:pt>
                <c:pt idx="1765">
                  <c:v>43458</c:v>
                </c:pt>
                <c:pt idx="1766">
                  <c:v>43459</c:v>
                </c:pt>
                <c:pt idx="1767">
                  <c:v>43460</c:v>
                </c:pt>
                <c:pt idx="1768">
                  <c:v>43461</c:v>
                </c:pt>
                <c:pt idx="1769">
                  <c:v>43462</c:v>
                </c:pt>
                <c:pt idx="1770">
                  <c:v>43465</c:v>
                </c:pt>
                <c:pt idx="1771">
                  <c:v>43466</c:v>
                </c:pt>
                <c:pt idx="1772">
                  <c:v>43467</c:v>
                </c:pt>
                <c:pt idx="1773">
                  <c:v>43468</c:v>
                </c:pt>
                <c:pt idx="1774">
                  <c:v>43469</c:v>
                </c:pt>
                <c:pt idx="1775">
                  <c:v>43472</c:v>
                </c:pt>
                <c:pt idx="1776">
                  <c:v>43473</c:v>
                </c:pt>
                <c:pt idx="1777">
                  <c:v>43474</c:v>
                </c:pt>
                <c:pt idx="1778">
                  <c:v>43475</c:v>
                </c:pt>
                <c:pt idx="1779">
                  <c:v>43476</c:v>
                </c:pt>
                <c:pt idx="1780">
                  <c:v>43479</c:v>
                </c:pt>
                <c:pt idx="1781">
                  <c:v>43480</c:v>
                </c:pt>
                <c:pt idx="1782">
                  <c:v>43481</c:v>
                </c:pt>
                <c:pt idx="1783">
                  <c:v>43482</c:v>
                </c:pt>
                <c:pt idx="1784">
                  <c:v>43483</c:v>
                </c:pt>
                <c:pt idx="1785">
                  <c:v>43486</c:v>
                </c:pt>
                <c:pt idx="1786">
                  <c:v>43487</c:v>
                </c:pt>
                <c:pt idx="1787">
                  <c:v>43488</c:v>
                </c:pt>
                <c:pt idx="1788">
                  <c:v>43489</c:v>
                </c:pt>
                <c:pt idx="1789">
                  <c:v>43490</c:v>
                </c:pt>
                <c:pt idx="1790">
                  <c:v>43493</c:v>
                </c:pt>
                <c:pt idx="1791">
                  <c:v>43494</c:v>
                </c:pt>
                <c:pt idx="1792">
                  <c:v>43495</c:v>
                </c:pt>
                <c:pt idx="1793">
                  <c:v>43496</c:v>
                </c:pt>
                <c:pt idx="1794">
                  <c:v>43497</c:v>
                </c:pt>
                <c:pt idx="1795">
                  <c:v>43500</c:v>
                </c:pt>
                <c:pt idx="1796">
                  <c:v>43501</c:v>
                </c:pt>
                <c:pt idx="1797">
                  <c:v>43502</c:v>
                </c:pt>
                <c:pt idx="1798">
                  <c:v>43503</c:v>
                </c:pt>
                <c:pt idx="1799">
                  <c:v>43504</c:v>
                </c:pt>
                <c:pt idx="1800">
                  <c:v>43507</c:v>
                </c:pt>
                <c:pt idx="1801">
                  <c:v>43508</c:v>
                </c:pt>
                <c:pt idx="1802">
                  <c:v>43509</c:v>
                </c:pt>
                <c:pt idx="1803">
                  <c:v>43510</c:v>
                </c:pt>
                <c:pt idx="1804">
                  <c:v>43511</c:v>
                </c:pt>
                <c:pt idx="1805">
                  <c:v>43514</c:v>
                </c:pt>
                <c:pt idx="1806">
                  <c:v>43515</c:v>
                </c:pt>
                <c:pt idx="1807">
                  <c:v>43516</c:v>
                </c:pt>
                <c:pt idx="1808">
                  <c:v>43517</c:v>
                </c:pt>
                <c:pt idx="1809">
                  <c:v>43518</c:v>
                </c:pt>
                <c:pt idx="1810">
                  <c:v>43521</c:v>
                </c:pt>
                <c:pt idx="1811">
                  <c:v>43522</c:v>
                </c:pt>
                <c:pt idx="1812">
                  <c:v>43523</c:v>
                </c:pt>
                <c:pt idx="1813">
                  <c:v>43524</c:v>
                </c:pt>
                <c:pt idx="1814">
                  <c:v>43525</c:v>
                </c:pt>
                <c:pt idx="1815">
                  <c:v>43528</c:v>
                </c:pt>
                <c:pt idx="1816">
                  <c:v>43529</c:v>
                </c:pt>
                <c:pt idx="1817">
                  <c:v>43530</c:v>
                </c:pt>
                <c:pt idx="1818">
                  <c:v>43531</c:v>
                </c:pt>
                <c:pt idx="1819">
                  <c:v>43532</c:v>
                </c:pt>
                <c:pt idx="1820">
                  <c:v>43535</c:v>
                </c:pt>
                <c:pt idx="1821">
                  <c:v>43536</c:v>
                </c:pt>
                <c:pt idx="1822">
                  <c:v>43537</c:v>
                </c:pt>
                <c:pt idx="1823">
                  <c:v>43538</c:v>
                </c:pt>
                <c:pt idx="1824">
                  <c:v>43539</c:v>
                </c:pt>
                <c:pt idx="1825">
                  <c:v>43542</c:v>
                </c:pt>
                <c:pt idx="1826">
                  <c:v>43543</c:v>
                </c:pt>
                <c:pt idx="1827">
                  <c:v>43544</c:v>
                </c:pt>
                <c:pt idx="1828">
                  <c:v>43545</c:v>
                </c:pt>
                <c:pt idx="1829">
                  <c:v>43546</c:v>
                </c:pt>
                <c:pt idx="1830">
                  <c:v>43549</c:v>
                </c:pt>
                <c:pt idx="1831">
                  <c:v>43550</c:v>
                </c:pt>
                <c:pt idx="1832">
                  <c:v>43551</c:v>
                </c:pt>
                <c:pt idx="1833">
                  <c:v>43552</c:v>
                </c:pt>
                <c:pt idx="1834">
                  <c:v>43553</c:v>
                </c:pt>
                <c:pt idx="1835">
                  <c:v>43556</c:v>
                </c:pt>
                <c:pt idx="1836">
                  <c:v>43557</c:v>
                </c:pt>
                <c:pt idx="1837">
                  <c:v>43558</c:v>
                </c:pt>
                <c:pt idx="1838">
                  <c:v>43559</c:v>
                </c:pt>
                <c:pt idx="1839">
                  <c:v>43560</c:v>
                </c:pt>
                <c:pt idx="1840">
                  <c:v>43563</c:v>
                </c:pt>
                <c:pt idx="1841">
                  <c:v>43564</c:v>
                </c:pt>
                <c:pt idx="1842">
                  <c:v>43565</c:v>
                </c:pt>
                <c:pt idx="1843">
                  <c:v>43566</c:v>
                </c:pt>
                <c:pt idx="1844">
                  <c:v>43567</c:v>
                </c:pt>
                <c:pt idx="1845">
                  <c:v>43570</c:v>
                </c:pt>
                <c:pt idx="1846">
                  <c:v>43571</c:v>
                </c:pt>
                <c:pt idx="1847">
                  <c:v>43572</c:v>
                </c:pt>
                <c:pt idx="1848">
                  <c:v>43573</c:v>
                </c:pt>
                <c:pt idx="1849">
                  <c:v>43574</c:v>
                </c:pt>
                <c:pt idx="1850">
                  <c:v>43577</c:v>
                </c:pt>
                <c:pt idx="1851">
                  <c:v>43578</c:v>
                </c:pt>
                <c:pt idx="1852">
                  <c:v>43579</c:v>
                </c:pt>
                <c:pt idx="1853">
                  <c:v>43580</c:v>
                </c:pt>
                <c:pt idx="1854">
                  <c:v>43581</c:v>
                </c:pt>
                <c:pt idx="1855">
                  <c:v>43584</c:v>
                </c:pt>
                <c:pt idx="1856">
                  <c:v>43585</c:v>
                </c:pt>
                <c:pt idx="1857">
                  <c:v>43586</c:v>
                </c:pt>
                <c:pt idx="1858">
                  <c:v>43587</c:v>
                </c:pt>
                <c:pt idx="1859">
                  <c:v>43588</c:v>
                </c:pt>
                <c:pt idx="1860">
                  <c:v>43591</c:v>
                </c:pt>
                <c:pt idx="1861">
                  <c:v>43592</c:v>
                </c:pt>
                <c:pt idx="1862">
                  <c:v>43593</c:v>
                </c:pt>
                <c:pt idx="1863">
                  <c:v>43594</c:v>
                </c:pt>
                <c:pt idx="1864">
                  <c:v>43595</c:v>
                </c:pt>
                <c:pt idx="1865">
                  <c:v>43598</c:v>
                </c:pt>
                <c:pt idx="1866">
                  <c:v>43599</c:v>
                </c:pt>
                <c:pt idx="1867">
                  <c:v>43600</c:v>
                </c:pt>
                <c:pt idx="1868">
                  <c:v>43601</c:v>
                </c:pt>
                <c:pt idx="1869">
                  <c:v>43602</c:v>
                </c:pt>
                <c:pt idx="1870">
                  <c:v>43605</c:v>
                </c:pt>
                <c:pt idx="1871">
                  <c:v>43606</c:v>
                </c:pt>
                <c:pt idx="1872">
                  <c:v>43607</c:v>
                </c:pt>
                <c:pt idx="1873">
                  <c:v>43608</c:v>
                </c:pt>
                <c:pt idx="1874">
                  <c:v>43609</c:v>
                </c:pt>
                <c:pt idx="1875">
                  <c:v>43612</c:v>
                </c:pt>
                <c:pt idx="1876">
                  <c:v>43613</c:v>
                </c:pt>
                <c:pt idx="1877">
                  <c:v>43614</c:v>
                </c:pt>
                <c:pt idx="1878">
                  <c:v>43615</c:v>
                </c:pt>
                <c:pt idx="1879">
                  <c:v>43616</c:v>
                </c:pt>
              </c:numCache>
            </c:numRef>
          </c:cat>
          <c:val>
            <c:numRef>
              <c:f>'fixed target'!$N$19:$N$1898</c:f>
              <c:numCache>
                <c:formatCode>General</c:formatCode>
                <c:ptCount val="1880"/>
                <c:pt idx="253" formatCode="0.00">
                  <c:v>0.37706122665140301</c:v>
                </c:pt>
                <c:pt idx="254" formatCode="0.00">
                  <c:v>0.37575073914092022</c:v>
                </c:pt>
                <c:pt idx="255" formatCode="0.00">
                  <c:v>0.37593013701594175</c:v>
                </c:pt>
                <c:pt idx="256" formatCode="0.00">
                  <c:v>0.37537630841235964</c:v>
                </c:pt>
                <c:pt idx="257" formatCode="0.00">
                  <c:v>0.37394423963682638</c:v>
                </c:pt>
                <c:pt idx="258" formatCode="0.00">
                  <c:v>0.37390618723010965</c:v>
                </c:pt>
                <c:pt idx="259" formatCode="0.00">
                  <c:v>0.37025861765353613</c:v>
                </c:pt>
                <c:pt idx="260" formatCode="0.00">
                  <c:v>0.36812157028678993</c:v>
                </c:pt>
                <c:pt idx="261" formatCode="0.00">
                  <c:v>0.36792692632447932</c:v>
                </c:pt>
                <c:pt idx="262" formatCode="0.00">
                  <c:v>0.36812850661239371</c:v>
                </c:pt>
                <c:pt idx="263" formatCode="0.00">
                  <c:v>0.36855866823988437</c:v>
                </c:pt>
                <c:pt idx="264" formatCode="0.00">
                  <c:v>0.36881993480322056</c:v>
                </c:pt>
                <c:pt idx="265" formatCode="0.00">
                  <c:v>0.37098090395315675</c:v>
                </c:pt>
                <c:pt idx="266" formatCode="0.00">
                  <c:v>0.37078136719449317</c:v>
                </c:pt>
                <c:pt idx="267" formatCode="0.00">
                  <c:v>0.37065934568784514</c:v>
                </c:pt>
                <c:pt idx="268" formatCode="0.00">
                  <c:v>0.37074756698809241</c:v>
                </c:pt>
                <c:pt idx="269" formatCode="0.00">
                  <c:v>0.36938549509764118</c:v>
                </c:pt>
                <c:pt idx="270" formatCode="0.00">
                  <c:v>0.37002636231410602</c:v>
                </c:pt>
                <c:pt idx="271" formatCode="0.00">
                  <c:v>0.37001137543091578</c:v>
                </c:pt>
                <c:pt idx="272" formatCode="0.00">
                  <c:v>0.36754581112684143</c:v>
                </c:pt>
                <c:pt idx="273" formatCode="0.00">
                  <c:v>0.36368754618265853</c:v>
                </c:pt>
                <c:pt idx="274" formatCode="0.00">
                  <c:v>0.36602934469057968</c:v>
                </c:pt>
                <c:pt idx="275" formatCode="0.00">
                  <c:v>0.36513087502360353</c:v>
                </c:pt>
                <c:pt idx="276" formatCode="0.00">
                  <c:v>0.36516986327680689</c:v>
                </c:pt>
                <c:pt idx="277" formatCode="0.00">
                  <c:v>0.36515008900588541</c:v>
                </c:pt>
                <c:pt idx="278" formatCode="0.00">
                  <c:v>0.36393531928179834</c:v>
                </c:pt>
                <c:pt idx="279" formatCode="0.00">
                  <c:v>0.36697009602384734</c:v>
                </c:pt>
                <c:pt idx="280" formatCode="0.00">
                  <c:v>0.36665305201954668</c:v>
                </c:pt>
                <c:pt idx="281" formatCode="0.00">
                  <c:v>0.36683319189757474</c:v>
                </c:pt>
                <c:pt idx="282" formatCode="0.00">
                  <c:v>0.36715269342179924</c:v>
                </c:pt>
                <c:pt idx="283" formatCode="0.00">
                  <c:v>0.36529563320044994</c:v>
                </c:pt>
                <c:pt idx="284" formatCode="0.00">
                  <c:v>0.37219465240847271</c:v>
                </c:pt>
                <c:pt idx="285" formatCode="0.00">
                  <c:v>0.37239423575908159</c:v>
                </c:pt>
                <c:pt idx="286" formatCode="0.00">
                  <c:v>0.37239507520094073</c:v>
                </c:pt>
                <c:pt idx="287" formatCode="0.00">
                  <c:v>0.3706732117788637</c:v>
                </c:pt>
                <c:pt idx="288" formatCode="0.00">
                  <c:v>0.37019852295089556</c:v>
                </c:pt>
                <c:pt idx="289" formatCode="0.00">
                  <c:v>0.37056355489791887</c:v>
                </c:pt>
                <c:pt idx="290" formatCode="0.00">
                  <c:v>0.37036008003201859</c:v>
                </c:pt>
                <c:pt idx="291" formatCode="0.00">
                  <c:v>0.37028583369953971</c:v>
                </c:pt>
                <c:pt idx="292" formatCode="0.00">
                  <c:v>0.37130432547688602</c:v>
                </c:pt>
                <c:pt idx="293" formatCode="0.00">
                  <c:v>0.36973677578151659</c:v>
                </c:pt>
                <c:pt idx="294" formatCode="0.00">
                  <c:v>0.36943020107229996</c:v>
                </c:pt>
                <c:pt idx="295" formatCode="0.00">
                  <c:v>0.36841332284735867</c:v>
                </c:pt>
                <c:pt idx="296" formatCode="0.00">
                  <c:v>0.36803480248500864</c:v>
                </c:pt>
                <c:pt idx="297" formatCode="0.00">
                  <c:v>0.36811580772523911</c:v>
                </c:pt>
                <c:pt idx="298" formatCode="0.00">
                  <c:v>0.36762746325520684</c:v>
                </c:pt>
                <c:pt idx="299" formatCode="0.00">
                  <c:v>0.36741462854560092</c:v>
                </c:pt>
                <c:pt idx="300" formatCode="0.00">
                  <c:v>0.3669143790657603</c:v>
                </c:pt>
                <c:pt idx="301" formatCode="0.00">
                  <c:v>0.36559664843879369</c:v>
                </c:pt>
                <c:pt idx="302" formatCode="0.00">
                  <c:v>0.36560995988097689</c:v>
                </c:pt>
                <c:pt idx="303" formatCode="0.00">
                  <c:v>0.3657113691537619</c:v>
                </c:pt>
                <c:pt idx="304" formatCode="0.00">
                  <c:v>0.36696466205484135</c:v>
                </c:pt>
                <c:pt idx="305" formatCode="0.00">
                  <c:v>0.36577969517528164</c:v>
                </c:pt>
                <c:pt idx="306" formatCode="0.00">
                  <c:v>0.36268418624150495</c:v>
                </c:pt>
                <c:pt idx="307" formatCode="0.00">
                  <c:v>0.36302556622898147</c:v>
                </c:pt>
                <c:pt idx="308" formatCode="0.00">
                  <c:v>0.36743308054127294</c:v>
                </c:pt>
                <c:pt idx="309" formatCode="0.00">
                  <c:v>0.36804327165713363</c:v>
                </c:pt>
                <c:pt idx="310" formatCode="0.00">
                  <c:v>0.36787276429435306</c:v>
                </c:pt>
                <c:pt idx="311" formatCode="0.00">
                  <c:v>0.36907154832020228</c:v>
                </c:pt>
                <c:pt idx="312" formatCode="0.00">
                  <c:v>0.36895040349382624</c:v>
                </c:pt>
                <c:pt idx="313" formatCode="0.00">
                  <c:v>0.36894680522520962</c:v>
                </c:pt>
                <c:pt idx="314" formatCode="0.00">
                  <c:v>0.36904964128751938</c:v>
                </c:pt>
                <c:pt idx="315" formatCode="0.00">
                  <c:v>0.37080408993575725</c:v>
                </c:pt>
                <c:pt idx="316" formatCode="0.00">
                  <c:v>0.37313807053244719</c:v>
                </c:pt>
                <c:pt idx="317" formatCode="0.00">
                  <c:v>0.37374496574376592</c:v>
                </c:pt>
                <c:pt idx="318" formatCode="0.00">
                  <c:v>0.37356611120808014</c:v>
                </c:pt>
                <c:pt idx="319" formatCode="0.00">
                  <c:v>0.37360604186542817</c:v>
                </c:pt>
                <c:pt idx="320" formatCode="0.00">
                  <c:v>0.37316707187382686</c:v>
                </c:pt>
                <c:pt idx="321" formatCode="0.00">
                  <c:v>0.37348723374074883</c:v>
                </c:pt>
                <c:pt idx="322" formatCode="0.00">
                  <c:v>0.37263302825747924</c:v>
                </c:pt>
                <c:pt idx="323" formatCode="0.00">
                  <c:v>0.3739127121569909</c:v>
                </c:pt>
                <c:pt idx="324" formatCode="0.00">
                  <c:v>0.374385596547402</c:v>
                </c:pt>
                <c:pt idx="325" formatCode="0.00">
                  <c:v>0.37487559405355964</c:v>
                </c:pt>
                <c:pt idx="326" formatCode="0.00">
                  <c:v>0.37361629733022816</c:v>
                </c:pt>
                <c:pt idx="327" formatCode="0.00">
                  <c:v>0.37347747507004586</c:v>
                </c:pt>
                <c:pt idx="328" formatCode="0.00">
                  <c:v>0.37431529957891896</c:v>
                </c:pt>
                <c:pt idx="329" formatCode="0.00">
                  <c:v>0.37357659669535132</c:v>
                </c:pt>
                <c:pt idx="330" formatCode="0.00">
                  <c:v>0.37377052147703033</c:v>
                </c:pt>
                <c:pt idx="331" formatCode="0.00">
                  <c:v>0.3743715076335376</c:v>
                </c:pt>
                <c:pt idx="332" formatCode="0.00">
                  <c:v>0.37458989303134366</c:v>
                </c:pt>
                <c:pt idx="333" formatCode="0.00">
                  <c:v>0.37500881155807225</c:v>
                </c:pt>
                <c:pt idx="334" formatCode="0.00">
                  <c:v>0.37475598615153527</c:v>
                </c:pt>
                <c:pt idx="335" formatCode="0.00">
                  <c:v>0.37199804640054718</c:v>
                </c:pt>
                <c:pt idx="336" formatCode="0.00">
                  <c:v>0.37210247855999734</c:v>
                </c:pt>
                <c:pt idx="337" formatCode="0.00">
                  <c:v>0.37427200759307488</c:v>
                </c:pt>
                <c:pt idx="338" formatCode="0.00">
                  <c:v>0.37473617719130148</c:v>
                </c:pt>
                <c:pt idx="339" formatCode="0.00">
                  <c:v>0.37747467113040817</c:v>
                </c:pt>
                <c:pt idx="340" formatCode="0.00">
                  <c:v>0.37801947260921143</c:v>
                </c:pt>
                <c:pt idx="341" formatCode="0.00">
                  <c:v>0.37824549802038487</c:v>
                </c:pt>
                <c:pt idx="342" formatCode="0.00">
                  <c:v>0.37573086419864088</c:v>
                </c:pt>
                <c:pt idx="343" formatCode="0.00">
                  <c:v>0.37894397611588354</c:v>
                </c:pt>
                <c:pt idx="344" formatCode="0.00">
                  <c:v>0.378867835714988</c:v>
                </c:pt>
                <c:pt idx="345" formatCode="0.00">
                  <c:v>0.37895700028874008</c:v>
                </c:pt>
                <c:pt idx="346" formatCode="0.00">
                  <c:v>0.37888932608713977</c:v>
                </c:pt>
                <c:pt idx="347" formatCode="0.00">
                  <c:v>0.37331932093519016</c:v>
                </c:pt>
                <c:pt idx="348" formatCode="0.00">
                  <c:v>0.37353677156148468</c:v>
                </c:pt>
                <c:pt idx="349" formatCode="0.00">
                  <c:v>0.37396831569384836</c:v>
                </c:pt>
                <c:pt idx="350" formatCode="0.00">
                  <c:v>0.37666753039838302</c:v>
                </c:pt>
                <c:pt idx="351" formatCode="0.00">
                  <c:v>0.376331866300881</c:v>
                </c:pt>
                <c:pt idx="352" formatCode="0.00">
                  <c:v>0.37936911887982172</c:v>
                </c:pt>
                <c:pt idx="353" formatCode="0.00">
                  <c:v>0.38501261678740817</c:v>
                </c:pt>
                <c:pt idx="354" formatCode="0.00">
                  <c:v>0.38359734019149683</c:v>
                </c:pt>
                <c:pt idx="355" formatCode="0.00">
                  <c:v>0.38357947699071626</c:v>
                </c:pt>
                <c:pt idx="356" formatCode="0.00">
                  <c:v>0.38400926615741571</c:v>
                </c:pt>
                <c:pt idx="357" formatCode="0.00">
                  <c:v>0.38771138282111128</c:v>
                </c:pt>
                <c:pt idx="358" formatCode="0.00">
                  <c:v>0.38874117509913531</c:v>
                </c:pt>
                <c:pt idx="359" formatCode="0.00">
                  <c:v>0.38940470464717519</c:v>
                </c:pt>
                <c:pt idx="360" formatCode="0.00">
                  <c:v>0.38922124311529699</c:v>
                </c:pt>
                <c:pt idx="361" formatCode="0.00">
                  <c:v>0.38870235520055069</c:v>
                </c:pt>
                <c:pt idx="362" formatCode="0.00">
                  <c:v>0.38809701333847757</c:v>
                </c:pt>
                <c:pt idx="363" formatCode="0.00">
                  <c:v>0.3876884203195507</c:v>
                </c:pt>
                <c:pt idx="364" formatCode="0.00">
                  <c:v>0.3913962556902128</c:v>
                </c:pt>
                <c:pt idx="365" formatCode="0.00">
                  <c:v>0.39310683362740506</c:v>
                </c:pt>
                <c:pt idx="366" formatCode="0.00">
                  <c:v>0.39922136696475957</c:v>
                </c:pt>
                <c:pt idx="367" formatCode="0.00">
                  <c:v>0.39928006692462176</c:v>
                </c:pt>
                <c:pt idx="368" formatCode="0.00">
                  <c:v>0.39864152845069245</c:v>
                </c:pt>
                <c:pt idx="369" formatCode="0.00">
                  <c:v>0.39814164171425626</c:v>
                </c:pt>
                <c:pt idx="370" formatCode="0.00">
                  <c:v>0.40170020962736175</c:v>
                </c:pt>
                <c:pt idx="371" formatCode="0.00">
                  <c:v>0.40060518949285856</c:v>
                </c:pt>
                <c:pt idx="372" formatCode="0.00">
                  <c:v>0.40146000382874675</c:v>
                </c:pt>
                <c:pt idx="373" formatCode="0.00">
                  <c:v>0.40148388666000995</c:v>
                </c:pt>
                <c:pt idx="374" formatCode="0.00">
                  <c:v>0.40237474744541274</c:v>
                </c:pt>
                <c:pt idx="375" formatCode="0.00">
                  <c:v>0.40207474120158038</c:v>
                </c:pt>
                <c:pt idx="376" formatCode="0.00">
                  <c:v>0.40238233975925453</c:v>
                </c:pt>
                <c:pt idx="377" formatCode="0.00">
                  <c:v>0.40194616994401511</c:v>
                </c:pt>
                <c:pt idx="378" formatCode="0.00">
                  <c:v>0.40365373172578833</c:v>
                </c:pt>
                <c:pt idx="379" formatCode="0.00">
                  <c:v>0.4042024763378973</c:v>
                </c:pt>
                <c:pt idx="380" formatCode="0.00">
                  <c:v>0.40364716638079601</c:v>
                </c:pt>
                <c:pt idx="381" formatCode="0.00">
                  <c:v>0.40376478182742159</c:v>
                </c:pt>
                <c:pt idx="382" formatCode="0.00">
                  <c:v>0.4027620242872425</c:v>
                </c:pt>
                <c:pt idx="383" formatCode="0.00">
                  <c:v>0.40167308302826493</c:v>
                </c:pt>
                <c:pt idx="384" formatCode="0.00">
                  <c:v>0.39894804208417267</c:v>
                </c:pt>
                <c:pt idx="385" formatCode="0.00">
                  <c:v>0.39917347868304143</c:v>
                </c:pt>
                <c:pt idx="386" formatCode="0.00">
                  <c:v>0.39966357928835899</c:v>
                </c:pt>
                <c:pt idx="387" formatCode="0.00">
                  <c:v>0.39836907583898468</c:v>
                </c:pt>
                <c:pt idx="388" formatCode="0.00">
                  <c:v>0.39846077835810795</c:v>
                </c:pt>
                <c:pt idx="389" formatCode="0.00">
                  <c:v>0.39823917527786895</c:v>
                </c:pt>
                <c:pt idx="390" formatCode="0.00">
                  <c:v>0.39732867476907335</c:v>
                </c:pt>
                <c:pt idx="391" formatCode="0.00">
                  <c:v>0.39625023777469759</c:v>
                </c:pt>
                <c:pt idx="392" formatCode="0.00">
                  <c:v>0.39715869635664286</c:v>
                </c:pt>
                <c:pt idx="393" formatCode="0.00">
                  <c:v>0.39747254255524467</c:v>
                </c:pt>
                <c:pt idx="394" formatCode="0.00">
                  <c:v>0.39789215085371388</c:v>
                </c:pt>
                <c:pt idx="395" formatCode="0.00">
                  <c:v>0.39782592856966309</c:v>
                </c:pt>
                <c:pt idx="396" formatCode="0.00">
                  <c:v>0.39787128108658182</c:v>
                </c:pt>
                <c:pt idx="397" formatCode="0.00">
                  <c:v>0.39856088235675968</c:v>
                </c:pt>
                <c:pt idx="398" formatCode="0.00">
                  <c:v>0.39899435483650714</c:v>
                </c:pt>
                <c:pt idx="399" formatCode="0.00">
                  <c:v>0.3985568531543211</c:v>
                </c:pt>
                <c:pt idx="400" formatCode="0.00">
                  <c:v>0.39867449118842185</c:v>
                </c:pt>
                <c:pt idx="401" formatCode="0.00">
                  <c:v>0.398682564397839</c:v>
                </c:pt>
                <c:pt idx="402" formatCode="0.00">
                  <c:v>0.39833943670235794</c:v>
                </c:pt>
                <c:pt idx="403" formatCode="0.00">
                  <c:v>0.39778964753583995</c:v>
                </c:pt>
                <c:pt idx="404" formatCode="0.00">
                  <c:v>0.39760299567652274</c:v>
                </c:pt>
                <c:pt idx="405" formatCode="0.00">
                  <c:v>0.39697156730244731</c:v>
                </c:pt>
                <c:pt idx="406" formatCode="0.00">
                  <c:v>0.39400392247214383</c:v>
                </c:pt>
                <c:pt idx="407" formatCode="0.00">
                  <c:v>0.3957654375454901</c:v>
                </c:pt>
                <c:pt idx="408" formatCode="0.00">
                  <c:v>0.39450616843714137</c:v>
                </c:pt>
                <c:pt idx="409" formatCode="0.00">
                  <c:v>0.39437941645222718</c:v>
                </c:pt>
                <c:pt idx="410" formatCode="0.00">
                  <c:v>0.39448535868361956</c:v>
                </c:pt>
                <c:pt idx="411" formatCode="0.00">
                  <c:v>0.39477040561921101</c:v>
                </c:pt>
                <c:pt idx="412" formatCode="0.00">
                  <c:v>0.39514011390496312</c:v>
                </c:pt>
                <c:pt idx="413" formatCode="0.00">
                  <c:v>0.39444246124676691</c:v>
                </c:pt>
                <c:pt idx="414" formatCode="0.00">
                  <c:v>0.39565243040915149</c:v>
                </c:pt>
                <c:pt idx="415" formatCode="0.00">
                  <c:v>0.39233263938371932</c:v>
                </c:pt>
                <c:pt idx="416" formatCode="0.00">
                  <c:v>0.39221431333608642</c:v>
                </c:pt>
                <c:pt idx="417" formatCode="0.00">
                  <c:v>0.3874744087905132</c:v>
                </c:pt>
                <c:pt idx="418" formatCode="0.00">
                  <c:v>0.38739755746900451</c:v>
                </c:pt>
                <c:pt idx="419" formatCode="0.00">
                  <c:v>0.38602644958713433</c:v>
                </c:pt>
                <c:pt idx="420" formatCode="0.00">
                  <c:v>0.38662608028146467</c:v>
                </c:pt>
                <c:pt idx="421" formatCode="0.00">
                  <c:v>0.38726538568466096</c:v>
                </c:pt>
                <c:pt idx="422" formatCode="0.00">
                  <c:v>0.3897293498782603</c:v>
                </c:pt>
                <c:pt idx="423" formatCode="0.00">
                  <c:v>0.39367761770765758</c:v>
                </c:pt>
                <c:pt idx="424" formatCode="0.00">
                  <c:v>0.39375888496572248</c:v>
                </c:pt>
                <c:pt idx="425" formatCode="0.00">
                  <c:v>0.39275447192771762</c:v>
                </c:pt>
                <c:pt idx="426" formatCode="0.00">
                  <c:v>0.39245555818117034</c:v>
                </c:pt>
                <c:pt idx="427" formatCode="0.00">
                  <c:v>0.39271548755150237</c:v>
                </c:pt>
                <c:pt idx="428" formatCode="0.00">
                  <c:v>0.39182415552253486</c:v>
                </c:pt>
                <c:pt idx="429" formatCode="0.00">
                  <c:v>0.39341039590917842</c:v>
                </c:pt>
                <c:pt idx="430" formatCode="0.00">
                  <c:v>0.39341471663805688</c:v>
                </c:pt>
                <c:pt idx="431" formatCode="0.00">
                  <c:v>0.39278718078254155</c:v>
                </c:pt>
                <c:pt idx="432" formatCode="0.00">
                  <c:v>0.3922122169851206</c:v>
                </c:pt>
                <c:pt idx="433" formatCode="0.00">
                  <c:v>0.39206789202056663</c:v>
                </c:pt>
                <c:pt idx="434" formatCode="0.00">
                  <c:v>0.39127703146546106</c:v>
                </c:pt>
                <c:pt idx="435" formatCode="0.00">
                  <c:v>0.38942292657961391</c:v>
                </c:pt>
                <c:pt idx="436" formatCode="0.00">
                  <c:v>0.38906947527843017</c:v>
                </c:pt>
                <c:pt idx="437" formatCode="0.00">
                  <c:v>0.38931504578251275</c:v>
                </c:pt>
                <c:pt idx="438" formatCode="0.00">
                  <c:v>0.3893227336410931</c:v>
                </c:pt>
                <c:pt idx="439" formatCode="0.00">
                  <c:v>0.39086674531321597</c:v>
                </c:pt>
                <c:pt idx="440" formatCode="0.00">
                  <c:v>0.38620574119089218</c:v>
                </c:pt>
                <c:pt idx="441" formatCode="0.00">
                  <c:v>0.38609437370171423</c:v>
                </c:pt>
                <c:pt idx="442" formatCode="0.00">
                  <c:v>0.38621465288667051</c:v>
                </c:pt>
                <c:pt idx="443" formatCode="0.00">
                  <c:v>0.38623045834697145</c:v>
                </c:pt>
                <c:pt idx="444" formatCode="0.00">
                  <c:v>0.3853333232593964</c:v>
                </c:pt>
                <c:pt idx="445" formatCode="0.00">
                  <c:v>0.38508523794830801</c:v>
                </c:pt>
                <c:pt idx="446" formatCode="0.00">
                  <c:v>0.3845928710998025</c:v>
                </c:pt>
                <c:pt idx="447" formatCode="0.00">
                  <c:v>0.38444866918407478</c:v>
                </c:pt>
                <c:pt idx="448" formatCode="0.00">
                  <c:v>0.38354433887728279</c:v>
                </c:pt>
                <c:pt idx="449" formatCode="0.00">
                  <c:v>0.38235311566904345</c:v>
                </c:pt>
                <c:pt idx="450" formatCode="0.00">
                  <c:v>0.38194299890128847</c:v>
                </c:pt>
                <c:pt idx="451" formatCode="0.00">
                  <c:v>0.38190630937413106</c:v>
                </c:pt>
                <c:pt idx="452" formatCode="0.00">
                  <c:v>0.38281511693135567</c:v>
                </c:pt>
                <c:pt idx="453" formatCode="0.00">
                  <c:v>0.38298836069510461</c:v>
                </c:pt>
                <c:pt idx="454" formatCode="0.00">
                  <c:v>0.38289676495658798</c:v>
                </c:pt>
                <c:pt idx="455" formatCode="0.00">
                  <c:v>0.38286488189738827</c:v>
                </c:pt>
                <c:pt idx="456" formatCode="0.00">
                  <c:v>0.38276947104625797</c:v>
                </c:pt>
                <c:pt idx="457" formatCode="0.00">
                  <c:v>0.38316430814396213</c:v>
                </c:pt>
                <c:pt idx="458" formatCode="0.00">
                  <c:v>0.38319831909950292</c:v>
                </c:pt>
                <c:pt idx="459" formatCode="0.00">
                  <c:v>0.38392054200569775</c:v>
                </c:pt>
                <c:pt idx="460" formatCode="0.00">
                  <c:v>0.38406372239796116</c:v>
                </c:pt>
                <c:pt idx="461" formatCode="0.00">
                  <c:v>0.38239472609906572</c:v>
                </c:pt>
                <c:pt idx="462" formatCode="0.00">
                  <c:v>0.38239956699794608</c:v>
                </c:pt>
                <c:pt idx="463" formatCode="0.00">
                  <c:v>0.38180189833388456</c:v>
                </c:pt>
                <c:pt idx="464" formatCode="0.00">
                  <c:v>0.38190335180489549</c:v>
                </c:pt>
                <c:pt idx="465" formatCode="0.00">
                  <c:v>0.38188626517011504</c:v>
                </c:pt>
                <c:pt idx="466" formatCode="0.00">
                  <c:v>0.38034095723039063</c:v>
                </c:pt>
                <c:pt idx="467" formatCode="0.00">
                  <c:v>0.37909740483890664</c:v>
                </c:pt>
                <c:pt idx="468" formatCode="0.00">
                  <c:v>0.37892593922435508</c:v>
                </c:pt>
                <c:pt idx="469" formatCode="0.00">
                  <c:v>0.3768761326312125</c:v>
                </c:pt>
                <c:pt idx="470" formatCode="0.00">
                  <c:v>0.37522705361514469</c:v>
                </c:pt>
                <c:pt idx="471" formatCode="0.00">
                  <c:v>0.37550941482431527</c:v>
                </c:pt>
                <c:pt idx="472" formatCode="0.00">
                  <c:v>0.37394824744393101</c:v>
                </c:pt>
                <c:pt idx="473" formatCode="0.00">
                  <c:v>0.37425566921148612</c:v>
                </c:pt>
                <c:pt idx="474" formatCode="0.00">
                  <c:v>0.37421135950104717</c:v>
                </c:pt>
                <c:pt idx="475" formatCode="0.00">
                  <c:v>0.37464962550346437</c:v>
                </c:pt>
                <c:pt idx="476" formatCode="0.00">
                  <c:v>0.36964897075641151</c:v>
                </c:pt>
                <c:pt idx="477" formatCode="0.00">
                  <c:v>0.36829029395023344</c:v>
                </c:pt>
                <c:pt idx="478" formatCode="0.00">
                  <c:v>0.36689568237438758</c:v>
                </c:pt>
                <c:pt idx="479" formatCode="0.00">
                  <c:v>0.36708868097656489</c:v>
                </c:pt>
                <c:pt idx="480" formatCode="0.00">
                  <c:v>0.36562369204006318</c:v>
                </c:pt>
                <c:pt idx="481" formatCode="0.00">
                  <c:v>0.3656681543779704</c:v>
                </c:pt>
                <c:pt idx="482" formatCode="0.00">
                  <c:v>0.36583235658757557</c:v>
                </c:pt>
                <c:pt idx="483" formatCode="0.00">
                  <c:v>0.3658281213055295</c:v>
                </c:pt>
                <c:pt idx="484" formatCode="0.00">
                  <c:v>0.36578024638552775</c:v>
                </c:pt>
                <c:pt idx="485" formatCode="0.00">
                  <c:v>0.36344788663018113</c:v>
                </c:pt>
                <c:pt idx="486" formatCode="0.00">
                  <c:v>0.36256208470544038</c:v>
                </c:pt>
                <c:pt idx="487" formatCode="0.00">
                  <c:v>0.36350283319440774</c:v>
                </c:pt>
                <c:pt idx="488" formatCode="0.00">
                  <c:v>0.36229034453138537</c:v>
                </c:pt>
                <c:pt idx="489" formatCode="0.00">
                  <c:v>0.36326490216959961</c:v>
                </c:pt>
                <c:pt idx="490" formatCode="0.00">
                  <c:v>0.36310063982159207</c:v>
                </c:pt>
                <c:pt idx="491" formatCode="0.00">
                  <c:v>0.35937054463208173</c:v>
                </c:pt>
                <c:pt idx="492" formatCode="0.00">
                  <c:v>0.35862867991610825</c:v>
                </c:pt>
                <c:pt idx="493" formatCode="0.00">
                  <c:v>0.35856474582006298</c:v>
                </c:pt>
                <c:pt idx="494" formatCode="0.00">
                  <c:v>0.36000334443697274</c:v>
                </c:pt>
                <c:pt idx="495" formatCode="0.00">
                  <c:v>0.35991384056953163</c:v>
                </c:pt>
                <c:pt idx="496" formatCode="0.00">
                  <c:v>0.36114123261022724</c:v>
                </c:pt>
                <c:pt idx="497" formatCode="0.00">
                  <c:v>0.36118958273073382</c:v>
                </c:pt>
                <c:pt idx="498" formatCode="0.00">
                  <c:v>0.35935732836906981</c:v>
                </c:pt>
                <c:pt idx="499" formatCode="0.00">
                  <c:v>0.35937084516879053</c:v>
                </c:pt>
                <c:pt idx="500" formatCode="0.00">
                  <c:v>0.35935468539864501</c:v>
                </c:pt>
                <c:pt idx="501" formatCode="0.00">
                  <c:v>0.35696453116993893</c:v>
                </c:pt>
                <c:pt idx="502" formatCode="0.00">
                  <c:v>0.35676709778597371</c:v>
                </c:pt>
                <c:pt idx="503" formatCode="0.00">
                  <c:v>0.35695787845380322</c:v>
                </c:pt>
                <c:pt idx="504" formatCode="0.00">
                  <c:v>0.35708717609384499</c:v>
                </c:pt>
                <c:pt idx="505" formatCode="0.00">
                  <c:v>0.36281749121782164</c:v>
                </c:pt>
                <c:pt idx="506" formatCode="0.00">
                  <c:v>0.36260761966153982</c:v>
                </c:pt>
                <c:pt idx="507" formatCode="0.00">
                  <c:v>0.36261148427348006</c:v>
                </c:pt>
                <c:pt idx="508" formatCode="0.00">
                  <c:v>0.36286068117753922</c:v>
                </c:pt>
                <c:pt idx="509" formatCode="0.00">
                  <c:v>0.36294398512226889</c:v>
                </c:pt>
                <c:pt idx="510" formatCode="0.00">
                  <c:v>0.36293368202128296</c:v>
                </c:pt>
                <c:pt idx="511" formatCode="0.00">
                  <c:v>0.36267948541252243</c:v>
                </c:pt>
                <c:pt idx="512" formatCode="0.00">
                  <c:v>0.36246639203401004</c:v>
                </c:pt>
                <c:pt idx="513" formatCode="0.00">
                  <c:v>0.36194593817149417</c:v>
                </c:pt>
                <c:pt idx="514" formatCode="0.00">
                  <c:v>0.36190786305306583</c:v>
                </c:pt>
                <c:pt idx="515" formatCode="0.00">
                  <c:v>0.36172407637113058</c:v>
                </c:pt>
                <c:pt idx="516" formatCode="0.00">
                  <c:v>0.36125321046993308</c:v>
                </c:pt>
                <c:pt idx="517" formatCode="0.00">
                  <c:v>0.3633164186915358</c:v>
                </c:pt>
                <c:pt idx="518" formatCode="0.00">
                  <c:v>0.36057055875340632</c:v>
                </c:pt>
                <c:pt idx="519" formatCode="0.00">
                  <c:v>0.36123836640354229</c:v>
                </c:pt>
                <c:pt idx="520" formatCode="0.00">
                  <c:v>0.36245174952023129</c:v>
                </c:pt>
                <c:pt idx="521" formatCode="0.00">
                  <c:v>0.36238945573635312</c:v>
                </c:pt>
                <c:pt idx="522" formatCode="0.00">
                  <c:v>0.36396470743339826</c:v>
                </c:pt>
                <c:pt idx="523" formatCode="0.00">
                  <c:v>0.36336548106436301</c:v>
                </c:pt>
                <c:pt idx="524" formatCode="0.00">
                  <c:v>0.36334080276185232</c:v>
                </c:pt>
                <c:pt idx="525" formatCode="0.00">
                  <c:v>0.36356261262835904</c:v>
                </c:pt>
                <c:pt idx="526" formatCode="0.00">
                  <c:v>0.36332565641548809</c:v>
                </c:pt>
                <c:pt idx="527" formatCode="0.00">
                  <c:v>0.36060617820804053</c:v>
                </c:pt>
                <c:pt idx="528" formatCode="0.00">
                  <c:v>0.36220864681424347</c:v>
                </c:pt>
                <c:pt idx="529" formatCode="0.00">
                  <c:v>0.36217486837255503</c:v>
                </c:pt>
                <c:pt idx="530" formatCode="0.00">
                  <c:v>0.36314585509747205</c:v>
                </c:pt>
                <c:pt idx="531" formatCode="0.00">
                  <c:v>0.36297990028823718</c:v>
                </c:pt>
                <c:pt idx="532" formatCode="0.00">
                  <c:v>0.35945838204757796</c:v>
                </c:pt>
                <c:pt idx="533" formatCode="0.00">
                  <c:v>0.35996510114796054</c:v>
                </c:pt>
                <c:pt idx="534" formatCode="0.00">
                  <c:v>0.36153448477502925</c:v>
                </c:pt>
                <c:pt idx="535" formatCode="0.00">
                  <c:v>0.3615025482412747</c:v>
                </c:pt>
                <c:pt idx="536" formatCode="0.00">
                  <c:v>0.36287440497188161</c:v>
                </c:pt>
                <c:pt idx="537" formatCode="0.00">
                  <c:v>0.35638146273333948</c:v>
                </c:pt>
                <c:pt idx="538" formatCode="0.00">
                  <c:v>0.35802930476539091</c:v>
                </c:pt>
                <c:pt idx="539" formatCode="0.00">
                  <c:v>0.35821260810453759</c:v>
                </c:pt>
                <c:pt idx="540" formatCode="0.00">
                  <c:v>0.35913519427055607</c:v>
                </c:pt>
                <c:pt idx="541" formatCode="0.00">
                  <c:v>0.35901946990574368</c:v>
                </c:pt>
                <c:pt idx="542" formatCode="0.00">
                  <c:v>0.35909644145385455</c:v>
                </c:pt>
                <c:pt idx="543" formatCode="0.00">
                  <c:v>0.35911912890271669</c:v>
                </c:pt>
                <c:pt idx="544" formatCode="0.00">
                  <c:v>0.35900387594587679</c:v>
                </c:pt>
                <c:pt idx="545" formatCode="0.00">
                  <c:v>0.35967649933532336</c:v>
                </c:pt>
                <c:pt idx="546" formatCode="0.00">
                  <c:v>0.35914658934295085</c:v>
                </c:pt>
                <c:pt idx="547" formatCode="0.00">
                  <c:v>0.3592172193761356</c:v>
                </c:pt>
                <c:pt idx="548" formatCode="0.00">
                  <c:v>0.35930851693508065</c:v>
                </c:pt>
                <c:pt idx="549" formatCode="0.00">
                  <c:v>0.35856817620124343</c:v>
                </c:pt>
                <c:pt idx="550" formatCode="0.00">
                  <c:v>0.35845605176925921</c:v>
                </c:pt>
                <c:pt idx="551" formatCode="0.00">
                  <c:v>0.35948232146053999</c:v>
                </c:pt>
                <c:pt idx="552" formatCode="0.00">
                  <c:v>0.36106174421824927</c:v>
                </c:pt>
                <c:pt idx="553" formatCode="0.00">
                  <c:v>0.35916108465960517</c:v>
                </c:pt>
                <c:pt idx="554" formatCode="0.00">
                  <c:v>0.35899648898637432</c:v>
                </c:pt>
                <c:pt idx="555" formatCode="0.00">
                  <c:v>0.35896908911544712</c:v>
                </c:pt>
                <c:pt idx="556" formatCode="0.00">
                  <c:v>0.3598429537100708</c:v>
                </c:pt>
                <c:pt idx="557" formatCode="0.00">
                  <c:v>0.35835936387618661</c:v>
                </c:pt>
                <c:pt idx="558" formatCode="0.00">
                  <c:v>0.35773644271183097</c:v>
                </c:pt>
                <c:pt idx="559" formatCode="0.00">
                  <c:v>0.35757612612985606</c:v>
                </c:pt>
                <c:pt idx="560" formatCode="0.00">
                  <c:v>0.35715685916838313</c:v>
                </c:pt>
                <c:pt idx="561" formatCode="0.00">
                  <c:v>0.35257259952155584</c:v>
                </c:pt>
                <c:pt idx="562" formatCode="0.00">
                  <c:v>0.35198843117177586</c:v>
                </c:pt>
                <c:pt idx="563" formatCode="0.00">
                  <c:v>0.35263096440954478</c:v>
                </c:pt>
                <c:pt idx="564" formatCode="0.00">
                  <c:v>0.35119702033864364</c:v>
                </c:pt>
                <c:pt idx="565" formatCode="0.00">
                  <c:v>0.35631651015073929</c:v>
                </c:pt>
                <c:pt idx="566" formatCode="0.00">
                  <c:v>0.35712424143591215</c:v>
                </c:pt>
                <c:pt idx="567" formatCode="0.00">
                  <c:v>0.35689385366009324</c:v>
                </c:pt>
                <c:pt idx="568" formatCode="0.00">
                  <c:v>0.35487350342761048</c:v>
                </c:pt>
                <c:pt idx="569" formatCode="0.00">
                  <c:v>0.35265326020811177</c:v>
                </c:pt>
                <c:pt idx="570" formatCode="0.00">
                  <c:v>0.35139235376409039</c:v>
                </c:pt>
                <c:pt idx="571" formatCode="0.00">
                  <c:v>0.35150665895851885</c:v>
                </c:pt>
                <c:pt idx="572" formatCode="0.00">
                  <c:v>0.35172827275684254</c:v>
                </c:pt>
                <c:pt idx="573" formatCode="0.00">
                  <c:v>0.35286488865474902</c:v>
                </c:pt>
                <c:pt idx="574" formatCode="0.00">
                  <c:v>0.35240011514311681</c:v>
                </c:pt>
                <c:pt idx="575" formatCode="0.00">
                  <c:v>0.35292250698258476</c:v>
                </c:pt>
                <c:pt idx="576" formatCode="0.00">
                  <c:v>0.35177324311918068</c:v>
                </c:pt>
                <c:pt idx="577" formatCode="0.00">
                  <c:v>0.3513516650804675</c:v>
                </c:pt>
                <c:pt idx="578" formatCode="0.00">
                  <c:v>0.35110187825336336</c:v>
                </c:pt>
                <c:pt idx="579" formatCode="0.00">
                  <c:v>0.35133808824829538</c:v>
                </c:pt>
                <c:pt idx="580" formatCode="0.00">
                  <c:v>0.35194378030445544</c:v>
                </c:pt>
                <c:pt idx="581" formatCode="0.00">
                  <c:v>0.35089713542830042</c:v>
                </c:pt>
                <c:pt idx="582" formatCode="0.00">
                  <c:v>0.35102729534610183</c:v>
                </c:pt>
                <c:pt idx="583" formatCode="0.00">
                  <c:v>0.3508730218323835</c:v>
                </c:pt>
                <c:pt idx="584" formatCode="0.00">
                  <c:v>0.35019233349646367</c:v>
                </c:pt>
                <c:pt idx="585" formatCode="0.00">
                  <c:v>0.35098000360760712</c:v>
                </c:pt>
                <c:pt idx="586" formatCode="0.00">
                  <c:v>0.35011455714420475</c:v>
                </c:pt>
                <c:pt idx="587" formatCode="0.00">
                  <c:v>0.3512136205726239</c:v>
                </c:pt>
                <c:pt idx="588" formatCode="0.00">
                  <c:v>0.35029898620756345</c:v>
                </c:pt>
                <c:pt idx="589" formatCode="0.00">
                  <c:v>0.35016614739944313</c:v>
                </c:pt>
                <c:pt idx="590" formatCode="0.00">
                  <c:v>0.34806271320192389</c:v>
                </c:pt>
                <c:pt idx="591" formatCode="0.00">
                  <c:v>0.3485255997939552</c:v>
                </c:pt>
                <c:pt idx="592" formatCode="0.00">
                  <c:v>0.34725949105798276</c:v>
                </c:pt>
                <c:pt idx="593" formatCode="0.00">
                  <c:v>0.34656352055506862</c:v>
                </c:pt>
                <c:pt idx="594" formatCode="0.00">
                  <c:v>0.34844766186582476</c:v>
                </c:pt>
                <c:pt idx="595" formatCode="0.00">
                  <c:v>0.34856358561945711</c:v>
                </c:pt>
                <c:pt idx="596" formatCode="0.00">
                  <c:v>0.34494734959554818</c:v>
                </c:pt>
                <c:pt idx="597" formatCode="0.00">
                  <c:v>0.34568574344191039</c:v>
                </c:pt>
                <c:pt idx="598" formatCode="0.00">
                  <c:v>0.34564141618249455</c:v>
                </c:pt>
                <c:pt idx="599" formatCode="0.00">
                  <c:v>0.34526898847208443</c:v>
                </c:pt>
                <c:pt idx="600" formatCode="0.00">
                  <c:v>0.34502141139210718</c:v>
                </c:pt>
                <c:pt idx="601" formatCode="0.00">
                  <c:v>0.34504586726123337</c:v>
                </c:pt>
                <c:pt idx="602" formatCode="0.00">
                  <c:v>0.34449548410207731</c:v>
                </c:pt>
                <c:pt idx="603" formatCode="0.00">
                  <c:v>0.34191263646956233</c:v>
                </c:pt>
                <c:pt idx="604" formatCode="0.00">
                  <c:v>0.34376887810267259</c:v>
                </c:pt>
                <c:pt idx="605" formatCode="0.00">
                  <c:v>0.34011193123432115</c:v>
                </c:pt>
                <c:pt idx="606" formatCode="0.00">
                  <c:v>0.33412621509791113</c:v>
                </c:pt>
                <c:pt idx="607" formatCode="0.00">
                  <c:v>0.33448619589377876</c:v>
                </c:pt>
                <c:pt idx="608" formatCode="0.00">
                  <c:v>0.33644219933925207</c:v>
                </c:pt>
                <c:pt idx="609" formatCode="0.00">
                  <c:v>0.33651291051663618</c:v>
                </c:pt>
                <c:pt idx="610" formatCode="0.00">
                  <c:v>0.33191338270083964</c:v>
                </c:pt>
                <c:pt idx="611" formatCode="0.00">
                  <c:v>0.33079362952418467</c:v>
                </c:pt>
                <c:pt idx="612" formatCode="0.00">
                  <c:v>0.33129528286017373</c:v>
                </c:pt>
                <c:pt idx="613" formatCode="0.00">
                  <c:v>0.33121677262710431</c:v>
                </c:pt>
                <c:pt idx="614" formatCode="0.00">
                  <c:v>0.33152717219843275</c:v>
                </c:pt>
                <c:pt idx="615" formatCode="0.00">
                  <c:v>0.33132206621404975</c:v>
                </c:pt>
                <c:pt idx="616" formatCode="0.00">
                  <c:v>0.33101814079408987</c:v>
                </c:pt>
                <c:pt idx="617" formatCode="0.00">
                  <c:v>0.32660307629475693</c:v>
                </c:pt>
                <c:pt idx="618" formatCode="0.00">
                  <c:v>0.32639313608075332</c:v>
                </c:pt>
                <c:pt idx="619" formatCode="0.00">
                  <c:v>0.31869975635483749</c:v>
                </c:pt>
                <c:pt idx="620" formatCode="0.00">
                  <c:v>0.31823156411589759</c:v>
                </c:pt>
                <c:pt idx="621" formatCode="0.00">
                  <c:v>0.32002134212089761</c:v>
                </c:pt>
                <c:pt idx="622" formatCode="0.00">
                  <c:v>0.32010430240707083</c:v>
                </c:pt>
                <c:pt idx="623" formatCode="0.00">
                  <c:v>0.31504050248444881</c:v>
                </c:pt>
                <c:pt idx="624" formatCode="0.00">
                  <c:v>0.31541004929497585</c:v>
                </c:pt>
                <c:pt idx="625" formatCode="0.00">
                  <c:v>0.31454381051789437</c:v>
                </c:pt>
                <c:pt idx="626" formatCode="0.00">
                  <c:v>0.31463880841941216</c:v>
                </c:pt>
                <c:pt idx="627" formatCode="0.00">
                  <c:v>0.31355414003421295</c:v>
                </c:pt>
                <c:pt idx="628" formatCode="0.00">
                  <c:v>0.31402363063461802</c:v>
                </c:pt>
                <c:pt idx="629" formatCode="0.00">
                  <c:v>0.31498529008061893</c:v>
                </c:pt>
                <c:pt idx="630" formatCode="0.00">
                  <c:v>0.31693807963262682</c:v>
                </c:pt>
                <c:pt idx="631" formatCode="0.00">
                  <c:v>0.31292411593649089</c:v>
                </c:pt>
                <c:pt idx="632" formatCode="0.00">
                  <c:v>0.31297503005454341</c:v>
                </c:pt>
                <c:pt idx="633" formatCode="0.00">
                  <c:v>0.3127563354523793</c:v>
                </c:pt>
                <c:pt idx="634" formatCode="0.00">
                  <c:v>0.3121924972726412</c:v>
                </c:pt>
                <c:pt idx="635" formatCode="0.00">
                  <c:v>0.31164904205163774</c:v>
                </c:pt>
                <c:pt idx="636" formatCode="0.00">
                  <c:v>0.31281011719304402</c:v>
                </c:pt>
                <c:pt idx="637" formatCode="0.00">
                  <c:v>0.31167931262099147</c:v>
                </c:pt>
                <c:pt idx="638" formatCode="0.00">
                  <c:v>0.31150893915533484</c:v>
                </c:pt>
                <c:pt idx="639" formatCode="0.00">
                  <c:v>0.3102258853985439</c:v>
                </c:pt>
                <c:pt idx="640" formatCode="0.00">
                  <c:v>0.31008928866703422</c:v>
                </c:pt>
                <c:pt idx="641" formatCode="0.00">
                  <c:v>0.31060561967610423</c:v>
                </c:pt>
                <c:pt idx="642" formatCode="0.00">
                  <c:v>0.31107142183067954</c:v>
                </c:pt>
                <c:pt idx="643" formatCode="0.00">
                  <c:v>0.31431682123815374</c:v>
                </c:pt>
                <c:pt idx="644" formatCode="0.00">
                  <c:v>0.31382574550612841</c:v>
                </c:pt>
                <c:pt idx="645" formatCode="0.00">
                  <c:v>0.31304314801127214</c:v>
                </c:pt>
                <c:pt idx="646" formatCode="0.00">
                  <c:v>0.31220678948456121</c:v>
                </c:pt>
                <c:pt idx="647" formatCode="0.00">
                  <c:v>0.31508499925406713</c:v>
                </c:pt>
                <c:pt idx="648" formatCode="0.00">
                  <c:v>0.3150958507771302</c:v>
                </c:pt>
                <c:pt idx="649" formatCode="0.00">
                  <c:v>0.31522802894878243</c:v>
                </c:pt>
                <c:pt idx="650" formatCode="0.00">
                  <c:v>0.31463537482159931</c:v>
                </c:pt>
                <c:pt idx="651" formatCode="0.00">
                  <c:v>0.31441646666932382</c:v>
                </c:pt>
                <c:pt idx="652" formatCode="0.00">
                  <c:v>0.31727791828717866</c:v>
                </c:pt>
                <c:pt idx="653" formatCode="0.00">
                  <c:v>0.32022319617889017</c:v>
                </c:pt>
                <c:pt idx="654" formatCode="0.00">
                  <c:v>0.32135419268207815</c:v>
                </c:pt>
                <c:pt idx="655" formatCode="0.00">
                  <c:v>0.32276329164575124</c:v>
                </c:pt>
                <c:pt idx="656" formatCode="0.00">
                  <c:v>0.32289411941671436</c:v>
                </c:pt>
                <c:pt idx="657" formatCode="0.00">
                  <c:v>0.32351426029568064</c:v>
                </c:pt>
                <c:pt idx="658" formatCode="0.00">
                  <c:v>0.32305650198892033</c:v>
                </c:pt>
                <c:pt idx="659" formatCode="0.00">
                  <c:v>0.32300131983656716</c:v>
                </c:pt>
                <c:pt idx="660" formatCode="0.00">
                  <c:v>0.32057608690877915</c:v>
                </c:pt>
                <c:pt idx="661" formatCode="0.00">
                  <c:v>0.32063396123949944</c:v>
                </c:pt>
                <c:pt idx="662" formatCode="0.00">
                  <c:v>0.32049689994062003</c:v>
                </c:pt>
                <c:pt idx="663" formatCode="0.00">
                  <c:v>0.32150470812336768</c:v>
                </c:pt>
                <c:pt idx="664" formatCode="0.00">
                  <c:v>0.32134621871792191</c:v>
                </c:pt>
                <c:pt idx="665" formatCode="0.00">
                  <c:v>0.32089060915698936</c:v>
                </c:pt>
                <c:pt idx="666" formatCode="0.00">
                  <c:v>0.32088061590637212</c:v>
                </c:pt>
                <c:pt idx="667" formatCode="0.00">
                  <c:v>0.31917894484241821</c:v>
                </c:pt>
                <c:pt idx="668" formatCode="0.00">
                  <c:v>0.3192379251427811</c:v>
                </c:pt>
                <c:pt idx="669" formatCode="0.00">
                  <c:v>0.31958998825736012</c:v>
                </c:pt>
                <c:pt idx="670" formatCode="0.00">
                  <c:v>0.31956396648364133</c:v>
                </c:pt>
                <c:pt idx="671" formatCode="0.00">
                  <c:v>0.3237200115996936</c:v>
                </c:pt>
                <c:pt idx="672" formatCode="0.00">
                  <c:v>0.32384136296343224</c:v>
                </c:pt>
                <c:pt idx="673" formatCode="0.00">
                  <c:v>0.32375636670313407</c:v>
                </c:pt>
                <c:pt idx="674" formatCode="0.00">
                  <c:v>0.32503074298678269</c:v>
                </c:pt>
                <c:pt idx="675" formatCode="0.00">
                  <c:v>0.32268489225313757</c:v>
                </c:pt>
                <c:pt idx="676" formatCode="0.00">
                  <c:v>0.31853463054860226</c:v>
                </c:pt>
                <c:pt idx="677" formatCode="0.00">
                  <c:v>0.31848160569272166</c:v>
                </c:pt>
                <c:pt idx="678" formatCode="0.00">
                  <c:v>0.32278218916548185</c:v>
                </c:pt>
                <c:pt idx="679" formatCode="0.00">
                  <c:v>0.32273424354283198</c:v>
                </c:pt>
                <c:pt idx="680" formatCode="0.00">
                  <c:v>0.3230448670776</c:v>
                </c:pt>
                <c:pt idx="681" formatCode="0.00">
                  <c:v>0.32374041510030732</c:v>
                </c:pt>
                <c:pt idx="682" formatCode="0.00">
                  <c:v>0.32179314430761197</c:v>
                </c:pt>
                <c:pt idx="683" formatCode="0.00">
                  <c:v>0.32332263989845972</c:v>
                </c:pt>
                <c:pt idx="684" formatCode="0.00">
                  <c:v>0.32332323472148511</c:v>
                </c:pt>
                <c:pt idx="685" formatCode="0.00">
                  <c:v>0.32363642893610661</c:v>
                </c:pt>
                <c:pt idx="686" formatCode="0.00">
                  <c:v>0.32738878104936853</c:v>
                </c:pt>
                <c:pt idx="687" formatCode="0.00">
                  <c:v>0.32686415317175771</c:v>
                </c:pt>
                <c:pt idx="688" formatCode="0.00">
                  <c:v>0.3275546087304948</c:v>
                </c:pt>
                <c:pt idx="689" formatCode="0.00">
                  <c:v>0.32753334463930717</c:v>
                </c:pt>
                <c:pt idx="690" formatCode="0.00">
                  <c:v>0.32954024262959614</c:v>
                </c:pt>
                <c:pt idx="691" formatCode="0.00">
                  <c:v>0.32953385431337173</c:v>
                </c:pt>
                <c:pt idx="692" formatCode="0.00">
                  <c:v>0.3275996642944462</c:v>
                </c:pt>
                <c:pt idx="693" formatCode="0.00">
                  <c:v>0.32915391011937922</c:v>
                </c:pt>
                <c:pt idx="694" formatCode="0.00">
                  <c:v>0.32916192476472245</c:v>
                </c:pt>
                <c:pt idx="695" formatCode="0.00">
                  <c:v>0.32921324448440853</c:v>
                </c:pt>
                <c:pt idx="696" formatCode="0.00">
                  <c:v>0.32938222743725887</c:v>
                </c:pt>
                <c:pt idx="697" formatCode="0.00">
                  <c:v>0.32928522061535015</c:v>
                </c:pt>
                <c:pt idx="698" formatCode="0.00">
                  <c:v>0.33091324608234801</c:v>
                </c:pt>
                <c:pt idx="699" formatCode="0.00">
                  <c:v>0.33131379099694386</c:v>
                </c:pt>
                <c:pt idx="700" formatCode="0.00">
                  <c:v>0.32846273953518595</c:v>
                </c:pt>
                <c:pt idx="701" formatCode="0.00">
                  <c:v>0.32828007488981209</c:v>
                </c:pt>
                <c:pt idx="702" formatCode="0.00">
                  <c:v>0.33017636996145883</c:v>
                </c:pt>
                <c:pt idx="703" formatCode="0.00">
                  <c:v>0.33076098982370633</c:v>
                </c:pt>
                <c:pt idx="704" formatCode="0.00">
                  <c:v>0.33075192890074978</c:v>
                </c:pt>
                <c:pt idx="705" formatCode="0.00">
                  <c:v>0.33106017251754577</c:v>
                </c:pt>
                <c:pt idx="706" formatCode="0.00">
                  <c:v>0.3349791408545052</c:v>
                </c:pt>
                <c:pt idx="707" formatCode="0.00">
                  <c:v>0.3353576507860922</c:v>
                </c:pt>
                <c:pt idx="708" formatCode="0.00">
                  <c:v>0.33701092457670906</c:v>
                </c:pt>
                <c:pt idx="709" formatCode="0.00">
                  <c:v>0.338224772984414</c:v>
                </c:pt>
                <c:pt idx="710" formatCode="0.00">
                  <c:v>0.33788441488332915</c:v>
                </c:pt>
                <c:pt idx="711" formatCode="0.00">
                  <c:v>0.33979080803978345</c:v>
                </c:pt>
                <c:pt idx="712" formatCode="0.00">
                  <c:v>0.34007002141531917</c:v>
                </c:pt>
                <c:pt idx="713" formatCode="0.00">
                  <c:v>0.33989061276209803</c:v>
                </c:pt>
                <c:pt idx="714" formatCode="0.00">
                  <c:v>0.33977553469429866</c:v>
                </c:pt>
                <c:pt idx="715" formatCode="0.00">
                  <c:v>0.3401430604835235</c:v>
                </c:pt>
                <c:pt idx="716" formatCode="0.00">
                  <c:v>0.34031695516521948</c:v>
                </c:pt>
                <c:pt idx="717" formatCode="0.00">
                  <c:v>0.34907989670050638</c:v>
                </c:pt>
                <c:pt idx="718" formatCode="0.00">
                  <c:v>0.34987911316133086</c:v>
                </c:pt>
                <c:pt idx="719" formatCode="0.00">
                  <c:v>0.34984371984979845</c:v>
                </c:pt>
                <c:pt idx="720" formatCode="0.00">
                  <c:v>0.34984883088703017</c:v>
                </c:pt>
                <c:pt idx="721" formatCode="0.00">
                  <c:v>0.34984949592534376</c:v>
                </c:pt>
                <c:pt idx="722" formatCode="0.00">
                  <c:v>0.34975385798371378</c:v>
                </c:pt>
                <c:pt idx="723" formatCode="0.00">
                  <c:v>0.3497518400738247</c:v>
                </c:pt>
                <c:pt idx="724" formatCode="0.00">
                  <c:v>0.34921122912456004</c:v>
                </c:pt>
                <c:pt idx="725" formatCode="0.00">
                  <c:v>0.34969860950671511</c:v>
                </c:pt>
                <c:pt idx="726" formatCode="0.00">
                  <c:v>0.3493515869205488</c:v>
                </c:pt>
                <c:pt idx="727" formatCode="0.00">
                  <c:v>0.34930534282514825</c:v>
                </c:pt>
                <c:pt idx="728" formatCode="0.00">
                  <c:v>0.34888540124133571</c:v>
                </c:pt>
                <c:pt idx="729" formatCode="0.00">
                  <c:v>0.3488688435130356</c:v>
                </c:pt>
                <c:pt idx="730" formatCode="0.00">
                  <c:v>0.34945029758478113</c:v>
                </c:pt>
                <c:pt idx="731" formatCode="0.00">
                  <c:v>0.35043695143849102</c:v>
                </c:pt>
                <c:pt idx="732" formatCode="0.00">
                  <c:v>0.35015623154835085</c:v>
                </c:pt>
                <c:pt idx="733" formatCode="0.00">
                  <c:v>0.34989343495844361</c:v>
                </c:pt>
                <c:pt idx="734" formatCode="0.00">
                  <c:v>0.34992601626509279</c:v>
                </c:pt>
                <c:pt idx="735" formatCode="0.00">
                  <c:v>0.34982369300054511</c:v>
                </c:pt>
                <c:pt idx="736" formatCode="0.00">
                  <c:v>0.34941868208397908</c:v>
                </c:pt>
                <c:pt idx="737" formatCode="0.00">
                  <c:v>0.34998705935000884</c:v>
                </c:pt>
                <c:pt idx="738" formatCode="0.00">
                  <c:v>0.35445395341723152</c:v>
                </c:pt>
                <c:pt idx="739" formatCode="0.00">
                  <c:v>0.35381480491295214</c:v>
                </c:pt>
                <c:pt idx="740" formatCode="0.00">
                  <c:v>0.35278977143154461</c:v>
                </c:pt>
                <c:pt idx="741" formatCode="0.00">
                  <c:v>0.35177344904609859</c:v>
                </c:pt>
                <c:pt idx="742" formatCode="0.00">
                  <c:v>0.3507195051953933</c:v>
                </c:pt>
                <c:pt idx="743" formatCode="0.00">
                  <c:v>0.35048645002772444</c:v>
                </c:pt>
                <c:pt idx="744" formatCode="0.00">
                  <c:v>0.35143332331084798</c:v>
                </c:pt>
                <c:pt idx="745" formatCode="0.00">
                  <c:v>0.35118746015245206</c:v>
                </c:pt>
                <c:pt idx="746" formatCode="0.00">
                  <c:v>0.35159091953256555</c:v>
                </c:pt>
                <c:pt idx="747" formatCode="0.00">
                  <c:v>0.3502222987477186</c:v>
                </c:pt>
                <c:pt idx="748" formatCode="0.00">
                  <c:v>0.35068037994029733</c:v>
                </c:pt>
                <c:pt idx="749" formatCode="0.00">
                  <c:v>0.34971038650313097</c:v>
                </c:pt>
                <c:pt idx="750" formatCode="0.00">
                  <c:v>0.35010068408905676</c:v>
                </c:pt>
                <c:pt idx="751" formatCode="0.00">
                  <c:v>0.35010850282346662</c:v>
                </c:pt>
                <c:pt idx="752" formatCode="0.00">
                  <c:v>0.35026848349539058</c:v>
                </c:pt>
                <c:pt idx="753" formatCode="0.00">
                  <c:v>0.35101851463191736</c:v>
                </c:pt>
                <c:pt idx="754" formatCode="0.00">
                  <c:v>0.3599830433685377</c:v>
                </c:pt>
                <c:pt idx="755" formatCode="0.00">
                  <c:v>0.36061138949083654</c:v>
                </c:pt>
                <c:pt idx="756" formatCode="0.00">
                  <c:v>0.36128741456770741</c:v>
                </c:pt>
                <c:pt idx="757" formatCode="0.00">
                  <c:v>0.36652986566743095</c:v>
                </c:pt>
                <c:pt idx="758" formatCode="0.00">
                  <c:v>0.36045560684630723</c:v>
                </c:pt>
                <c:pt idx="759" formatCode="0.00">
                  <c:v>0.36207761205393407</c:v>
                </c:pt>
                <c:pt idx="760" formatCode="0.00">
                  <c:v>0.3622710886789739</c:v>
                </c:pt>
                <c:pt idx="761" formatCode="0.00">
                  <c:v>0.36239027359982151</c:v>
                </c:pt>
                <c:pt idx="762" formatCode="0.00">
                  <c:v>0.36205957901682145</c:v>
                </c:pt>
                <c:pt idx="763" formatCode="0.00">
                  <c:v>0.36221302435019492</c:v>
                </c:pt>
                <c:pt idx="764" formatCode="0.00">
                  <c:v>0.36226763914260085</c:v>
                </c:pt>
                <c:pt idx="765" formatCode="0.00">
                  <c:v>0.36229225999591597</c:v>
                </c:pt>
                <c:pt idx="766" formatCode="0.00">
                  <c:v>0.36230745055033547</c:v>
                </c:pt>
                <c:pt idx="767" formatCode="0.00">
                  <c:v>0.36232900047903716</c:v>
                </c:pt>
                <c:pt idx="768" formatCode="0.00">
                  <c:v>0.36417795177779255</c:v>
                </c:pt>
                <c:pt idx="769" formatCode="0.00">
                  <c:v>0.3642776198305922</c:v>
                </c:pt>
                <c:pt idx="770" formatCode="0.00">
                  <c:v>0.36708466675709961</c:v>
                </c:pt>
                <c:pt idx="771" formatCode="0.00">
                  <c:v>0.36658943981309339</c:v>
                </c:pt>
                <c:pt idx="772" formatCode="0.00">
                  <c:v>0.36593125948027211</c:v>
                </c:pt>
                <c:pt idx="773" formatCode="0.00">
                  <c:v>0.36480164766317474</c:v>
                </c:pt>
                <c:pt idx="774" formatCode="0.00">
                  <c:v>0.36759459109719511</c:v>
                </c:pt>
                <c:pt idx="775" formatCode="0.00">
                  <c:v>0.36934143437740191</c:v>
                </c:pt>
                <c:pt idx="776" formatCode="0.00">
                  <c:v>0.37026937189553477</c:v>
                </c:pt>
                <c:pt idx="777" formatCode="0.00">
                  <c:v>0.370478674305524</c:v>
                </c:pt>
                <c:pt idx="778" formatCode="0.00">
                  <c:v>0.37081220536837667</c:v>
                </c:pt>
                <c:pt idx="779" formatCode="0.00">
                  <c:v>0.3708468757948743</c:v>
                </c:pt>
                <c:pt idx="780" formatCode="0.00">
                  <c:v>0.37058271289125982</c:v>
                </c:pt>
                <c:pt idx="781" formatCode="0.00">
                  <c:v>0.36937575490105667</c:v>
                </c:pt>
                <c:pt idx="782" formatCode="0.00">
                  <c:v>0.37219988404704352</c:v>
                </c:pt>
                <c:pt idx="783" formatCode="0.00">
                  <c:v>0.37173275532105948</c:v>
                </c:pt>
                <c:pt idx="784" formatCode="0.00">
                  <c:v>0.3717703992697437</c:v>
                </c:pt>
                <c:pt idx="785" formatCode="0.00">
                  <c:v>0.37225200349680893</c:v>
                </c:pt>
                <c:pt idx="786" formatCode="0.00">
                  <c:v>0.37290710617281519</c:v>
                </c:pt>
                <c:pt idx="787" formatCode="0.00">
                  <c:v>0.37127147412815659</c:v>
                </c:pt>
                <c:pt idx="788" formatCode="0.00">
                  <c:v>0.37134841824678494</c:v>
                </c:pt>
                <c:pt idx="789" formatCode="0.00">
                  <c:v>0.36937412743007125</c:v>
                </c:pt>
                <c:pt idx="790" formatCode="0.00">
                  <c:v>0.36837415817071745</c:v>
                </c:pt>
                <c:pt idx="791" formatCode="0.00">
                  <c:v>0.36661104865735555</c:v>
                </c:pt>
                <c:pt idx="792" formatCode="0.00">
                  <c:v>0.36647931585503091</c:v>
                </c:pt>
                <c:pt idx="793" formatCode="0.00">
                  <c:v>0.36537328599449675</c:v>
                </c:pt>
                <c:pt idx="794" formatCode="0.00">
                  <c:v>0.36539503944449686</c:v>
                </c:pt>
                <c:pt idx="795" formatCode="0.00">
                  <c:v>0.36497025688952284</c:v>
                </c:pt>
                <c:pt idx="796" formatCode="0.00">
                  <c:v>0.36536616311564846</c:v>
                </c:pt>
                <c:pt idx="797" formatCode="0.00">
                  <c:v>0.36551191458854576</c:v>
                </c:pt>
                <c:pt idx="798" formatCode="0.00">
                  <c:v>0.36561584347978238</c:v>
                </c:pt>
                <c:pt idx="799" formatCode="0.00">
                  <c:v>0.3668599023366842</c:v>
                </c:pt>
                <c:pt idx="800" formatCode="0.00">
                  <c:v>0.36680967031456563</c:v>
                </c:pt>
                <c:pt idx="801" formatCode="0.00">
                  <c:v>0.36690196712605649</c:v>
                </c:pt>
                <c:pt idx="802" formatCode="0.00">
                  <c:v>0.36624552248226266</c:v>
                </c:pt>
                <c:pt idx="803" formatCode="0.00">
                  <c:v>0.36630259064813675</c:v>
                </c:pt>
                <c:pt idx="804" formatCode="0.00">
                  <c:v>0.36602980259953521</c:v>
                </c:pt>
                <c:pt idx="805" formatCode="0.00">
                  <c:v>0.36563798985898788</c:v>
                </c:pt>
                <c:pt idx="806" formatCode="0.00">
                  <c:v>0.36566345909245035</c:v>
                </c:pt>
                <c:pt idx="807" formatCode="0.00">
                  <c:v>0.36565503409460887</c:v>
                </c:pt>
                <c:pt idx="808" formatCode="0.00">
                  <c:v>0.36723328862999371</c:v>
                </c:pt>
                <c:pt idx="809" formatCode="0.00">
                  <c:v>0.36744815682397391</c:v>
                </c:pt>
                <c:pt idx="810" formatCode="0.00">
                  <c:v>0.36761182012652793</c:v>
                </c:pt>
                <c:pt idx="811" formatCode="0.00">
                  <c:v>0.36785755601697795</c:v>
                </c:pt>
                <c:pt idx="812" formatCode="0.00">
                  <c:v>0.3682936661120183</c:v>
                </c:pt>
                <c:pt idx="813" formatCode="0.00">
                  <c:v>0.36837624003840674</c:v>
                </c:pt>
                <c:pt idx="814" formatCode="0.00">
                  <c:v>0.36959116630553163</c:v>
                </c:pt>
                <c:pt idx="815" formatCode="0.00">
                  <c:v>0.36922575616216724</c:v>
                </c:pt>
                <c:pt idx="816" formatCode="0.00">
                  <c:v>0.37192186301624075</c:v>
                </c:pt>
                <c:pt idx="817" formatCode="0.00">
                  <c:v>0.37207165894432925</c:v>
                </c:pt>
                <c:pt idx="818" formatCode="0.00">
                  <c:v>0.36880133638601814</c:v>
                </c:pt>
                <c:pt idx="819" formatCode="0.00">
                  <c:v>0.37630899880526597</c:v>
                </c:pt>
                <c:pt idx="820" formatCode="0.00">
                  <c:v>0.37647888045039779</c:v>
                </c:pt>
                <c:pt idx="821" formatCode="0.00">
                  <c:v>0.37712813686855501</c:v>
                </c:pt>
                <c:pt idx="822" formatCode="0.00">
                  <c:v>0.37933636394100129</c:v>
                </c:pt>
                <c:pt idx="823" formatCode="0.00">
                  <c:v>0.379864554504729</c:v>
                </c:pt>
                <c:pt idx="824" formatCode="0.00">
                  <c:v>0.38315351051900659</c:v>
                </c:pt>
                <c:pt idx="825" formatCode="0.00">
                  <c:v>0.38465633288090945</c:v>
                </c:pt>
                <c:pt idx="826" formatCode="0.00">
                  <c:v>0.38399146325167027</c:v>
                </c:pt>
                <c:pt idx="827" formatCode="0.00">
                  <c:v>0.38386869775921456</c:v>
                </c:pt>
                <c:pt idx="828" formatCode="0.00">
                  <c:v>0.38440560599499074</c:v>
                </c:pt>
                <c:pt idx="829" formatCode="0.00">
                  <c:v>0.38434278341774092</c:v>
                </c:pt>
                <c:pt idx="830" formatCode="0.00">
                  <c:v>0.38426301386521666</c:v>
                </c:pt>
                <c:pt idx="831" formatCode="0.00">
                  <c:v>0.38311663477689351</c:v>
                </c:pt>
                <c:pt idx="832" formatCode="0.00">
                  <c:v>0.38347703033513447</c:v>
                </c:pt>
                <c:pt idx="833" formatCode="0.00">
                  <c:v>0.382962219599156</c:v>
                </c:pt>
                <c:pt idx="834" formatCode="0.00">
                  <c:v>0.38288635108854902</c:v>
                </c:pt>
                <c:pt idx="835" formatCode="0.00">
                  <c:v>0.38222455454131649</c:v>
                </c:pt>
                <c:pt idx="836" formatCode="0.00">
                  <c:v>0.38250602699165814</c:v>
                </c:pt>
                <c:pt idx="837" formatCode="0.00">
                  <c:v>0.38244956188008594</c:v>
                </c:pt>
                <c:pt idx="838" formatCode="0.00">
                  <c:v>0.3813870007311112</c:v>
                </c:pt>
                <c:pt idx="839" formatCode="0.00">
                  <c:v>0.38112074260503881</c:v>
                </c:pt>
                <c:pt idx="840" formatCode="0.00">
                  <c:v>0.37992747930529586</c:v>
                </c:pt>
                <c:pt idx="841" formatCode="0.00">
                  <c:v>0.37993090668660667</c:v>
                </c:pt>
                <c:pt idx="842" formatCode="0.00">
                  <c:v>0.38115977988117428</c:v>
                </c:pt>
                <c:pt idx="843" formatCode="0.00">
                  <c:v>0.38199971165697949</c:v>
                </c:pt>
                <c:pt idx="844" formatCode="0.00">
                  <c:v>0.38157019272429976</c:v>
                </c:pt>
                <c:pt idx="845" formatCode="0.00">
                  <c:v>0.3800243183088382</c:v>
                </c:pt>
                <c:pt idx="846" formatCode="0.00">
                  <c:v>0.37999147831192154</c:v>
                </c:pt>
                <c:pt idx="847" formatCode="0.00">
                  <c:v>0.37806774278404082</c:v>
                </c:pt>
                <c:pt idx="848" formatCode="0.00">
                  <c:v>0.37915325460242949</c:v>
                </c:pt>
                <c:pt idx="849" formatCode="0.00">
                  <c:v>0.37918609783271495</c:v>
                </c:pt>
                <c:pt idx="850" formatCode="0.00">
                  <c:v>0.37864447044860461</c:v>
                </c:pt>
                <c:pt idx="851" formatCode="0.00">
                  <c:v>0.38097829794409677</c:v>
                </c:pt>
                <c:pt idx="852" formatCode="0.00">
                  <c:v>0.38104268992282864</c:v>
                </c:pt>
                <c:pt idx="853" formatCode="0.00">
                  <c:v>0.38098810229849017</c:v>
                </c:pt>
                <c:pt idx="854" formatCode="0.00">
                  <c:v>0.38095617511636387</c:v>
                </c:pt>
                <c:pt idx="855" formatCode="0.00">
                  <c:v>0.38098435689309784</c:v>
                </c:pt>
                <c:pt idx="856" formatCode="0.00">
                  <c:v>0.38022046920085367</c:v>
                </c:pt>
                <c:pt idx="857" formatCode="0.00">
                  <c:v>0.37825479181177618</c:v>
                </c:pt>
                <c:pt idx="858" formatCode="0.00">
                  <c:v>0.37852428599576454</c:v>
                </c:pt>
                <c:pt idx="859" formatCode="0.00">
                  <c:v>0.37817272377574823</c:v>
                </c:pt>
                <c:pt idx="860" formatCode="0.00">
                  <c:v>0.37762575329430792</c:v>
                </c:pt>
                <c:pt idx="861" formatCode="0.00">
                  <c:v>0.37775619561517587</c:v>
                </c:pt>
                <c:pt idx="862" formatCode="0.00">
                  <c:v>0.37698838420470898</c:v>
                </c:pt>
                <c:pt idx="863" formatCode="0.00">
                  <c:v>0.37691191523952911</c:v>
                </c:pt>
                <c:pt idx="864" formatCode="0.00">
                  <c:v>0.37749578119844573</c:v>
                </c:pt>
                <c:pt idx="865" formatCode="0.00">
                  <c:v>0.37670524007628958</c:v>
                </c:pt>
                <c:pt idx="866" formatCode="0.00">
                  <c:v>0.37703437144901558</c:v>
                </c:pt>
                <c:pt idx="867" formatCode="0.00">
                  <c:v>0.37659510541560459</c:v>
                </c:pt>
                <c:pt idx="868" formatCode="0.00">
                  <c:v>0.37657147020825371</c:v>
                </c:pt>
                <c:pt idx="869" formatCode="0.00">
                  <c:v>0.37645562114761977</c:v>
                </c:pt>
                <c:pt idx="870" formatCode="0.00">
                  <c:v>0.37851157213314679</c:v>
                </c:pt>
                <c:pt idx="871" formatCode="0.00">
                  <c:v>0.37677703773428456</c:v>
                </c:pt>
                <c:pt idx="872" formatCode="0.00">
                  <c:v>0.37678067169554808</c:v>
                </c:pt>
                <c:pt idx="873" formatCode="0.00">
                  <c:v>0.3810485381915934</c:v>
                </c:pt>
                <c:pt idx="874" formatCode="0.00">
                  <c:v>0.37979019260401131</c:v>
                </c:pt>
                <c:pt idx="875" formatCode="0.00">
                  <c:v>0.37975925917968906</c:v>
                </c:pt>
                <c:pt idx="876" formatCode="0.00">
                  <c:v>0.38318748015592063</c:v>
                </c:pt>
                <c:pt idx="877" formatCode="0.00">
                  <c:v>0.38483130935693982</c:v>
                </c:pt>
                <c:pt idx="878" formatCode="0.00">
                  <c:v>0.38839724226600014</c:v>
                </c:pt>
                <c:pt idx="879" formatCode="0.00">
                  <c:v>0.38831997927013878</c:v>
                </c:pt>
                <c:pt idx="880" formatCode="0.00">
                  <c:v>0.38833555936573527</c:v>
                </c:pt>
                <c:pt idx="881" formatCode="0.00">
                  <c:v>0.38754833242000858</c:v>
                </c:pt>
                <c:pt idx="882" formatCode="0.00">
                  <c:v>0.38598120871695457</c:v>
                </c:pt>
                <c:pt idx="883" formatCode="0.00">
                  <c:v>0.38541992601276492</c:v>
                </c:pt>
                <c:pt idx="884" formatCode="0.00">
                  <c:v>0.38550823196981882</c:v>
                </c:pt>
                <c:pt idx="885" formatCode="0.00">
                  <c:v>0.38574786310553083</c:v>
                </c:pt>
                <c:pt idx="886" formatCode="0.00">
                  <c:v>0.38841267691581277</c:v>
                </c:pt>
                <c:pt idx="887" formatCode="0.00">
                  <c:v>0.38959556173840626</c:v>
                </c:pt>
                <c:pt idx="888" formatCode="0.00">
                  <c:v>0.39065363548091081</c:v>
                </c:pt>
                <c:pt idx="889" formatCode="0.00">
                  <c:v>0.38992859865254814</c:v>
                </c:pt>
                <c:pt idx="890" formatCode="0.00">
                  <c:v>0.390176677984724</c:v>
                </c:pt>
                <c:pt idx="891" formatCode="0.00">
                  <c:v>0.39135543974038162</c:v>
                </c:pt>
                <c:pt idx="892" formatCode="0.00">
                  <c:v>0.39106460415910466</c:v>
                </c:pt>
                <c:pt idx="893" formatCode="0.00">
                  <c:v>0.39251789053162012</c:v>
                </c:pt>
                <c:pt idx="894" formatCode="0.00">
                  <c:v>0.39311412681271701</c:v>
                </c:pt>
                <c:pt idx="895" formatCode="0.00">
                  <c:v>0.39497573191527735</c:v>
                </c:pt>
                <c:pt idx="896" formatCode="0.00">
                  <c:v>0.39749866506648285</c:v>
                </c:pt>
                <c:pt idx="897" formatCode="0.00">
                  <c:v>0.39872321301247421</c:v>
                </c:pt>
                <c:pt idx="898" formatCode="0.00">
                  <c:v>0.40208750333021898</c:v>
                </c:pt>
                <c:pt idx="899" formatCode="0.00">
                  <c:v>0.40229518067630105</c:v>
                </c:pt>
                <c:pt idx="900" formatCode="0.00">
                  <c:v>0.40006920484348091</c:v>
                </c:pt>
                <c:pt idx="901" formatCode="0.00">
                  <c:v>0.40109257102266704</c:v>
                </c:pt>
                <c:pt idx="902" formatCode="0.00">
                  <c:v>0.40129618468964073</c:v>
                </c:pt>
                <c:pt idx="903" formatCode="0.00">
                  <c:v>0.40085079430127418</c:v>
                </c:pt>
                <c:pt idx="904" formatCode="0.00">
                  <c:v>0.40052884480729406</c:v>
                </c:pt>
                <c:pt idx="905" formatCode="0.00">
                  <c:v>0.39758282336666634</c:v>
                </c:pt>
                <c:pt idx="906" formatCode="0.00">
                  <c:v>0.39521676465948857</c:v>
                </c:pt>
                <c:pt idx="907" formatCode="0.00">
                  <c:v>0.3940720884349731</c:v>
                </c:pt>
                <c:pt idx="908" formatCode="0.00">
                  <c:v>0.39358501828034675</c:v>
                </c:pt>
                <c:pt idx="909" formatCode="0.00">
                  <c:v>0.39357096246079487</c:v>
                </c:pt>
                <c:pt idx="910" formatCode="0.00">
                  <c:v>0.39659422078671186</c:v>
                </c:pt>
                <c:pt idx="911" formatCode="0.00">
                  <c:v>0.39694059118854996</c:v>
                </c:pt>
                <c:pt idx="912" formatCode="0.00">
                  <c:v>0.39708373033696487</c:v>
                </c:pt>
                <c:pt idx="913" formatCode="0.00">
                  <c:v>0.40194018592152564</c:v>
                </c:pt>
                <c:pt idx="914" formatCode="0.00">
                  <c:v>0.4018696406363706</c:v>
                </c:pt>
                <c:pt idx="915" formatCode="0.00">
                  <c:v>0.401831975339901</c:v>
                </c:pt>
                <c:pt idx="916" formatCode="0.00">
                  <c:v>0.40614697292124274</c:v>
                </c:pt>
                <c:pt idx="917" formatCode="0.00">
                  <c:v>0.40694431811183734</c:v>
                </c:pt>
                <c:pt idx="918" formatCode="0.00">
                  <c:v>0.40808119215266375</c:v>
                </c:pt>
                <c:pt idx="919" formatCode="0.00">
                  <c:v>0.40899728794428869</c:v>
                </c:pt>
                <c:pt idx="920" formatCode="0.00">
                  <c:v>0.40928989444757563</c:v>
                </c:pt>
                <c:pt idx="921" formatCode="0.00">
                  <c:v>0.40931038312463142</c:v>
                </c:pt>
                <c:pt idx="922" formatCode="0.00">
                  <c:v>0.40987388974222294</c:v>
                </c:pt>
                <c:pt idx="923" formatCode="0.00">
                  <c:v>0.40954219932315278</c:v>
                </c:pt>
                <c:pt idx="924" formatCode="0.00">
                  <c:v>0.40587215305423963</c:v>
                </c:pt>
                <c:pt idx="925" formatCode="0.00">
                  <c:v>0.40584418235218722</c:v>
                </c:pt>
                <c:pt idx="926" formatCode="0.00">
                  <c:v>0.40436399254428224</c:v>
                </c:pt>
                <c:pt idx="927" formatCode="0.00">
                  <c:v>0.40285275061140596</c:v>
                </c:pt>
                <c:pt idx="928" formatCode="0.00">
                  <c:v>0.40320221059720884</c:v>
                </c:pt>
                <c:pt idx="929" formatCode="0.00">
                  <c:v>0.40319416468899039</c:v>
                </c:pt>
                <c:pt idx="930" formatCode="0.00">
                  <c:v>0.40323567138012567</c:v>
                </c:pt>
                <c:pt idx="931" formatCode="0.00">
                  <c:v>0.40013686994561015</c:v>
                </c:pt>
                <c:pt idx="932" formatCode="0.00">
                  <c:v>0.40229424423179605</c:v>
                </c:pt>
                <c:pt idx="933" formatCode="0.00">
                  <c:v>0.40170794952580796</c:v>
                </c:pt>
                <c:pt idx="934" formatCode="0.00">
                  <c:v>0.40169706164398156</c:v>
                </c:pt>
                <c:pt idx="935" formatCode="0.00">
                  <c:v>0.40298621186259376</c:v>
                </c:pt>
                <c:pt idx="936" formatCode="0.00">
                  <c:v>0.4038250094341127</c:v>
                </c:pt>
                <c:pt idx="937" formatCode="0.00">
                  <c:v>0.40432542411180444</c:v>
                </c:pt>
                <c:pt idx="938" formatCode="0.00">
                  <c:v>0.40584761529590241</c:v>
                </c:pt>
                <c:pt idx="939" formatCode="0.00">
                  <c:v>0.40725423501749164</c:v>
                </c:pt>
                <c:pt idx="940" formatCode="0.00">
                  <c:v>0.40730544076677222</c:v>
                </c:pt>
                <c:pt idx="941" formatCode="0.00">
                  <c:v>0.40766299952368296</c:v>
                </c:pt>
                <c:pt idx="942" formatCode="0.00">
                  <c:v>0.40789467087263959</c:v>
                </c:pt>
                <c:pt idx="943" formatCode="0.00">
                  <c:v>0.40735917847820785</c:v>
                </c:pt>
                <c:pt idx="944" formatCode="0.00">
                  <c:v>0.40872494163527462</c:v>
                </c:pt>
                <c:pt idx="945" formatCode="0.00">
                  <c:v>0.40779879687365789</c:v>
                </c:pt>
                <c:pt idx="946" formatCode="0.00">
                  <c:v>0.40705902913206288</c:v>
                </c:pt>
                <c:pt idx="947" formatCode="0.00">
                  <c:v>0.40683843375969497</c:v>
                </c:pt>
                <c:pt idx="948" formatCode="0.00">
                  <c:v>0.40720813328167943</c:v>
                </c:pt>
                <c:pt idx="949" formatCode="0.00">
                  <c:v>0.4118399332407649</c:v>
                </c:pt>
                <c:pt idx="950" formatCode="0.00">
                  <c:v>0.4125744231104112</c:v>
                </c:pt>
                <c:pt idx="951" formatCode="0.00">
                  <c:v>0.41165011062007018</c:v>
                </c:pt>
                <c:pt idx="952" formatCode="0.00">
                  <c:v>0.41094628155885188</c:v>
                </c:pt>
                <c:pt idx="953" formatCode="0.00">
                  <c:v>0.41156554304832343</c:v>
                </c:pt>
                <c:pt idx="954" formatCode="0.00">
                  <c:v>0.41277484739582382</c:v>
                </c:pt>
                <c:pt idx="955" formatCode="0.00">
                  <c:v>0.41129141625006738</c:v>
                </c:pt>
                <c:pt idx="956" formatCode="0.00">
                  <c:v>0.41096508259866388</c:v>
                </c:pt>
                <c:pt idx="957" formatCode="0.00">
                  <c:v>0.41502255546464234</c:v>
                </c:pt>
                <c:pt idx="958" formatCode="0.00">
                  <c:v>0.41558993630709123</c:v>
                </c:pt>
                <c:pt idx="959" formatCode="0.00">
                  <c:v>0.413237563233948</c:v>
                </c:pt>
                <c:pt idx="960" formatCode="0.00">
                  <c:v>0.41323000073945992</c:v>
                </c:pt>
                <c:pt idx="961" formatCode="0.00">
                  <c:v>0.41217316628855083</c:v>
                </c:pt>
                <c:pt idx="962" formatCode="0.00">
                  <c:v>0.4114353883601708</c:v>
                </c:pt>
                <c:pt idx="963" formatCode="0.00">
                  <c:v>0.41143702863289527</c:v>
                </c:pt>
                <c:pt idx="964" formatCode="0.00">
                  <c:v>0.40989989892647516</c:v>
                </c:pt>
                <c:pt idx="965" formatCode="0.00">
                  <c:v>0.40870342540393462</c:v>
                </c:pt>
                <c:pt idx="966" formatCode="0.00">
                  <c:v>0.4089087632765408</c:v>
                </c:pt>
                <c:pt idx="967" formatCode="0.00">
                  <c:v>0.4119517735121957</c:v>
                </c:pt>
                <c:pt idx="968" formatCode="0.00">
                  <c:v>0.41209424003064266</c:v>
                </c:pt>
                <c:pt idx="969" formatCode="0.00">
                  <c:v>0.41231524437024381</c:v>
                </c:pt>
                <c:pt idx="970" formatCode="0.00">
                  <c:v>0.40396231162506852</c:v>
                </c:pt>
                <c:pt idx="971" formatCode="0.00">
                  <c:v>0.40374915637595293</c:v>
                </c:pt>
                <c:pt idx="972" formatCode="0.00">
                  <c:v>0.4103478831779746</c:v>
                </c:pt>
                <c:pt idx="973" formatCode="0.00">
                  <c:v>0.41048518139451923</c:v>
                </c:pt>
                <c:pt idx="974" formatCode="0.00">
                  <c:v>0.41079164062864232</c:v>
                </c:pt>
                <c:pt idx="975" formatCode="0.00">
                  <c:v>0.41148613009047946</c:v>
                </c:pt>
                <c:pt idx="976" formatCode="0.00">
                  <c:v>0.41196525943138423</c:v>
                </c:pt>
                <c:pt idx="977" formatCode="0.00">
                  <c:v>0.41231439236263895</c:v>
                </c:pt>
                <c:pt idx="978" formatCode="0.00">
                  <c:v>0.41287923598486564</c:v>
                </c:pt>
                <c:pt idx="979" formatCode="0.00">
                  <c:v>0.4155801974517862</c:v>
                </c:pt>
                <c:pt idx="980" formatCode="0.00">
                  <c:v>0.41564049609034348</c:v>
                </c:pt>
                <c:pt idx="981" formatCode="0.00">
                  <c:v>0.41571598813795679</c:v>
                </c:pt>
                <c:pt idx="982" formatCode="0.00">
                  <c:v>0.41981410589677665</c:v>
                </c:pt>
                <c:pt idx="983" formatCode="0.00">
                  <c:v>0.419058728947722</c:v>
                </c:pt>
                <c:pt idx="984" formatCode="0.00">
                  <c:v>0.41794289050588457</c:v>
                </c:pt>
                <c:pt idx="985" formatCode="0.00">
                  <c:v>0.41793354432190599</c:v>
                </c:pt>
                <c:pt idx="986" formatCode="0.00">
                  <c:v>0.41789898848532847</c:v>
                </c:pt>
                <c:pt idx="987" formatCode="0.00">
                  <c:v>0.41730285859292876</c:v>
                </c:pt>
                <c:pt idx="988" formatCode="0.00">
                  <c:v>0.41713194471917125</c:v>
                </c:pt>
                <c:pt idx="989" formatCode="0.00">
                  <c:v>0.41701999208754537</c:v>
                </c:pt>
                <c:pt idx="990" formatCode="0.00">
                  <c:v>0.41615534003137333</c:v>
                </c:pt>
                <c:pt idx="991" formatCode="0.00">
                  <c:v>0.41510536627509792</c:v>
                </c:pt>
                <c:pt idx="992" formatCode="0.00">
                  <c:v>0.41539696260284076</c:v>
                </c:pt>
                <c:pt idx="993" formatCode="0.00">
                  <c:v>0.41536878941067107</c:v>
                </c:pt>
                <c:pt idx="994" formatCode="0.00">
                  <c:v>0.41718308799391685</c:v>
                </c:pt>
                <c:pt idx="995" formatCode="0.00">
                  <c:v>0.42132954332440214</c:v>
                </c:pt>
                <c:pt idx="996" formatCode="0.00">
                  <c:v>0.42532150207414882</c:v>
                </c:pt>
                <c:pt idx="997" formatCode="0.00">
                  <c:v>0.4251419303778628</c:v>
                </c:pt>
                <c:pt idx="998" formatCode="0.00">
                  <c:v>0.4258955392624787</c:v>
                </c:pt>
                <c:pt idx="999" formatCode="0.00">
                  <c:v>0.42532683017227935</c:v>
                </c:pt>
                <c:pt idx="1000" formatCode="0.00">
                  <c:v>0.42532708225455579</c:v>
                </c:pt>
                <c:pt idx="1001" formatCode="0.00">
                  <c:v>0.42508366005100712</c:v>
                </c:pt>
                <c:pt idx="1002" formatCode="0.00">
                  <c:v>0.42576601289775035</c:v>
                </c:pt>
                <c:pt idx="1003" formatCode="0.00">
                  <c:v>0.43409923744581475</c:v>
                </c:pt>
                <c:pt idx="1004" formatCode="0.00">
                  <c:v>0.43407841489399712</c:v>
                </c:pt>
                <c:pt idx="1005" formatCode="0.00">
                  <c:v>0.4348286471624071</c:v>
                </c:pt>
                <c:pt idx="1006" formatCode="0.00">
                  <c:v>0.43684275014485002</c:v>
                </c:pt>
                <c:pt idx="1007" formatCode="0.00">
                  <c:v>0.43103267162172709</c:v>
                </c:pt>
                <c:pt idx="1008" formatCode="0.00">
                  <c:v>0.43146028412594745</c:v>
                </c:pt>
                <c:pt idx="1009" formatCode="0.00">
                  <c:v>0.43130917558811843</c:v>
                </c:pt>
                <c:pt idx="1010" formatCode="0.00">
                  <c:v>0.42776112974039016</c:v>
                </c:pt>
                <c:pt idx="1011" formatCode="0.00">
                  <c:v>0.42776526211604787</c:v>
                </c:pt>
                <c:pt idx="1012" formatCode="0.00">
                  <c:v>0.43064637032899084</c:v>
                </c:pt>
                <c:pt idx="1013" formatCode="0.00">
                  <c:v>0.43048102544218569</c:v>
                </c:pt>
                <c:pt idx="1014" formatCode="0.00">
                  <c:v>0.43070438638102609</c:v>
                </c:pt>
                <c:pt idx="1015" formatCode="0.00">
                  <c:v>0.43060357990019887</c:v>
                </c:pt>
                <c:pt idx="1016" formatCode="0.00">
                  <c:v>0.43084334435626953</c:v>
                </c:pt>
                <c:pt idx="1017" formatCode="0.00">
                  <c:v>0.43084213005886113</c:v>
                </c:pt>
                <c:pt idx="1018" formatCode="0.00">
                  <c:v>0.4309533544193897</c:v>
                </c:pt>
                <c:pt idx="1019" formatCode="0.00">
                  <c:v>0.43114336440232059</c:v>
                </c:pt>
                <c:pt idx="1020" formatCode="0.00">
                  <c:v>0.43123665145677759</c:v>
                </c:pt>
                <c:pt idx="1021" formatCode="0.00">
                  <c:v>0.43290619851264123</c:v>
                </c:pt>
                <c:pt idx="1022" formatCode="0.00">
                  <c:v>0.43302347290454068</c:v>
                </c:pt>
                <c:pt idx="1023" formatCode="0.00">
                  <c:v>0.42945618058727875</c:v>
                </c:pt>
                <c:pt idx="1024" formatCode="0.00">
                  <c:v>0.42972487781200774</c:v>
                </c:pt>
                <c:pt idx="1025" formatCode="0.00">
                  <c:v>0.4307395617727473</c:v>
                </c:pt>
                <c:pt idx="1026" formatCode="0.00">
                  <c:v>0.4307264763594576</c:v>
                </c:pt>
                <c:pt idx="1027" formatCode="0.00">
                  <c:v>0.42910045376902312</c:v>
                </c:pt>
                <c:pt idx="1028" formatCode="0.00">
                  <c:v>0.42648783124318196</c:v>
                </c:pt>
                <c:pt idx="1029" formatCode="0.00">
                  <c:v>0.4259649529600244</c:v>
                </c:pt>
                <c:pt idx="1030" formatCode="0.00">
                  <c:v>0.42647526371985184</c:v>
                </c:pt>
                <c:pt idx="1031" formatCode="0.00">
                  <c:v>0.42606488858294617</c:v>
                </c:pt>
                <c:pt idx="1032" formatCode="0.00">
                  <c:v>0.43131854632273592</c:v>
                </c:pt>
                <c:pt idx="1033" formatCode="0.00">
                  <c:v>0.43370487243987205</c:v>
                </c:pt>
                <c:pt idx="1034" formatCode="0.00">
                  <c:v>0.43914835191567525</c:v>
                </c:pt>
                <c:pt idx="1035" formatCode="0.00">
                  <c:v>0.43794024651502306</c:v>
                </c:pt>
                <c:pt idx="1036" formatCode="0.00">
                  <c:v>0.43767813274051887</c:v>
                </c:pt>
                <c:pt idx="1037" formatCode="0.00">
                  <c:v>0.43765254027517292</c:v>
                </c:pt>
                <c:pt idx="1038" formatCode="0.00">
                  <c:v>0.43758780419347515</c:v>
                </c:pt>
                <c:pt idx="1039" formatCode="0.00">
                  <c:v>0.43654255480203757</c:v>
                </c:pt>
                <c:pt idx="1040" formatCode="0.00">
                  <c:v>0.43870817936537687</c:v>
                </c:pt>
                <c:pt idx="1041" formatCode="0.00">
                  <c:v>0.43887034974610711</c:v>
                </c:pt>
                <c:pt idx="1042" formatCode="0.00">
                  <c:v>0.43885203018209301</c:v>
                </c:pt>
                <c:pt idx="1043" formatCode="0.00">
                  <c:v>0.43957071283092042</c:v>
                </c:pt>
                <c:pt idx="1044" formatCode="0.00">
                  <c:v>0.43968612833198395</c:v>
                </c:pt>
                <c:pt idx="1045" formatCode="0.00">
                  <c:v>0.44166215822852684</c:v>
                </c:pt>
                <c:pt idx="1046" formatCode="0.00">
                  <c:v>0.44201370784779942</c:v>
                </c:pt>
                <c:pt idx="1047" formatCode="0.00">
                  <c:v>0.44219726294495521</c:v>
                </c:pt>
                <c:pt idx="1048" formatCode="0.00">
                  <c:v>0.44279142302413871</c:v>
                </c:pt>
                <c:pt idx="1049" formatCode="0.00">
                  <c:v>0.44237506863647641</c:v>
                </c:pt>
                <c:pt idx="1050" formatCode="0.00">
                  <c:v>0.44233925774623961</c:v>
                </c:pt>
                <c:pt idx="1051" formatCode="0.00">
                  <c:v>0.44120204996822593</c:v>
                </c:pt>
                <c:pt idx="1052" formatCode="0.00">
                  <c:v>0.44034395159263651</c:v>
                </c:pt>
                <c:pt idx="1053" formatCode="0.00">
                  <c:v>0.44046330781561788</c:v>
                </c:pt>
                <c:pt idx="1054" formatCode="0.00">
                  <c:v>0.44049236177842138</c:v>
                </c:pt>
                <c:pt idx="1055" formatCode="0.00">
                  <c:v>0.44051487103985415</c:v>
                </c:pt>
                <c:pt idx="1056" formatCode="0.00">
                  <c:v>0.44068083872809388</c:v>
                </c:pt>
                <c:pt idx="1057" formatCode="0.00">
                  <c:v>0.43997170541965586</c:v>
                </c:pt>
                <c:pt idx="1058" formatCode="0.00">
                  <c:v>0.44143074444762098</c:v>
                </c:pt>
                <c:pt idx="1059" formatCode="0.00">
                  <c:v>0.44182465793718528</c:v>
                </c:pt>
                <c:pt idx="1060" formatCode="0.00">
                  <c:v>0.44278477696756974</c:v>
                </c:pt>
                <c:pt idx="1061" formatCode="0.00">
                  <c:v>0.44148271471377792</c:v>
                </c:pt>
                <c:pt idx="1062" formatCode="0.00">
                  <c:v>0.44112639339785353</c:v>
                </c:pt>
                <c:pt idx="1063" formatCode="0.00">
                  <c:v>0.44092243848202212</c:v>
                </c:pt>
                <c:pt idx="1064" formatCode="0.00">
                  <c:v>0.44040584980164849</c:v>
                </c:pt>
                <c:pt idx="1065" formatCode="0.00">
                  <c:v>0.44291145482770422</c:v>
                </c:pt>
                <c:pt idx="1066" formatCode="0.00">
                  <c:v>0.44365497173478302</c:v>
                </c:pt>
                <c:pt idx="1067" formatCode="0.00">
                  <c:v>0.44263982473840496</c:v>
                </c:pt>
                <c:pt idx="1068" formatCode="0.00">
                  <c:v>0.44279779881717918</c:v>
                </c:pt>
                <c:pt idx="1069" formatCode="0.00">
                  <c:v>0.44061550701412472</c:v>
                </c:pt>
                <c:pt idx="1070" formatCode="0.00">
                  <c:v>0.44047861307785868</c:v>
                </c:pt>
                <c:pt idx="1071" formatCode="0.00">
                  <c:v>0.43937077488980003</c:v>
                </c:pt>
                <c:pt idx="1072" formatCode="0.00">
                  <c:v>0.43616410528922872</c:v>
                </c:pt>
                <c:pt idx="1073" formatCode="0.00">
                  <c:v>0.43717871706281902</c:v>
                </c:pt>
                <c:pt idx="1074" formatCode="0.00">
                  <c:v>0.43656859103214757</c:v>
                </c:pt>
                <c:pt idx="1075" formatCode="0.00">
                  <c:v>0.43497359379839434</c:v>
                </c:pt>
                <c:pt idx="1076" formatCode="0.00">
                  <c:v>0.43689210678036705</c:v>
                </c:pt>
                <c:pt idx="1077" formatCode="0.00">
                  <c:v>0.43395077955726263</c:v>
                </c:pt>
                <c:pt idx="1078" formatCode="0.00">
                  <c:v>0.43251791158703973</c:v>
                </c:pt>
                <c:pt idx="1079" formatCode="0.00">
                  <c:v>0.4324054494525309</c:v>
                </c:pt>
                <c:pt idx="1080" formatCode="0.00">
                  <c:v>0.4322459989163524</c:v>
                </c:pt>
                <c:pt idx="1081" formatCode="0.00">
                  <c:v>0.43159892281975065</c:v>
                </c:pt>
                <c:pt idx="1082" formatCode="0.00">
                  <c:v>0.4320047923858128</c:v>
                </c:pt>
                <c:pt idx="1083" formatCode="0.00">
                  <c:v>0.43336010884333481</c:v>
                </c:pt>
                <c:pt idx="1084" formatCode="0.00">
                  <c:v>0.43368771617765012</c:v>
                </c:pt>
                <c:pt idx="1085" formatCode="0.00">
                  <c:v>0.43373813170460096</c:v>
                </c:pt>
                <c:pt idx="1086" formatCode="0.00">
                  <c:v>0.43374432835147841</c:v>
                </c:pt>
                <c:pt idx="1087" formatCode="0.00">
                  <c:v>0.43385672795769537</c:v>
                </c:pt>
                <c:pt idx="1088" formatCode="0.00">
                  <c:v>0.43397838798159921</c:v>
                </c:pt>
                <c:pt idx="1089" formatCode="0.00">
                  <c:v>0.4333696986572283</c:v>
                </c:pt>
                <c:pt idx="1090" formatCode="0.00">
                  <c:v>0.4333413807980952</c:v>
                </c:pt>
                <c:pt idx="1091" formatCode="0.00">
                  <c:v>0.43328297737801075</c:v>
                </c:pt>
                <c:pt idx="1092" formatCode="0.00">
                  <c:v>0.43507014387959564</c:v>
                </c:pt>
                <c:pt idx="1093" formatCode="0.00">
                  <c:v>0.43498833596028108</c:v>
                </c:pt>
                <c:pt idx="1094" formatCode="0.00">
                  <c:v>0.43472477626141992</c:v>
                </c:pt>
                <c:pt idx="1095" formatCode="0.00">
                  <c:v>0.43341075563327214</c:v>
                </c:pt>
                <c:pt idx="1096" formatCode="0.00">
                  <c:v>0.43216758503304287</c:v>
                </c:pt>
                <c:pt idx="1097" formatCode="0.00">
                  <c:v>0.43204407076061946</c:v>
                </c:pt>
                <c:pt idx="1098" formatCode="0.00">
                  <c:v>0.43199587741254841</c:v>
                </c:pt>
                <c:pt idx="1099" formatCode="0.00">
                  <c:v>0.43278927236109027</c:v>
                </c:pt>
                <c:pt idx="1100" formatCode="0.00">
                  <c:v>0.43443764423845227</c:v>
                </c:pt>
                <c:pt idx="1101" formatCode="0.00">
                  <c:v>0.43714189811766985</c:v>
                </c:pt>
                <c:pt idx="1102" formatCode="0.00">
                  <c:v>0.43821831297872044</c:v>
                </c:pt>
                <c:pt idx="1103" formatCode="0.00">
                  <c:v>0.43877333488469522</c:v>
                </c:pt>
                <c:pt idx="1104" formatCode="0.00">
                  <c:v>0.43692955146154389</c:v>
                </c:pt>
                <c:pt idx="1105" formatCode="0.00">
                  <c:v>0.43757153446515368</c:v>
                </c:pt>
                <c:pt idx="1106" formatCode="0.00">
                  <c:v>0.43773933456603631</c:v>
                </c:pt>
                <c:pt idx="1107" formatCode="0.00">
                  <c:v>0.4373258721475039</c:v>
                </c:pt>
                <c:pt idx="1108" formatCode="0.00">
                  <c:v>0.4372631814516772</c:v>
                </c:pt>
                <c:pt idx="1109" formatCode="0.00">
                  <c:v>0.43812853270154206</c:v>
                </c:pt>
                <c:pt idx="1110" formatCode="0.00">
                  <c:v>0.43831705280747263</c:v>
                </c:pt>
                <c:pt idx="1111" formatCode="0.00">
                  <c:v>0.43821581685212319</c:v>
                </c:pt>
                <c:pt idx="1112" formatCode="0.00">
                  <c:v>0.43812933593887154</c:v>
                </c:pt>
                <c:pt idx="1113" formatCode="0.00">
                  <c:v>0.43871693645139748</c:v>
                </c:pt>
                <c:pt idx="1114" formatCode="0.00">
                  <c:v>0.43783693842834032</c:v>
                </c:pt>
                <c:pt idx="1115" formatCode="0.00">
                  <c:v>0.43807739871714563</c:v>
                </c:pt>
                <c:pt idx="1116" formatCode="0.00">
                  <c:v>0.43804173277671976</c:v>
                </c:pt>
                <c:pt idx="1117" formatCode="0.00">
                  <c:v>0.43769098980948645</c:v>
                </c:pt>
                <c:pt idx="1118" formatCode="0.00">
                  <c:v>0.43753213298556792</c:v>
                </c:pt>
                <c:pt idx="1119" formatCode="0.00">
                  <c:v>0.43737007115092275</c:v>
                </c:pt>
                <c:pt idx="1120" formatCode="0.00">
                  <c:v>0.43743749414258931</c:v>
                </c:pt>
                <c:pt idx="1121" formatCode="0.00">
                  <c:v>0.43735594094248442</c:v>
                </c:pt>
                <c:pt idx="1122" formatCode="0.00">
                  <c:v>0.43739914392349066</c:v>
                </c:pt>
                <c:pt idx="1123" formatCode="0.00">
                  <c:v>0.43623688873625005</c:v>
                </c:pt>
                <c:pt idx="1124" formatCode="0.00">
                  <c:v>0.43638271429519604</c:v>
                </c:pt>
                <c:pt idx="1125" formatCode="0.00">
                  <c:v>0.43648535031902164</c:v>
                </c:pt>
                <c:pt idx="1126" formatCode="0.00">
                  <c:v>0.43210874957561068</c:v>
                </c:pt>
                <c:pt idx="1127" formatCode="0.00">
                  <c:v>0.43224341891970647</c:v>
                </c:pt>
                <c:pt idx="1128" formatCode="0.00">
                  <c:v>0.43285433397895628</c:v>
                </c:pt>
                <c:pt idx="1129" formatCode="0.00">
                  <c:v>0.43073296051127835</c:v>
                </c:pt>
                <c:pt idx="1130" formatCode="0.00">
                  <c:v>0.42842027602973304</c:v>
                </c:pt>
                <c:pt idx="1131" formatCode="0.00">
                  <c:v>0.42603539889764558</c:v>
                </c:pt>
                <c:pt idx="1132" formatCode="0.00">
                  <c:v>0.4267631444777093</c:v>
                </c:pt>
                <c:pt idx="1133" formatCode="0.00">
                  <c:v>0.42681131487336466</c:v>
                </c:pt>
                <c:pt idx="1134" formatCode="0.00">
                  <c:v>0.42692666699971177</c:v>
                </c:pt>
                <c:pt idx="1135" formatCode="0.00">
                  <c:v>0.42692406460009225</c:v>
                </c:pt>
                <c:pt idx="1136" formatCode="0.00">
                  <c:v>0.42610944577151383</c:v>
                </c:pt>
                <c:pt idx="1137" formatCode="0.00">
                  <c:v>0.42788327758542194</c:v>
                </c:pt>
                <c:pt idx="1138" formatCode="0.00">
                  <c:v>0.42741791340738783</c:v>
                </c:pt>
                <c:pt idx="1139" formatCode="0.00">
                  <c:v>0.4252490098697902</c:v>
                </c:pt>
                <c:pt idx="1140" formatCode="0.00">
                  <c:v>0.4274907637410813</c:v>
                </c:pt>
                <c:pt idx="1141" formatCode="0.00">
                  <c:v>0.43046353848494373</c:v>
                </c:pt>
                <c:pt idx="1142" formatCode="0.00">
                  <c:v>0.4303928008559002</c:v>
                </c:pt>
                <c:pt idx="1143" formatCode="0.00">
                  <c:v>0.43006267412472399</c:v>
                </c:pt>
                <c:pt idx="1144" formatCode="0.00">
                  <c:v>0.42883844372832941</c:v>
                </c:pt>
                <c:pt idx="1145" formatCode="0.00">
                  <c:v>0.42858249177143171</c:v>
                </c:pt>
                <c:pt idx="1146" formatCode="0.00">
                  <c:v>0.42745451971118675</c:v>
                </c:pt>
                <c:pt idx="1147" formatCode="0.00">
                  <c:v>0.42662891970582845</c:v>
                </c:pt>
                <c:pt idx="1148" formatCode="0.00">
                  <c:v>0.42429910294780759</c:v>
                </c:pt>
                <c:pt idx="1149" formatCode="0.00">
                  <c:v>0.41890735335287643</c:v>
                </c:pt>
                <c:pt idx="1150" formatCode="0.00">
                  <c:v>0.41960940393223212</c:v>
                </c:pt>
                <c:pt idx="1151" formatCode="0.00">
                  <c:v>0.41663071110103322</c:v>
                </c:pt>
                <c:pt idx="1152" formatCode="0.00">
                  <c:v>0.41655563065130102</c:v>
                </c:pt>
                <c:pt idx="1153" formatCode="0.00">
                  <c:v>0.4164689297112259</c:v>
                </c:pt>
                <c:pt idx="1154" formatCode="0.00">
                  <c:v>0.41683673718749958</c:v>
                </c:pt>
                <c:pt idx="1155" formatCode="0.00">
                  <c:v>0.41645727359981499</c:v>
                </c:pt>
                <c:pt idx="1156" formatCode="0.00">
                  <c:v>0.41806379769014818</c:v>
                </c:pt>
                <c:pt idx="1157" formatCode="0.00">
                  <c:v>0.41827911617279867</c:v>
                </c:pt>
                <c:pt idx="1158" formatCode="0.00">
                  <c:v>0.41826844312046302</c:v>
                </c:pt>
                <c:pt idx="1159" formatCode="0.00">
                  <c:v>0.41839601944502763</c:v>
                </c:pt>
                <c:pt idx="1160" formatCode="0.00">
                  <c:v>0.418399296691912</c:v>
                </c:pt>
                <c:pt idx="1161" formatCode="0.00">
                  <c:v>0.41794561206708603</c:v>
                </c:pt>
                <c:pt idx="1162" formatCode="0.00">
                  <c:v>0.41857504276875757</c:v>
                </c:pt>
                <c:pt idx="1163" formatCode="0.00">
                  <c:v>0.4155290352168205</c:v>
                </c:pt>
                <c:pt idx="1164" formatCode="0.00">
                  <c:v>0.41463084332336653</c:v>
                </c:pt>
                <c:pt idx="1165" formatCode="0.00">
                  <c:v>0.4143976690506615</c:v>
                </c:pt>
                <c:pt idx="1166" formatCode="0.00">
                  <c:v>0.41098376235939998</c:v>
                </c:pt>
                <c:pt idx="1167" formatCode="0.00">
                  <c:v>0.41093900463411193</c:v>
                </c:pt>
                <c:pt idx="1168" formatCode="0.00">
                  <c:v>0.41307724910515109</c:v>
                </c:pt>
                <c:pt idx="1169" formatCode="0.00">
                  <c:v>0.40794023098648446</c:v>
                </c:pt>
                <c:pt idx="1170" formatCode="0.00">
                  <c:v>0.40921110488454226</c:v>
                </c:pt>
                <c:pt idx="1171" formatCode="0.00">
                  <c:v>0.40857917158835194</c:v>
                </c:pt>
                <c:pt idx="1172" formatCode="0.00">
                  <c:v>0.40788111566712038</c:v>
                </c:pt>
                <c:pt idx="1173" formatCode="0.00">
                  <c:v>0.40778574444314886</c:v>
                </c:pt>
                <c:pt idx="1174" formatCode="0.00">
                  <c:v>0.40793284126620366</c:v>
                </c:pt>
                <c:pt idx="1175" formatCode="0.00">
                  <c:v>0.40741621883162688</c:v>
                </c:pt>
                <c:pt idx="1176" formatCode="0.00">
                  <c:v>0.40752218720544875</c:v>
                </c:pt>
                <c:pt idx="1177" formatCode="0.00">
                  <c:v>0.40826589603729047</c:v>
                </c:pt>
                <c:pt idx="1178" formatCode="0.00">
                  <c:v>0.40856202408627584</c:v>
                </c:pt>
                <c:pt idx="1179" formatCode="0.00">
                  <c:v>0.40855592979742189</c:v>
                </c:pt>
                <c:pt idx="1180" formatCode="0.00">
                  <c:v>0.40918241300905811</c:v>
                </c:pt>
                <c:pt idx="1181" formatCode="0.00">
                  <c:v>0.40830840738050211</c:v>
                </c:pt>
                <c:pt idx="1182" formatCode="0.00">
                  <c:v>0.40926563772610153</c:v>
                </c:pt>
                <c:pt idx="1183" formatCode="0.00">
                  <c:v>0.41051944284275749</c:v>
                </c:pt>
                <c:pt idx="1184" formatCode="0.00">
                  <c:v>0.41051234153516142</c:v>
                </c:pt>
                <c:pt idx="1185" formatCode="0.00">
                  <c:v>0.40861436677080071</c:v>
                </c:pt>
                <c:pt idx="1186" formatCode="0.00">
                  <c:v>0.41010467007145274</c:v>
                </c:pt>
                <c:pt idx="1187" formatCode="0.00">
                  <c:v>0.41001895269643668</c:v>
                </c:pt>
                <c:pt idx="1188" formatCode="0.00">
                  <c:v>0.40878420368448359</c:v>
                </c:pt>
                <c:pt idx="1189" formatCode="0.00">
                  <c:v>0.40667784827796583</c:v>
                </c:pt>
                <c:pt idx="1190" formatCode="0.00">
                  <c:v>0.40671170054668093</c:v>
                </c:pt>
                <c:pt idx="1191" formatCode="0.00">
                  <c:v>0.40555953691330004</c:v>
                </c:pt>
                <c:pt idx="1192" formatCode="0.00">
                  <c:v>0.40088159582808858</c:v>
                </c:pt>
                <c:pt idx="1193" formatCode="0.00">
                  <c:v>0.40038044266228351</c:v>
                </c:pt>
                <c:pt idx="1194" formatCode="0.00">
                  <c:v>0.39903680535460129</c:v>
                </c:pt>
                <c:pt idx="1195" formatCode="0.00">
                  <c:v>0.39866003855615706</c:v>
                </c:pt>
                <c:pt idx="1196" formatCode="0.00">
                  <c:v>0.39651371274213876</c:v>
                </c:pt>
                <c:pt idx="1197" formatCode="0.00">
                  <c:v>0.39544949608725205</c:v>
                </c:pt>
                <c:pt idx="1198" formatCode="0.00">
                  <c:v>0.39641868328111324</c:v>
                </c:pt>
                <c:pt idx="1199" formatCode="0.00">
                  <c:v>0.3961871479143938</c:v>
                </c:pt>
                <c:pt idx="1200" formatCode="0.00">
                  <c:v>0.39627762378145825</c:v>
                </c:pt>
                <c:pt idx="1201" formatCode="0.00">
                  <c:v>0.39631150280331467</c:v>
                </c:pt>
                <c:pt idx="1202" formatCode="0.00">
                  <c:v>0.39083911696921358</c:v>
                </c:pt>
                <c:pt idx="1203" formatCode="0.00">
                  <c:v>0.39212019747097349</c:v>
                </c:pt>
                <c:pt idx="1204" formatCode="0.00">
                  <c:v>0.39160695619761809</c:v>
                </c:pt>
                <c:pt idx="1205" formatCode="0.00">
                  <c:v>0.39235074125857661</c:v>
                </c:pt>
                <c:pt idx="1206" formatCode="0.00">
                  <c:v>0.3914155612343781</c:v>
                </c:pt>
                <c:pt idx="1207" formatCode="0.00">
                  <c:v>0.39286567342280831</c:v>
                </c:pt>
                <c:pt idx="1208" formatCode="0.00">
                  <c:v>0.3926653308705238</c:v>
                </c:pt>
                <c:pt idx="1209" formatCode="0.00">
                  <c:v>0.3925776929721837</c:v>
                </c:pt>
                <c:pt idx="1210" formatCode="0.00">
                  <c:v>0.38766012131797051</c:v>
                </c:pt>
                <c:pt idx="1211" formatCode="0.00">
                  <c:v>0.38857686809568698</c:v>
                </c:pt>
                <c:pt idx="1212" formatCode="0.00">
                  <c:v>0.3883155869033818</c:v>
                </c:pt>
                <c:pt idx="1213" formatCode="0.00">
                  <c:v>0.38803910985917472</c:v>
                </c:pt>
                <c:pt idx="1214" formatCode="0.00">
                  <c:v>0.38937640524353501</c:v>
                </c:pt>
                <c:pt idx="1215" formatCode="0.00">
                  <c:v>0.39274037612781415</c:v>
                </c:pt>
                <c:pt idx="1216" formatCode="0.00">
                  <c:v>0.39291378221141376</c:v>
                </c:pt>
                <c:pt idx="1217" formatCode="0.00">
                  <c:v>0.39576587005349406</c:v>
                </c:pt>
                <c:pt idx="1218" formatCode="0.00">
                  <c:v>0.39598064520590903</c:v>
                </c:pt>
                <c:pt idx="1219" formatCode="0.00">
                  <c:v>0.39937565931321134</c:v>
                </c:pt>
                <c:pt idx="1220" formatCode="0.00">
                  <c:v>0.39591201786956814</c:v>
                </c:pt>
                <c:pt idx="1221" formatCode="0.00">
                  <c:v>0.39567474801315494</c:v>
                </c:pt>
                <c:pt idx="1222" formatCode="0.00">
                  <c:v>0.39464729881831107</c:v>
                </c:pt>
                <c:pt idx="1223" formatCode="0.00">
                  <c:v>0.39466054233237824</c:v>
                </c:pt>
                <c:pt idx="1224" formatCode="0.00">
                  <c:v>0.39337267545224158</c:v>
                </c:pt>
                <c:pt idx="1225" formatCode="0.00">
                  <c:v>0.38812219659955233</c:v>
                </c:pt>
                <c:pt idx="1226" formatCode="0.00">
                  <c:v>0.38805491604438996</c:v>
                </c:pt>
                <c:pt idx="1227" formatCode="0.00">
                  <c:v>0.38849318543341488</c:v>
                </c:pt>
                <c:pt idx="1228" formatCode="0.00">
                  <c:v>0.39028233791394989</c:v>
                </c:pt>
                <c:pt idx="1229" formatCode="0.00">
                  <c:v>0.39023550776558186</c:v>
                </c:pt>
                <c:pt idx="1230" formatCode="0.00">
                  <c:v>0.38998665860319282</c:v>
                </c:pt>
                <c:pt idx="1231" formatCode="0.00">
                  <c:v>0.39031575852447398</c:v>
                </c:pt>
                <c:pt idx="1232" formatCode="0.00">
                  <c:v>0.39166100276718546</c:v>
                </c:pt>
                <c:pt idx="1233" formatCode="0.00">
                  <c:v>0.39143242459329042</c:v>
                </c:pt>
                <c:pt idx="1234" formatCode="0.00">
                  <c:v>0.39114007077914886</c:v>
                </c:pt>
                <c:pt idx="1235" formatCode="0.00">
                  <c:v>0.3877436074716854</c:v>
                </c:pt>
                <c:pt idx="1236" formatCode="0.00">
                  <c:v>0.38771024913010904</c:v>
                </c:pt>
                <c:pt idx="1237" formatCode="0.00">
                  <c:v>0.39286259944076807</c:v>
                </c:pt>
                <c:pt idx="1238" formatCode="0.00">
                  <c:v>0.39290847235430326</c:v>
                </c:pt>
                <c:pt idx="1239" formatCode="0.00">
                  <c:v>0.39280914416952845</c:v>
                </c:pt>
                <c:pt idx="1240" formatCode="0.00">
                  <c:v>0.39265790316583732</c:v>
                </c:pt>
                <c:pt idx="1241" formatCode="0.00">
                  <c:v>0.39349620391667223</c:v>
                </c:pt>
                <c:pt idx="1242" formatCode="0.00">
                  <c:v>0.39355954518013192</c:v>
                </c:pt>
                <c:pt idx="1243" formatCode="0.00">
                  <c:v>0.39358076891941307</c:v>
                </c:pt>
                <c:pt idx="1244" formatCode="0.00">
                  <c:v>0.39029069165381758</c:v>
                </c:pt>
                <c:pt idx="1245" formatCode="0.00">
                  <c:v>0.38970870524472728</c:v>
                </c:pt>
                <c:pt idx="1246" formatCode="0.00">
                  <c:v>0.38979435883795316</c:v>
                </c:pt>
                <c:pt idx="1247" formatCode="0.00">
                  <c:v>0.38821566613106179</c:v>
                </c:pt>
                <c:pt idx="1248" formatCode="0.00">
                  <c:v>0.382392792581709</c:v>
                </c:pt>
                <c:pt idx="1249" formatCode="0.00">
                  <c:v>0.37687075246772611</c:v>
                </c:pt>
                <c:pt idx="1250" formatCode="0.00">
                  <c:v>0.37674927577195638</c:v>
                </c:pt>
                <c:pt idx="1251" formatCode="0.00">
                  <c:v>0.37998349124102954</c:v>
                </c:pt>
                <c:pt idx="1252" formatCode="0.00">
                  <c:v>0.37989565068173997</c:v>
                </c:pt>
                <c:pt idx="1253" formatCode="0.00">
                  <c:v>0.37998310930161827</c:v>
                </c:pt>
                <c:pt idx="1254" formatCode="0.00">
                  <c:v>0.3794815618208624</c:v>
                </c:pt>
                <c:pt idx="1255" formatCode="0.00">
                  <c:v>0.38011278950951999</c:v>
                </c:pt>
                <c:pt idx="1256" formatCode="0.00">
                  <c:v>0.37235705978948208</c:v>
                </c:pt>
                <c:pt idx="1257" formatCode="0.00">
                  <c:v>0.3729954779516868</c:v>
                </c:pt>
                <c:pt idx="1258" formatCode="0.00">
                  <c:v>0.37163490087887047</c:v>
                </c:pt>
                <c:pt idx="1259" formatCode="0.00">
                  <c:v>0.36908161993840993</c:v>
                </c:pt>
                <c:pt idx="1260" formatCode="0.00">
                  <c:v>0.36871555947307322</c:v>
                </c:pt>
                <c:pt idx="1261" formatCode="0.00">
                  <c:v>0.36810602010069471</c:v>
                </c:pt>
                <c:pt idx="1262" formatCode="0.00">
                  <c:v>0.36665725178095221</c:v>
                </c:pt>
                <c:pt idx="1263" formatCode="0.00">
                  <c:v>0.36596400824570346</c:v>
                </c:pt>
                <c:pt idx="1264" formatCode="0.00">
                  <c:v>0.36761471459791567</c:v>
                </c:pt>
                <c:pt idx="1265" formatCode="0.00">
                  <c:v>0.36533137342468119</c:v>
                </c:pt>
                <c:pt idx="1266" formatCode="0.00">
                  <c:v>0.37007481328478514</c:v>
                </c:pt>
                <c:pt idx="1267" formatCode="0.00">
                  <c:v>0.36967139323858372</c:v>
                </c:pt>
                <c:pt idx="1268" formatCode="0.00">
                  <c:v>0.37219841156868405</c:v>
                </c:pt>
                <c:pt idx="1269" formatCode="0.00">
                  <c:v>0.37398338218377691</c:v>
                </c:pt>
                <c:pt idx="1270" formatCode="0.00">
                  <c:v>0.37535801269368169</c:v>
                </c:pt>
                <c:pt idx="1271" formatCode="0.00">
                  <c:v>0.37530325299124362</c:v>
                </c:pt>
                <c:pt idx="1272" formatCode="0.00">
                  <c:v>0.37633733077393949</c:v>
                </c:pt>
                <c:pt idx="1273" formatCode="0.00">
                  <c:v>0.37690388789071322</c:v>
                </c:pt>
                <c:pt idx="1274" formatCode="0.00">
                  <c:v>0.37412410596789719</c:v>
                </c:pt>
                <c:pt idx="1275" formatCode="0.00">
                  <c:v>0.37432604566442318</c:v>
                </c:pt>
                <c:pt idx="1276" formatCode="0.00">
                  <c:v>0.37495685769330317</c:v>
                </c:pt>
                <c:pt idx="1277" formatCode="0.00">
                  <c:v>0.37439804824732686</c:v>
                </c:pt>
                <c:pt idx="1278" formatCode="0.00">
                  <c:v>0.37411205500855788</c:v>
                </c:pt>
                <c:pt idx="1279" formatCode="0.00">
                  <c:v>0.37456124284847331</c:v>
                </c:pt>
                <c:pt idx="1280" formatCode="0.00">
                  <c:v>0.37425348870410247</c:v>
                </c:pt>
                <c:pt idx="1281" formatCode="0.00">
                  <c:v>0.37647185741164146</c:v>
                </c:pt>
                <c:pt idx="1282" formatCode="0.00">
                  <c:v>0.37543662297147612</c:v>
                </c:pt>
                <c:pt idx="1283" formatCode="0.00">
                  <c:v>0.37479603527371752</c:v>
                </c:pt>
                <c:pt idx="1284" formatCode="0.00">
                  <c:v>0.37461023813710859</c:v>
                </c:pt>
                <c:pt idx="1285" formatCode="0.00">
                  <c:v>0.36918761253186538</c:v>
                </c:pt>
                <c:pt idx="1286" formatCode="0.00">
                  <c:v>0.36605622733167925</c:v>
                </c:pt>
                <c:pt idx="1287" formatCode="0.00">
                  <c:v>0.36007340558534223</c:v>
                </c:pt>
                <c:pt idx="1288" formatCode="0.00">
                  <c:v>0.35994457814584957</c:v>
                </c:pt>
                <c:pt idx="1289" formatCode="0.00">
                  <c:v>0.36229222607629691</c:v>
                </c:pt>
                <c:pt idx="1290" formatCode="0.00">
                  <c:v>0.36237880374930875</c:v>
                </c:pt>
                <c:pt idx="1291" formatCode="0.00">
                  <c:v>0.36194688472127218</c:v>
                </c:pt>
                <c:pt idx="1292" formatCode="0.00">
                  <c:v>0.36194359545561633</c:v>
                </c:pt>
                <c:pt idx="1293" formatCode="0.00">
                  <c:v>0.36134616951842291</c:v>
                </c:pt>
                <c:pt idx="1294" formatCode="0.00">
                  <c:v>0.36091972192061994</c:v>
                </c:pt>
                <c:pt idx="1295" formatCode="0.00">
                  <c:v>0.3612136592589234</c:v>
                </c:pt>
                <c:pt idx="1296" formatCode="0.00">
                  <c:v>0.36057501035343215</c:v>
                </c:pt>
                <c:pt idx="1297" formatCode="0.00">
                  <c:v>0.36892290249983767</c:v>
                </c:pt>
                <c:pt idx="1298" formatCode="0.00">
                  <c:v>0.36619421398474883</c:v>
                </c:pt>
                <c:pt idx="1299" formatCode="0.00">
                  <c:v>0.3665260238252338</c:v>
                </c:pt>
                <c:pt idx="1300" formatCode="0.00">
                  <c:v>0.36692983339162277</c:v>
                </c:pt>
                <c:pt idx="1301" formatCode="0.00">
                  <c:v>0.36648963970962217</c:v>
                </c:pt>
                <c:pt idx="1302" formatCode="0.00">
                  <c:v>0.36656720125380432</c:v>
                </c:pt>
                <c:pt idx="1303" formatCode="0.00">
                  <c:v>0.3663914816165072</c:v>
                </c:pt>
                <c:pt idx="1304" formatCode="0.00">
                  <c:v>0.36624686538441714</c:v>
                </c:pt>
                <c:pt idx="1305" formatCode="0.00">
                  <c:v>0.36594545520881394</c:v>
                </c:pt>
                <c:pt idx="1306" formatCode="0.00">
                  <c:v>0.36582424761797344</c:v>
                </c:pt>
                <c:pt idx="1307" formatCode="0.00">
                  <c:v>0.36567954044054202</c:v>
                </c:pt>
                <c:pt idx="1308" formatCode="0.00">
                  <c:v>0.36595963387081659</c:v>
                </c:pt>
                <c:pt idx="1309" formatCode="0.00">
                  <c:v>0.36550504861605226</c:v>
                </c:pt>
                <c:pt idx="1310" formatCode="0.00">
                  <c:v>0.36702070491307154</c:v>
                </c:pt>
                <c:pt idx="1311" formatCode="0.00">
                  <c:v>0.36466880714692085</c:v>
                </c:pt>
                <c:pt idx="1312" formatCode="0.00">
                  <c:v>0.36431688177189159</c:v>
                </c:pt>
                <c:pt idx="1313" formatCode="0.00">
                  <c:v>0.36420627489221974</c:v>
                </c:pt>
                <c:pt idx="1314" formatCode="0.00">
                  <c:v>0.36526484437365453</c:v>
                </c:pt>
                <c:pt idx="1315" formatCode="0.00">
                  <c:v>0.36442593632900899</c:v>
                </c:pt>
                <c:pt idx="1316" formatCode="0.00">
                  <c:v>0.36506101852306877</c:v>
                </c:pt>
                <c:pt idx="1317" formatCode="0.00">
                  <c:v>0.3652898094031175</c:v>
                </c:pt>
                <c:pt idx="1318" formatCode="0.00">
                  <c:v>0.3621115837256747</c:v>
                </c:pt>
                <c:pt idx="1319" formatCode="0.00">
                  <c:v>0.36152522192747394</c:v>
                </c:pt>
                <c:pt idx="1320" formatCode="0.00">
                  <c:v>0.36342438037657521</c:v>
                </c:pt>
                <c:pt idx="1321" formatCode="0.00">
                  <c:v>0.36421421723719044</c:v>
                </c:pt>
                <c:pt idx="1322" formatCode="0.00">
                  <c:v>0.36502105402904711</c:v>
                </c:pt>
                <c:pt idx="1323" formatCode="0.00">
                  <c:v>0.36545585540735537</c:v>
                </c:pt>
                <c:pt idx="1324" formatCode="0.00">
                  <c:v>0.36544655617114402</c:v>
                </c:pt>
                <c:pt idx="1325" formatCode="0.00">
                  <c:v>0.36086986952371658</c:v>
                </c:pt>
                <c:pt idx="1326" formatCode="0.00">
                  <c:v>0.35963956202575814</c:v>
                </c:pt>
                <c:pt idx="1327" formatCode="0.00">
                  <c:v>0.35964980768502225</c:v>
                </c:pt>
                <c:pt idx="1328" formatCode="0.00">
                  <c:v>0.35934964692391203</c:v>
                </c:pt>
                <c:pt idx="1329" formatCode="0.00">
                  <c:v>0.36018668461777859</c:v>
                </c:pt>
                <c:pt idx="1330" formatCode="0.00">
                  <c:v>0.36025378329969138</c:v>
                </c:pt>
                <c:pt idx="1331" formatCode="0.00">
                  <c:v>0.36039936538110051</c:v>
                </c:pt>
                <c:pt idx="1332" formatCode="0.00">
                  <c:v>0.3621463818996889</c:v>
                </c:pt>
                <c:pt idx="1333" formatCode="0.00">
                  <c:v>0.36269402382991711</c:v>
                </c:pt>
                <c:pt idx="1334" formatCode="0.00">
                  <c:v>0.36249992105449547</c:v>
                </c:pt>
                <c:pt idx="1335" formatCode="0.00">
                  <c:v>0.36202883470610969</c:v>
                </c:pt>
                <c:pt idx="1336" formatCode="0.00">
                  <c:v>0.3608830834831066</c:v>
                </c:pt>
                <c:pt idx="1337" formatCode="0.00">
                  <c:v>0.360508828599372</c:v>
                </c:pt>
                <c:pt idx="1338" formatCode="0.00">
                  <c:v>0.35990840868083745</c:v>
                </c:pt>
                <c:pt idx="1339" formatCode="0.00">
                  <c:v>0.35983339874460313</c:v>
                </c:pt>
                <c:pt idx="1340" formatCode="0.00">
                  <c:v>0.36137477176996835</c:v>
                </c:pt>
                <c:pt idx="1341" formatCode="0.00">
                  <c:v>0.36154143064357075</c:v>
                </c:pt>
                <c:pt idx="1342" formatCode="0.00">
                  <c:v>0.36223911655554175</c:v>
                </c:pt>
                <c:pt idx="1343" formatCode="0.00">
                  <c:v>0.36245247207687986</c:v>
                </c:pt>
                <c:pt idx="1344" formatCode="0.00">
                  <c:v>0.36325294123479218</c:v>
                </c:pt>
                <c:pt idx="1345" formatCode="0.00">
                  <c:v>0.36133568643253167</c:v>
                </c:pt>
                <c:pt idx="1346" formatCode="0.00">
                  <c:v>0.36132251108963415</c:v>
                </c:pt>
                <c:pt idx="1347" formatCode="0.00">
                  <c:v>0.36132767213626915</c:v>
                </c:pt>
                <c:pt idx="1348" formatCode="0.00">
                  <c:v>0.36221914099269931</c:v>
                </c:pt>
                <c:pt idx="1349" formatCode="0.00">
                  <c:v>0.36219542595936538</c:v>
                </c:pt>
                <c:pt idx="1350" formatCode="0.00">
                  <c:v>0.36246818988681623</c:v>
                </c:pt>
                <c:pt idx="1351" formatCode="0.00">
                  <c:v>0.36264884767868383</c:v>
                </c:pt>
                <c:pt idx="1352" formatCode="0.00">
                  <c:v>0.36203282551330429</c:v>
                </c:pt>
                <c:pt idx="1353" formatCode="0.00">
                  <c:v>0.36067590953482942</c:v>
                </c:pt>
                <c:pt idx="1354" formatCode="0.00">
                  <c:v>0.35700704732673683</c:v>
                </c:pt>
                <c:pt idx="1355" formatCode="0.00">
                  <c:v>0.35555949227816752</c:v>
                </c:pt>
                <c:pt idx="1356" formatCode="0.00">
                  <c:v>0.35491763406363186</c:v>
                </c:pt>
                <c:pt idx="1357" formatCode="0.00">
                  <c:v>0.3561554603500105</c:v>
                </c:pt>
                <c:pt idx="1358" formatCode="0.00">
                  <c:v>0.35526504112907165</c:v>
                </c:pt>
                <c:pt idx="1359" formatCode="0.00">
                  <c:v>0.35515261160938394</c:v>
                </c:pt>
                <c:pt idx="1360" formatCode="0.00">
                  <c:v>0.35534059935755286</c:v>
                </c:pt>
                <c:pt idx="1361" formatCode="0.00">
                  <c:v>0.35589392055268781</c:v>
                </c:pt>
                <c:pt idx="1362" formatCode="0.00">
                  <c:v>0.35499803738008456</c:v>
                </c:pt>
                <c:pt idx="1363" formatCode="0.00">
                  <c:v>0.35487221615249076</c:v>
                </c:pt>
                <c:pt idx="1364" formatCode="0.00">
                  <c:v>0.35574107683021067</c:v>
                </c:pt>
                <c:pt idx="1365" formatCode="0.00">
                  <c:v>0.35622252291550682</c:v>
                </c:pt>
                <c:pt idx="1366" formatCode="0.00">
                  <c:v>0.35548887965186737</c:v>
                </c:pt>
                <c:pt idx="1367" formatCode="0.00">
                  <c:v>0.35644069186611982</c:v>
                </c:pt>
                <c:pt idx="1368" formatCode="0.00">
                  <c:v>0.35615418398034315</c:v>
                </c:pt>
                <c:pt idx="1369" formatCode="0.00">
                  <c:v>0.35679889878096471</c:v>
                </c:pt>
                <c:pt idx="1370" formatCode="0.00">
                  <c:v>0.35736449814183419</c:v>
                </c:pt>
                <c:pt idx="1371" formatCode="0.00">
                  <c:v>0.35699844859641666</c:v>
                </c:pt>
                <c:pt idx="1372" formatCode="0.00">
                  <c:v>0.35714833182923655</c:v>
                </c:pt>
                <c:pt idx="1373" formatCode="0.00">
                  <c:v>0.35708598031926053</c:v>
                </c:pt>
                <c:pt idx="1374" formatCode="0.00">
                  <c:v>0.35713466098655078</c:v>
                </c:pt>
                <c:pt idx="1375" formatCode="0.00">
                  <c:v>0.35722213561766691</c:v>
                </c:pt>
                <c:pt idx="1376" formatCode="0.00">
                  <c:v>0.35612898786777669</c:v>
                </c:pt>
                <c:pt idx="1377" formatCode="0.00">
                  <c:v>0.35604500320550719</c:v>
                </c:pt>
                <c:pt idx="1378" formatCode="0.00">
                  <c:v>0.35601804229598305</c:v>
                </c:pt>
                <c:pt idx="1379" formatCode="0.00">
                  <c:v>0.35597980163481235</c:v>
                </c:pt>
                <c:pt idx="1380" formatCode="0.00">
                  <c:v>0.35642249966106221</c:v>
                </c:pt>
                <c:pt idx="1381" formatCode="0.00">
                  <c:v>0.35575513492580046</c:v>
                </c:pt>
                <c:pt idx="1382" formatCode="0.00">
                  <c:v>0.3553056594042478</c:v>
                </c:pt>
                <c:pt idx="1383" formatCode="0.00">
                  <c:v>0.35525379080241593</c:v>
                </c:pt>
                <c:pt idx="1384" formatCode="0.00">
                  <c:v>0.35469385469286513</c:v>
                </c:pt>
                <c:pt idx="1385" formatCode="0.00">
                  <c:v>0.35419969432712911</c:v>
                </c:pt>
                <c:pt idx="1386" formatCode="0.00">
                  <c:v>0.35407194088807264</c:v>
                </c:pt>
                <c:pt idx="1387" formatCode="0.00">
                  <c:v>0.35714722569854201</c:v>
                </c:pt>
                <c:pt idx="1388" formatCode="0.00">
                  <c:v>0.35802649751256416</c:v>
                </c:pt>
                <c:pt idx="1389" formatCode="0.00">
                  <c:v>0.35802375922810853</c:v>
                </c:pt>
                <c:pt idx="1390" formatCode="0.00">
                  <c:v>0.3558962357874898</c:v>
                </c:pt>
                <c:pt idx="1391" formatCode="0.00">
                  <c:v>0.35559284768045973</c:v>
                </c:pt>
                <c:pt idx="1392" formatCode="0.00">
                  <c:v>0.35576416952598833</c:v>
                </c:pt>
                <c:pt idx="1393" formatCode="0.00">
                  <c:v>0.35193782038134974</c:v>
                </c:pt>
                <c:pt idx="1394" formatCode="0.00">
                  <c:v>0.34712280143350122</c:v>
                </c:pt>
                <c:pt idx="1395" formatCode="0.00">
                  <c:v>0.3471337120469733</c:v>
                </c:pt>
                <c:pt idx="1396" formatCode="0.00">
                  <c:v>0.34740736672171152</c:v>
                </c:pt>
                <c:pt idx="1397" formatCode="0.00">
                  <c:v>0.34777846520821015</c:v>
                </c:pt>
                <c:pt idx="1398" formatCode="0.00">
                  <c:v>0.34805003334124196</c:v>
                </c:pt>
                <c:pt idx="1399" formatCode="0.00">
                  <c:v>0.34856457896124365</c:v>
                </c:pt>
                <c:pt idx="1400" formatCode="0.00">
                  <c:v>0.34822859843937087</c:v>
                </c:pt>
                <c:pt idx="1401" formatCode="0.00">
                  <c:v>0.34820050223404436</c:v>
                </c:pt>
                <c:pt idx="1402" formatCode="0.00">
                  <c:v>0.34846364306465571</c:v>
                </c:pt>
                <c:pt idx="1403" formatCode="0.00">
                  <c:v>0.3460102445928937</c:v>
                </c:pt>
                <c:pt idx="1404" formatCode="0.00">
                  <c:v>0.3487814936271274</c:v>
                </c:pt>
                <c:pt idx="1405" formatCode="0.00">
                  <c:v>0.34883233131074232</c:v>
                </c:pt>
                <c:pt idx="1406" formatCode="0.00">
                  <c:v>0.34828132994457373</c:v>
                </c:pt>
                <c:pt idx="1407" formatCode="0.00">
                  <c:v>0.34628817352043972</c:v>
                </c:pt>
                <c:pt idx="1408" formatCode="0.00">
                  <c:v>0.34721326803923275</c:v>
                </c:pt>
                <c:pt idx="1409" formatCode="0.00">
                  <c:v>0.34568006962101644</c:v>
                </c:pt>
                <c:pt idx="1410" formatCode="0.00">
                  <c:v>0.34544365740797389</c:v>
                </c:pt>
                <c:pt idx="1411" formatCode="0.00">
                  <c:v>0.3461824051053774</c:v>
                </c:pt>
                <c:pt idx="1412" formatCode="0.00">
                  <c:v>0.34623273652399078</c:v>
                </c:pt>
                <c:pt idx="1413" formatCode="0.00">
                  <c:v>0.34770924219626481</c:v>
                </c:pt>
                <c:pt idx="1414" formatCode="0.00">
                  <c:v>0.34796548419901968</c:v>
                </c:pt>
                <c:pt idx="1415" formatCode="0.00">
                  <c:v>0.34709825248441772</c:v>
                </c:pt>
                <c:pt idx="1416" formatCode="0.00">
                  <c:v>0.34706200568731194</c:v>
                </c:pt>
                <c:pt idx="1417" formatCode="0.00">
                  <c:v>0.34866462522364627</c:v>
                </c:pt>
                <c:pt idx="1418" formatCode="0.00">
                  <c:v>0.3486578183287754</c:v>
                </c:pt>
                <c:pt idx="1419" formatCode="0.00">
                  <c:v>0.34758525107586008</c:v>
                </c:pt>
                <c:pt idx="1420" formatCode="0.00">
                  <c:v>0.34790383434821265</c:v>
                </c:pt>
                <c:pt idx="1421" formatCode="0.00">
                  <c:v>0.3454809419631662</c:v>
                </c:pt>
                <c:pt idx="1422" formatCode="0.00">
                  <c:v>0.34465683650698598</c:v>
                </c:pt>
                <c:pt idx="1423" formatCode="0.00">
                  <c:v>0.34183230842872098</c:v>
                </c:pt>
                <c:pt idx="1424" formatCode="0.00">
                  <c:v>0.34142139874920757</c:v>
                </c:pt>
                <c:pt idx="1425" formatCode="0.00">
                  <c:v>0.34143349603259887</c:v>
                </c:pt>
                <c:pt idx="1426" formatCode="0.00">
                  <c:v>0.34234204931653228</c:v>
                </c:pt>
                <c:pt idx="1427" formatCode="0.00">
                  <c:v>0.34397237739018444</c:v>
                </c:pt>
                <c:pt idx="1428" formatCode="0.00">
                  <c:v>0.34570809219462079</c:v>
                </c:pt>
                <c:pt idx="1429" formatCode="0.00">
                  <c:v>0.34483784053432087</c:v>
                </c:pt>
                <c:pt idx="1430" formatCode="0.00">
                  <c:v>0.34434770233420986</c:v>
                </c:pt>
                <c:pt idx="1431" formatCode="0.00">
                  <c:v>0.34501102624819585</c:v>
                </c:pt>
                <c:pt idx="1432" formatCode="0.00">
                  <c:v>0.34530175165771843</c:v>
                </c:pt>
                <c:pt idx="1433" formatCode="0.00">
                  <c:v>0.34458578845762133</c:v>
                </c:pt>
                <c:pt idx="1434" formatCode="0.00">
                  <c:v>0.34465718179525584</c:v>
                </c:pt>
                <c:pt idx="1435" formatCode="0.00">
                  <c:v>0.34489419831907553</c:v>
                </c:pt>
                <c:pt idx="1436" formatCode="0.00">
                  <c:v>0.3436205982657331</c:v>
                </c:pt>
                <c:pt idx="1437" formatCode="0.00">
                  <c:v>0.3436301434962975</c:v>
                </c:pt>
                <c:pt idx="1438" formatCode="0.00">
                  <c:v>0.34369157484578944</c:v>
                </c:pt>
                <c:pt idx="1439" formatCode="0.00">
                  <c:v>0.34354771281546448</c:v>
                </c:pt>
                <c:pt idx="1440" formatCode="0.00">
                  <c:v>0.3436615164426452</c:v>
                </c:pt>
                <c:pt idx="1441" formatCode="0.00">
                  <c:v>0.34342067456841474</c:v>
                </c:pt>
                <c:pt idx="1442" formatCode="0.00">
                  <c:v>0.34351136280168959</c:v>
                </c:pt>
                <c:pt idx="1443" formatCode="0.00">
                  <c:v>0.34287344651576857</c:v>
                </c:pt>
                <c:pt idx="1444" formatCode="0.00">
                  <c:v>0.34251104100443469</c:v>
                </c:pt>
                <c:pt idx="1445" formatCode="0.00">
                  <c:v>0.3415099569702027</c:v>
                </c:pt>
                <c:pt idx="1446" formatCode="0.00">
                  <c:v>0.34137855008292828</c:v>
                </c:pt>
                <c:pt idx="1447" formatCode="0.00">
                  <c:v>0.34136545317617562</c:v>
                </c:pt>
                <c:pt idx="1448" formatCode="0.00">
                  <c:v>0.34137724280394433</c:v>
                </c:pt>
                <c:pt idx="1449" formatCode="0.00">
                  <c:v>0.34142910756504907</c:v>
                </c:pt>
                <c:pt idx="1450" formatCode="0.00">
                  <c:v>0.34182310285805018</c:v>
                </c:pt>
                <c:pt idx="1451" formatCode="0.00">
                  <c:v>0.34042558092674347</c:v>
                </c:pt>
                <c:pt idx="1452" formatCode="0.00">
                  <c:v>0.34033712002746314</c:v>
                </c:pt>
                <c:pt idx="1453" formatCode="0.00">
                  <c:v>0.34031660617227671</c:v>
                </c:pt>
                <c:pt idx="1454" formatCode="0.00">
                  <c:v>0.34135245658985919</c:v>
                </c:pt>
                <c:pt idx="1455" formatCode="0.00">
                  <c:v>0.3423679783210401</c:v>
                </c:pt>
                <c:pt idx="1456" formatCode="0.00">
                  <c:v>0.34045486968698457</c:v>
                </c:pt>
                <c:pt idx="1457" formatCode="0.00">
                  <c:v>0.34043540297308256</c:v>
                </c:pt>
                <c:pt idx="1458" formatCode="0.00">
                  <c:v>0.33973567367231383</c:v>
                </c:pt>
                <c:pt idx="1459" formatCode="0.00">
                  <c:v>0.33978433525793772</c:v>
                </c:pt>
                <c:pt idx="1460" formatCode="0.00">
                  <c:v>0.33984191190194668</c:v>
                </c:pt>
                <c:pt idx="1461" formatCode="0.00">
                  <c:v>0.3404076966475903</c:v>
                </c:pt>
                <c:pt idx="1462" formatCode="0.00">
                  <c:v>0.34340348953647981</c:v>
                </c:pt>
                <c:pt idx="1463" formatCode="0.00">
                  <c:v>0.34526225245387487</c:v>
                </c:pt>
                <c:pt idx="1464" formatCode="0.00">
                  <c:v>0.34330945964756315</c:v>
                </c:pt>
                <c:pt idx="1465" formatCode="0.00">
                  <c:v>0.34092027698395011</c:v>
                </c:pt>
                <c:pt idx="1466" formatCode="0.00">
                  <c:v>0.34084319956063602</c:v>
                </c:pt>
                <c:pt idx="1467" formatCode="0.00">
                  <c:v>0.33930375341769392</c:v>
                </c:pt>
                <c:pt idx="1468" formatCode="0.00">
                  <c:v>0.33813451737904598</c:v>
                </c:pt>
                <c:pt idx="1469" formatCode="0.00">
                  <c:v>0.33870251768323911</c:v>
                </c:pt>
                <c:pt idx="1470" formatCode="0.00">
                  <c:v>0.34081149971592728</c:v>
                </c:pt>
                <c:pt idx="1471" formatCode="0.00">
                  <c:v>0.34124174100525922</c:v>
                </c:pt>
                <c:pt idx="1472" formatCode="0.00">
                  <c:v>0.33864374002709446</c:v>
                </c:pt>
                <c:pt idx="1473" formatCode="0.00">
                  <c:v>0.33929665458372266</c:v>
                </c:pt>
                <c:pt idx="1474" formatCode="0.00">
                  <c:v>0.33901678498857279</c:v>
                </c:pt>
                <c:pt idx="1475" formatCode="0.00">
                  <c:v>0.3402324202613089</c:v>
                </c:pt>
                <c:pt idx="1476" formatCode="0.00">
                  <c:v>0.34035195858307371</c:v>
                </c:pt>
                <c:pt idx="1477" formatCode="0.00">
                  <c:v>0.34048608409477182</c:v>
                </c:pt>
                <c:pt idx="1478" formatCode="0.00">
                  <c:v>0.33996241495906221</c:v>
                </c:pt>
                <c:pt idx="1479" formatCode="0.00">
                  <c:v>0.33964605437366246</c:v>
                </c:pt>
                <c:pt idx="1480" formatCode="0.00">
                  <c:v>0.33912674144755611</c:v>
                </c:pt>
                <c:pt idx="1481" formatCode="0.00">
                  <c:v>0.33656173849570026</c:v>
                </c:pt>
                <c:pt idx="1482" formatCode="0.00">
                  <c:v>0.33643463607528451</c:v>
                </c:pt>
                <c:pt idx="1483" formatCode="0.00">
                  <c:v>0.33767712276527634</c:v>
                </c:pt>
                <c:pt idx="1484" formatCode="0.00">
                  <c:v>0.33665584739203791</c:v>
                </c:pt>
                <c:pt idx="1485" formatCode="0.00">
                  <c:v>0.33242488579475427</c:v>
                </c:pt>
                <c:pt idx="1486" formatCode="0.00">
                  <c:v>0.33327195882162242</c:v>
                </c:pt>
                <c:pt idx="1487" formatCode="0.00">
                  <c:v>0.33511469953579381</c:v>
                </c:pt>
                <c:pt idx="1488" formatCode="0.00">
                  <c:v>0.33501452100398121</c:v>
                </c:pt>
                <c:pt idx="1489" formatCode="0.00">
                  <c:v>0.33522613551186647</c:v>
                </c:pt>
                <c:pt idx="1490" formatCode="0.00">
                  <c:v>0.3300508360927803</c:v>
                </c:pt>
                <c:pt idx="1491" formatCode="0.00">
                  <c:v>0.33035269239715842</c:v>
                </c:pt>
                <c:pt idx="1492" formatCode="0.00">
                  <c:v>0.33034286177774719</c:v>
                </c:pt>
                <c:pt idx="1493" formatCode="0.00">
                  <c:v>0.3305396425109236</c:v>
                </c:pt>
                <c:pt idx="1494" formatCode="0.00">
                  <c:v>0.33022843306369409</c:v>
                </c:pt>
                <c:pt idx="1495" formatCode="0.00">
                  <c:v>0.33037664862131139</c:v>
                </c:pt>
                <c:pt idx="1496" formatCode="0.00">
                  <c:v>0.33111077440424252</c:v>
                </c:pt>
                <c:pt idx="1497" formatCode="0.00">
                  <c:v>0.33207333774231579</c:v>
                </c:pt>
                <c:pt idx="1498" formatCode="0.00">
                  <c:v>0.33203223065400922</c:v>
                </c:pt>
                <c:pt idx="1499" formatCode="0.00">
                  <c:v>0.33345430882680721</c:v>
                </c:pt>
                <c:pt idx="1500" formatCode="0.00">
                  <c:v>0.33346038820785334</c:v>
                </c:pt>
                <c:pt idx="1501" formatCode="0.00">
                  <c:v>0.33356420491266636</c:v>
                </c:pt>
                <c:pt idx="1502" formatCode="0.00">
                  <c:v>0.33385392883099074</c:v>
                </c:pt>
                <c:pt idx="1503" formatCode="0.00">
                  <c:v>0.33386594065780356</c:v>
                </c:pt>
                <c:pt idx="1504" formatCode="0.00">
                  <c:v>0.32949212791746602</c:v>
                </c:pt>
                <c:pt idx="1505" formatCode="0.00">
                  <c:v>0.32948582025133138</c:v>
                </c:pt>
                <c:pt idx="1506" formatCode="0.00">
                  <c:v>0.32955034140704043</c:v>
                </c:pt>
                <c:pt idx="1507" formatCode="0.00">
                  <c:v>0.32952030377658575</c:v>
                </c:pt>
                <c:pt idx="1508" formatCode="0.00">
                  <c:v>0.32722741997989346</c:v>
                </c:pt>
                <c:pt idx="1509" formatCode="0.00">
                  <c:v>0.32668333957764667</c:v>
                </c:pt>
                <c:pt idx="1510" formatCode="0.00">
                  <c:v>0.32604546606947854</c:v>
                </c:pt>
                <c:pt idx="1511" formatCode="0.00">
                  <c:v>0.32587635139514021</c:v>
                </c:pt>
                <c:pt idx="1512" formatCode="0.00">
                  <c:v>0.3260199705994612</c:v>
                </c:pt>
                <c:pt idx="1513" formatCode="0.00">
                  <c:v>0.32701227902061486</c:v>
                </c:pt>
                <c:pt idx="1514" formatCode="0.00">
                  <c:v>0.33204783259155618</c:v>
                </c:pt>
                <c:pt idx="1515" formatCode="0.00">
                  <c:v>0.33255412655667838</c:v>
                </c:pt>
                <c:pt idx="1516" formatCode="0.00">
                  <c:v>0.3323550773629636</c:v>
                </c:pt>
                <c:pt idx="1517" formatCode="0.00">
                  <c:v>0.33486389736316996</c:v>
                </c:pt>
                <c:pt idx="1518" formatCode="0.00">
                  <c:v>0.33315048619590543</c:v>
                </c:pt>
                <c:pt idx="1519" formatCode="0.00">
                  <c:v>0.32802167260435122</c:v>
                </c:pt>
                <c:pt idx="1520" formatCode="0.00">
                  <c:v>0.32804286305955188</c:v>
                </c:pt>
                <c:pt idx="1521" formatCode="0.00">
                  <c:v>0.32594000982598875</c:v>
                </c:pt>
                <c:pt idx="1522" formatCode="0.00">
                  <c:v>0.3237891482507842</c:v>
                </c:pt>
                <c:pt idx="1523" formatCode="0.00">
                  <c:v>0.32216728572584824</c:v>
                </c:pt>
                <c:pt idx="1524" formatCode="0.00">
                  <c:v>0.3227991252491022</c:v>
                </c:pt>
                <c:pt idx="1525" formatCode="0.00">
                  <c:v>0.32280047572880932</c:v>
                </c:pt>
                <c:pt idx="1526" formatCode="0.00">
                  <c:v>0.32214002237307665</c:v>
                </c:pt>
                <c:pt idx="1527" formatCode="0.00">
                  <c:v>0.32063972641950333</c:v>
                </c:pt>
                <c:pt idx="1528" formatCode="0.00">
                  <c:v>0.32042163624003661</c:v>
                </c:pt>
                <c:pt idx="1529" formatCode="0.00">
                  <c:v>0.31874874832209937</c:v>
                </c:pt>
                <c:pt idx="1530" formatCode="0.00">
                  <c:v>0.31882542982243245</c:v>
                </c:pt>
                <c:pt idx="1531" formatCode="0.00">
                  <c:v>0.31893007707879095</c:v>
                </c:pt>
                <c:pt idx="1532" formatCode="0.00">
                  <c:v>0.31844922103172685</c:v>
                </c:pt>
                <c:pt idx="1533" formatCode="0.00">
                  <c:v>0.32174302816208328</c:v>
                </c:pt>
                <c:pt idx="1534" formatCode="0.00">
                  <c:v>0.32165248924845691</c:v>
                </c:pt>
                <c:pt idx="1535" formatCode="0.00">
                  <c:v>0.32194349072320133</c:v>
                </c:pt>
                <c:pt idx="1536" formatCode="0.00">
                  <c:v>0.32214024543698999</c:v>
                </c:pt>
                <c:pt idx="1537" formatCode="0.00">
                  <c:v>0.32777186546032794</c:v>
                </c:pt>
                <c:pt idx="1538" formatCode="0.00">
                  <c:v>0.32770283625227714</c:v>
                </c:pt>
                <c:pt idx="1539" formatCode="0.00">
                  <c:v>0.32949798426238563</c:v>
                </c:pt>
                <c:pt idx="1540" formatCode="0.00">
                  <c:v>0.32921714834361093</c:v>
                </c:pt>
                <c:pt idx="1541" formatCode="0.00">
                  <c:v>0.32780578632362006</c:v>
                </c:pt>
                <c:pt idx="1542" formatCode="0.00">
                  <c:v>0.32495413594215766</c:v>
                </c:pt>
                <c:pt idx="1543" formatCode="0.00">
                  <c:v>0.32506899621200941</c:v>
                </c:pt>
                <c:pt idx="1544" formatCode="0.00">
                  <c:v>0.32502003920013472</c:v>
                </c:pt>
                <c:pt idx="1545" formatCode="0.00">
                  <c:v>0.32536591201265003</c:v>
                </c:pt>
                <c:pt idx="1546" formatCode="0.00">
                  <c:v>0.32344093346978364</c:v>
                </c:pt>
                <c:pt idx="1547" formatCode="0.00">
                  <c:v>0.32438378717508981</c:v>
                </c:pt>
                <c:pt idx="1548" formatCode="0.00">
                  <c:v>0.32409272116375393</c:v>
                </c:pt>
                <c:pt idx="1549" formatCode="0.00">
                  <c:v>0.32360912237589756</c:v>
                </c:pt>
                <c:pt idx="1550" formatCode="0.00">
                  <c:v>0.31608051407730703</c:v>
                </c:pt>
                <c:pt idx="1551" formatCode="0.00">
                  <c:v>0.31649811197788269</c:v>
                </c:pt>
                <c:pt idx="1552" formatCode="0.00">
                  <c:v>0.31547630737766941</c:v>
                </c:pt>
                <c:pt idx="1553" formatCode="0.00">
                  <c:v>0.31504306648763958</c:v>
                </c:pt>
                <c:pt idx="1554" formatCode="0.00">
                  <c:v>0.31521064971121826</c:v>
                </c:pt>
                <c:pt idx="1555" formatCode="0.00">
                  <c:v>0.31515588060726168</c:v>
                </c:pt>
                <c:pt idx="1556" formatCode="0.00">
                  <c:v>0.31523296516912225</c:v>
                </c:pt>
                <c:pt idx="1557" formatCode="0.00">
                  <c:v>0.31669004386345506</c:v>
                </c:pt>
                <c:pt idx="1558" formatCode="0.00">
                  <c:v>0.31668801134950963</c:v>
                </c:pt>
                <c:pt idx="1559" formatCode="0.00">
                  <c:v>0.31676979045836673</c:v>
                </c:pt>
                <c:pt idx="1560" formatCode="0.00">
                  <c:v>0.31693850154791953</c:v>
                </c:pt>
                <c:pt idx="1561" formatCode="0.00">
                  <c:v>0.31659668300300203</c:v>
                </c:pt>
                <c:pt idx="1562" formatCode="0.00">
                  <c:v>0.31703500100277165</c:v>
                </c:pt>
                <c:pt idx="1563" formatCode="0.00">
                  <c:v>0.31593595143222536</c:v>
                </c:pt>
                <c:pt idx="1564" formatCode="0.00">
                  <c:v>0.31598771820851473</c:v>
                </c:pt>
                <c:pt idx="1565" formatCode="0.00">
                  <c:v>0.31569124192954556</c:v>
                </c:pt>
                <c:pt idx="1566" formatCode="0.00">
                  <c:v>0.31500737770316162</c:v>
                </c:pt>
                <c:pt idx="1567" formatCode="0.00">
                  <c:v>0.31432605051852802</c:v>
                </c:pt>
                <c:pt idx="1568" formatCode="0.00">
                  <c:v>0.3148657855172125</c:v>
                </c:pt>
                <c:pt idx="1569" formatCode="0.00">
                  <c:v>0.31490936381338641</c:v>
                </c:pt>
                <c:pt idx="1570" formatCode="0.00">
                  <c:v>0.31483038316724143</c:v>
                </c:pt>
                <c:pt idx="1571" formatCode="0.00">
                  <c:v>0.315983455154003</c:v>
                </c:pt>
                <c:pt idx="1572" formatCode="0.00">
                  <c:v>0.31569239545564509</c:v>
                </c:pt>
                <c:pt idx="1573" formatCode="0.00">
                  <c:v>0.31334730293171376</c:v>
                </c:pt>
                <c:pt idx="1574" formatCode="0.00">
                  <c:v>0.31183959977425008</c:v>
                </c:pt>
                <c:pt idx="1575" formatCode="0.00">
                  <c:v>0.31017994802762611</c:v>
                </c:pt>
                <c:pt idx="1576" formatCode="0.00">
                  <c:v>0.30962318904260583</c:v>
                </c:pt>
                <c:pt idx="1577" formatCode="0.00">
                  <c:v>0.31112570063761763</c:v>
                </c:pt>
                <c:pt idx="1578" formatCode="0.00">
                  <c:v>0.31139560718988601</c:v>
                </c:pt>
                <c:pt idx="1579" formatCode="0.00">
                  <c:v>0.31176857304532601</c:v>
                </c:pt>
                <c:pt idx="1580" formatCode="0.00">
                  <c:v>0.31180550689463626</c:v>
                </c:pt>
                <c:pt idx="1581" formatCode="0.00">
                  <c:v>0.31297412118035567</c:v>
                </c:pt>
                <c:pt idx="1582" formatCode="0.00">
                  <c:v>0.30890020960829861</c:v>
                </c:pt>
                <c:pt idx="1583" formatCode="0.00">
                  <c:v>0.30943332370389415</c:v>
                </c:pt>
                <c:pt idx="1584" formatCode="0.00">
                  <c:v>0.30926871537511019</c:v>
                </c:pt>
                <c:pt idx="1585" formatCode="0.00">
                  <c:v>0.30694259463086226</c:v>
                </c:pt>
                <c:pt idx="1586" formatCode="0.00">
                  <c:v>0.30630820755004151</c:v>
                </c:pt>
                <c:pt idx="1587" formatCode="0.00">
                  <c:v>0.3067315348653602</c:v>
                </c:pt>
                <c:pt idx="1588" formatCode="0.00">
                  <c:v>0.30672989260432676</c:v>
                </c:pt>
                <c:pt idx="1589" formatCode="0.00">
                  <c:v>0.30667354739807356</c:v>
                </c:pt>
                <c:pt idx="1590" formatCode="0.00">
                  <c:v>0.30680951249860916</c:v>
                </c:pt>
                <c:pt idx="1591" formatCode="0.00">
                  <c:v>0.30657926690508674</c:v>
                </c:pt>
                <c:pt idx="1592" formatCode="0.00">
                  <c:v>0.30783861072308832</c:v>
                </c:pt>
                <c:pt idx="1593" formatCode="0.00">
                  <c:v>0.30573325515812855</c:v>
                </c:pt>
                <c:pt idx="1594" formatCode="0.00">
                  <c:v>0.30565896247371604</c:v>
                </c:pt>
                <c:pt idx="1595" formatCode="0.00">
                  <c:v>0.30579414492617857</c:v>
                </c:pt>
                <c:pt idx="1596" formatCode="0.00">
                  <c:v>0.30617512806723213</c:v>
                </c:pt>
                <c:pt idx="1597" formatCode="0.00">
                  <c:v>0.3059143625722574</c:v>
                </c:pt>
                <c:pt idx="1598" formatCode="0.00">
                  <c:v>0.30635104174589317</c:v>
                </c:pt>
                <c:pt idx="1599" formatCode="0.00">
                  <c:v>0.30657612453595695</c:v>
                </c:pt>
                <c:pt idx="1600" formatCode="0.00">
                  <c:v>0.30644891802510577</c:v>
                </c:pt>
                <c:pt idx="1601" formatCode="0.00">
                  <c:v>0.3052780222473605</c:v>
                </c:pt>
                <c:pt idx="1602" formatCode="0.00">
                  <c:v>0.30575769331991287</c:v>
                </c:pt>
                <c:pt idx="1603" formatCode="0.00">
                  <c:v>0.30763048101357154</c:v>
                </c:pt>
                <c:pt idx="1604" formatCode="0.00">
                  <c:v>0.30719036761246737</c:v>
                </c:pt>
                <c:pt idx="1605" formatCode="0.00">
                  <c:v>0.30760984811962006</c:v>
                </c:pt>
                <c:pt idx="1606" formatCode="0.00">
                  <c:v>0.30722946433137316</c:v>
                </c:pt>
                <c:pt idx="1607" formatCode="0.00">
                  <c:v>0.30766358309776959</c:v>
                </c:pt>
                <c:pt idx="1608" formatCode="0.00">
                  <c:v>0.30885160801746936</c:v>
                </c:pt>
                <c:pt idx="1609" formatCode="0.00">
                  <c:v>0.31067360941062411</c:v>
                </c:pt>
                <c:pt idx="1610" formatCode="0.00">
                  <c:v>0.30866634350948929</c:v>
                </c:pt>
                <c:pt idx="1611" formatCode="0.00">
                  <c:v>0.30923282880910846</c:v>
                </c:pt>
                <c:pt idx="1612" formatCode="0.00">
                  <c:v>0.30916151350405235</c:v>
                </c:pt>
                <c:pt idx="1613" formatCode="0.00">
                  <c:v>0.31178980561895003</c:v>
                </c:pt>
                <c:pt idx="1614" formatCode="0.00">
                  <c:v>0.31148303719432008</c:v>
                </c:pt>
                <c:pt idx="1615" formatCode="0.00">
                  <c:v>0.31132774032267202</c:v>
                </c:pt>
                <c:pt idx="1616" formatCode="0.00">
                  <c:v>0.31408609620309685</c:v>
                </c:pt>
                <c:pt idx="1617" formatCode="0.00">
                  <c:v>0.31695099886268896</c:v>
                </c:pt>
                <c:pt idx="1618" formatCode="0.00">
                  <c:v>0.31685205322980359</c:v>
                </c:pt>
                <c:pt idx="1619" formatCode="0.00">
                  <c:v>0.31700948337040297</c:v>
                </c:pt>
                <c:pt idx="1620" formatCode="0.00">
                  <c:v>0.31882311326618124</c:v>
                </c:pt>
                <c:pt idx="1621" formatCode="0.00">
                  <c:v>0.31919649731052802</c:v>
                </c:pt>
                <c:pt idx="1622" formatCode="0.00">
                  <c:v>0.31859986259893947</c:v>
                </c:pt>
                <c:pt idx="1623" formatCode="0.00">
                  <c:v>0.31845710862682552</c:v>
                </c:pt>
                <c:pt idx="1624" formatCode="0.00">
                  <c:v>0.31839534292245608</c:v>
                </c:pt>
                <c:pt idx="1625" formatCode="0.00">
                  <c:v>0.31890415892987722</c:v>
                </c:pt>
                <c:pt idx="1626" formatCode="0.00">
                  <c:v>0.31887105251207271</c:v>
                </c:pt>
                <c:pt idx="1627" formatCode="0.00">
                  <c:v>0.32018322043084568</c:v>
                </c:pt>
                <c:pt idx="1628" formatCode="0.00">
                  <c:v>0.32069696635398248</c:v>
                </c:pt>
                <c:pt idx="1629" formatCode="0.00">
                  <c:v>0.32079611095836158</c:v>
                </c:pt>
                <c:pt idx="1630" formatCode="0.00">
                  <c:v>0.3205321661901579</c:v>
                </c:pt>
                <c:pt idx="1631" formatCode="0.00">
                  <c:v>0.32068729775023808</c:v>
                </c:pt>
                <c:pt idx="1632" formatCode="0.00">
                  <c:v>0.32060114910359178</c:v>
                </c:pt>
                <c:pt idx="1633" formatCode="0.00">
                  <c:v>0.31990449947584865</c:v>
                </c:pt>
                <c:pt idx="1634" formatCode="0.00">
                  <c:v>0.32060865729243559</c:v>
                </c:pt>
                <c:pt idx="1635" formatCode="0.00">
                  <c:v>0.32147397984530823</c:v>
                </c:pt>
                <c:pt idx="1636" formatCode="0.00">
                  <c:v>0.32215257905976086</c:v>
                </c:pt>
                <c:pt idx="1637" formatCode="0.00">
                  <c:v>0.32273574284183171</c:v>
                </c:pt>
                <c:pt idx="1638" formatCode="0.00">
                  <c:v>0.323623193535438</c:v>
                </c:pt>
                <c:pt idx="1639" formatCode="0.00">
                  <c:v>0.32369115304141138</c:v>
                </c:pt>
                <c:pt idx="1640" formatCode="0.00">
                  <c:v>0.32033119100412094</c:v>
                </c:pt>
                <c:pt idx="1641" formatCode="0.00">
                  <c:v>0.3192813901472969</c:v>
                </c:pt>
                <c:pt idx="1642" formatCode="0.00">
                  <c:v>0.3192852199382395</c:v>
                </c:pt>
                <c:pt idx="1643" formatCode="0.00">
                  <c:v>0.31912084364483528</c:v>
                </c:pt>
                <c:pt idx="1644" formatCode="0.00">
                  <c:v>0.31969269431991248</c:v>
                </c:pt>
                <c:pt idx="1645" formatCode="0.00">
                  <c:v>0.32119719469486357</c:v>
                </c:pt>
                <c:pt idx="1646" formatCode="0.00">
                  <c:v>0.32155393458306158</c:v>
                </c:pt>
                <c:pt idx="1647" formatCode="0.00">
                  <c:v>0.32336837332177915</c:v>
                </c:pt>
                <c:pt idx="1648" formatCode="0.00">
                  <c:v>0.32412452643172884</c:v>
                </c:pt>
                <c:pt idx="1649" formatCode="0.00">
                  <c:v>0.32386631542440703</c:v>
                </c:pt>
                <c:pt idx="1650" formatCode="0.00">
                  <c:v>0.32459171233372153</c:v>
                </c:pt>
                <c:pt idx="1651" formatCode="0.00">
                  <c:v>0.32431984061026575</c:v>
                </c:pt>
                <c:pt idx="1652" formatCode="0.00">
                  <c:v>0.32671378095256343</c:v>
                </c:pt>
                <c:pt idx="1653" formatCode="0.00">
                  <c:v>0.32718423095476123</c:v>
                </c:pt>
                <c:pt idx="1654" formatCode="0.00">
                  <c:v>0.32752495567002049</c:v>
                </c:pt>
                <c:pt idx="1655" formatCode="0.00">
                  <c:v>0.32714230765395025</c:v>
                </c:pt>
                <c:pt idx="1656" formatCode="0.00">
                  <c:v>0.32710206338166942</c:v>
                </c:pt>
                <c:pt idx="1657" formatCode="0.00">
                  <c:v>0.3260129970246573</c:v>
                </c:pt>
                <c:pt idx="1658" formatCode="0.00">
                  <c:v>0.32587345371336407</c:v>
                </c:pt>
                <c:pt idx="1659" formatCode="0.00">
                  <c:v>0.32587453271007832</c:v>
                </c:pt>
                <c:pt idx="1660" formatCode="0.00">
                  <c:v>0.32642162040535949</c:v>
                </c:pt>
                <c:pt idx="1661" formatCode="0.00">
                  <c:v>0.32647339280731941</c:v>
                </c:pt>
                <c:pt idx="1662" formatCode="0.00">
                  <c:v>0.33179861720148768</c:v>
                </c:pt>
                <c:pt idx="1663" formatCode="0.00">
                  <c:v>0.33207520885297948</c:v>
                </c:pt>
                <c:pt idx="1664" formatCode="0.00">
                  <c:v>0.33157538110028412</c:v>
                </c:pt>
                <c:pt idx="1665" formatCode="0.00">
                  <c:v>0.33132305094682918</c:v>
                </c:pt>
                <c:pt idx="1666" formatCode="0.00">
                  <c:v>0.32976738632141284</c:v>
                </c:pt>
                <c:pt idx="1667" formatCode="0.00">
                  <c:v>0.3313511141926655</c:v>
                </c:pt>
                <c:pt idx="1668" formatCode="0.00">
                  <c:v>0.33133403702481817</c:v>
                </c:pt>
                <c:pt idx="1669" formatCode="0.00">
                  <c:v>0.33240212186929574</c:v>
                </c:pt>
                <c:pt idx="1670" formatCode="0.00">
                  <c:v>0.3306410399135486</c:v>
                </c:pt>
                <c:pt idx="1671" formatCode="0.00">
                  <c:v>0.33066508487667756</c:v>
                </c:pt>
                <c:pt idx="1672" formatCode="0.00">
                  <c:v>0.33036167906960689</c:v>
                </c:pt>
                <c:pt idx="1673" formatCode="0.00">
                  <c:v>0.33048059727672252</c:v>
                </c:pt>
                <c:pt idx="1674" formatCode="0.00">
                  <c:v>0.33085779453120839</c:v>
                </c:pt>
                <c:pt idx="1675" formatCode="0.00">
                  <c:v>0.33077015730413539</c:v>
                </c:pt>
                <c:pt idx="1676" formatCode="0.00">
                  <c:v>0.33142702738469709</c:v>
                </c:pt>
                <c:pt idx="1677" formatCode="0.00">
                  <c:v>0.33195443086223347</c:v>
                </c:pt>
                <c:pt idx="1678" formatCode="0.00">
                  <c:v>0.33197576997552125</c:v>
                </c:pt>
                <c:pt idx="1679" formatCode="0.00">
                  <c:v>0.33103755874575502</c:v>
                </c:pt>
                <c:pt idx="1680" formatCode="0.00">
                  <c:v>0.32931805976341394</c:v>
                </c:pt>
                <c:pt idx="1681" formatCode="0.00">
                  <c:v>0.3272802105413456</c:v>
                </c:pt>
                <c:pt idx="1682" formatCode="0.00">
                  <c:v>0.32722770525037609</c:v>
                </c:pt>
                <c:pt idx="1683" formatCode="0.00">
                  <c:v>0.32663842180110436</c:v>
                </c:pt>
                <c:pt idx="1684" formatCode="0.00">
                  <c:v>0.32597449601511758</c:v>
                </c:pt>
                <c:pt idx="1685" formatCode="0.00">
                  <c:v>0.32553752483206566</c:v>
                </c:pt>
                <c:pt idx="1686" formatCode="0.00">
                  <c:v>0.32552944988837534</c:v>
                </c:pt>
                <c:pt idx="1687" formatCode="0.00">
                  <c:v>0.33197608883266916</c:v>
                </c:pt>
                <c:pt idx="1688" formatCode="0.00">
                  <c:v>0.33277223620350976</c:v>
                </c:pt>
                <c:pt idx="1689" formatCode="0.00">
                  <c:v>0.33274421470816073</c:v>
                </c:pt>
                <c:pt idx="1690" formatCode="0.00">
                  <c:v>0.33352740623627564</c:v>
                </c:pt>
                <c:pt idx="1691" formatCode="0.00">
                  <c:v>0.33816935938336268</c:v>
                </c:pt>
                <c:pt idx="1692" formatCode="0.00">
                  <c:v>0.33734359519458385</c:v>
                </c:pt>
                <c:pt idx="1693" formatCode="0.00">
                  <c:v>0.33711104370365541</c:v>
                </c:pt>
                <c:pt idx="1694" formatCode="0.00">
                  <c:v>0.3372568816050634</c:v>
                </c:pt>
                <c:pt idx="1695" formatCode="0.00">
                  <c:v>0.33840047045577248</c:v>
                </c:pt>
                <c:pt idx="1696" formatCode="0.00">
                  <c:v>0.33856488722395822</c:v>
                </c:pt>
                <c:pt idx="1697" formatCode="0.00">
                  <c:v>0.33851144554668489</c:v>
                </c:pt>
                <c:pt idx="1698" formatCode="0.00">
                  <c:v>0.33878558326048575</c:v>
                </c:pt>
                <c:pt idx="1699" formatCode="0.00">
                  <c:v>0.33849910121802412</c:v>
                </c:pt>
                <c:pt idx="1700" formatCode="0.00">
                  <c:v>0.33888771200129564</c:v>
                </c:pt>
                <c:pt idx="1701" formatCode="0.00">
                  <c:v>0.33937129431420021</c:v>
                </c:pt>
                <c:pt idx="1702" formatCode="0.00">
                  <c:v>0.33943928752662672</c:v>
                </c:pt>
                <c:pt idx="1703" formatCode="0.00">
                  <c:v>0.33893101284169186</c:v>
                </c:pt>
                <c:pt idx="1704" formatCode="0.00">
                  <c:v>0.33943534108524975</c:v>
                </c:pt>
                <c:pt idx="1705" formatCode="0.00">
                  <c:v>0.33943113532280988</c:v>
                </c:pt>
                <c:pt idx="1706" formatCode="0.00">
                  <c:v>0.33986936453166977</c:v>
                </c:pt>
                <c:pt idx="1707" formatCode="0.00">
                  <c:v>0.33819066869102482</c:v>
                </c:pt>
                <c:pt idx="1708" formatCode="0.00">
                  <c:v>0.33697544902729565</c:v>
                </c:pt>
                <c:pt idx="1709" formatCode="0.00">
                  <c:v>0.33696605077366054</c:v>
                </c:pt>
                <c:pt idx="1710" formatCode="0.00">
                  <c:v>0.33743775955387983</c:v>
                </c:pt>
                <c:pt idx="1711" formatCode="0.00">
                  <c:v>0.3377231218737386</c:v>
                </c:pt>
                <c:pt idx="1712" formatCode="0.00">
                  <c:v>0.33767595989671145</c:v>
                </c:pt>
                <c:pt idx="1713" formatCode="0.00">
                  <c:v>0.3346192604881838</c:v>
                </c:pt>
                <c:pt idx="1714" formatCode="0.00">
                  <c:v>0.33406768626831662</c:v>
                </c:pt>
                <c:pt idx="1715" formatCode="0.00">
                  <c:v>0.3315088065995434</c:v>
                </c:pt>
                <c:pt idx="1716" formatCode="0.00">
                  <c:v>0.32977053045702842</c:v>
                </c:pt>
                <c:pt idx="1717" formatCode="0.00">
                  <c:v>0.33017999087628541</c:v>
                </c:pt>
                <c:pt idx="1718" formatCode="0.00">
                  <c:v>0.3315514026905565</c:v>
                </c:pt>
                <c:pt idx="1719" formatCode="0.00">
                  <c:v>0.3318888829197485</c:v>
                </c:pt>
                <c:pt idx="1720" formatCode="0.00">
                  <c:v>0.33176790618343172</c:v>
                </c:pt>
                <c:pt idx="1721" formatCode="0.00">
                  <c:v>0.33485371523162089</c:v>
                </c:pt>
                <c:pt idx="1722" formatCode="0.00">
                  <c:v>0.33426920837878621</c:v>
                </c:pt>
                <c:pt idx="1723" formatCode="0.00">
                  <c:v>0.33387983554473039</c:v>
                </c:pt>
                <c:pt idx="1724" formatCode="0.00">
                  <c:v>0.33366953639720065</c:v>
                </c:pt>
                <c:pt idx="1725" formatCode="0.00">
                  <c:v>0.33785374485138336</c:v>
                </c:pt>
                <c:pt idx="1726" formatCode="0.00">
                  <c:v>0.33945772734003982</c:v>
                </c:pt>
                <c:pt idx="1727" formatCode="0.00">
                  <c:v>0.34167818796768012</c:v>
                </c:pt>
                <c:pt idx="1728" formatCode="0.00">
                  <c:v>0.34725050315100142</c:v>
                </c:pt>
                <c:pt idx="1729" formatCode="0.00">
                  <c:v>0.35265375733913196</c:v>
                </c:pt>
                <c:pt idx="1730" formatCode="0.00">
                  <c:v>0.3555157574198492</c:v>
                </c:pt>
                <c:pt idx="1731" formatCode="0.00">
                  <c:v>0.35566414748796754</c:v>
                </c:pt>
                <c:pt idx="1732" formatCode="0.00">
                  <c:v>0.3558146396265997</c:v>
                </c:pt>
                <c:pt idx="1733" formatCode="0.00">
                  <c:v>0.3562768748999392</c:v>
                </c:pt>
                <c:pt idx="1734" formatCode="0.00">
                  <c:v>0.37177717942400085</c:v>
                </c:pt>
                <c:pt idx="1735" formatCode="0.00">
                  <c:v>0.38002140155198971</c:v>
                </c:pt>
                <c:pt idx="1736" formatCode="0.00">
                  <c:v>0.37932597678193891</c:v>
                </c:pt>
                <c:pt idx="1737" formatCode="0.00">
                  <c:v>0.38175478854707773</c:v>
                </c:pt>
                <c:pt idx="1738" formatCode="0.00">
                  <c:v>0.39195533129777171</c:v>
                </c:pt>
                <c:pt idx="1739" formatCode="0.00">
                  <c:v>0.39138146099194465</c:v>
                </c:pt>
                <c:pt idx="1740" formatCode="0.00">
                  <c:v>0.39636700834476574</c:v>
                </c:pt>
                <c:pt idx="1741" formatCode="0.00">
                  <c:v>0.39699814863736421</c:v>
                </c:pt>
                <c:pt idx="1742" formatCode="0.00">
                  <c:v>0.39677716158781112</c:v>
                </c:pt>
                <c:pt idx="1743" formatCode="0.00">
                  <c:v>0.39654554159976307</c:v>
                </c:pt>
                <c:pt idx="1744" formatCode="0.00">
                  <c:v>0.39652433572418588</c:v>
                </c:pt>
                <c:pt idx="1745" formatCode="0.00">
                  <c:v>0.39737831837803139</c:v>
                </c:pt>
                <c:pt idx="1746" formatCode="0.00">
                  <c:v>0.39759782418591988</c:v>
                </c:pt>
                <c:pt idx="1747" formatCode="0.00">
                  <c:v>0.40014793025329681</c:v>
                </c:pt>
                <c:pt idx="1748" formatCode="0.00">
                  <c:v>0.40058151138278475</c:v>
                </c:pt>
                <c:pt idx="1749" formatCode="0.00">
                  <c:v>0.40002839374423366</c:v>
                </c:pt>
                <c:pt idx="1750" formatCode="0.00">
                  <c:v>0.40153434104925362</c:v>
                </c:pt>
                <c:pt idx="1751" formatCode="0.00">
                  <c:v>0.40165586551918353</c:v>
                </c:pt>
                <c:pt idx="1752" formatCode="0.00">
                  <c:v>0.40112784497696197</c:v>
                </c:pt>
                <c:pt idx="1753" formatCode="0.00">
                  <c:v>0.40117083487411176</c:v>
                </c:pt>
                <c:pt idx="1754" formatCode="0.00">
                  <c:v>0.4011069675026962</c:v>
                </c:pt>
                <c:pt idx="1755" formatCode="0.00">
                  <c:v>0.4011460609410285</c:v>
                </c:pt>
                <c:pt idx="1756" formatCode="0.00">
                  <c:v>0.4025218104753655</c:v>
                </c:pt>
                <c:pt idx="1757" formatCode="0.00">
                  <c:v>0.40461212016728032</c:v>
                </c:pt>
                <c:pt idx="1758" formatCode="0.00">
                  <c:v>0.40462334709410286</c:v>
                </c:pt>
                <c:pt idx="1759" formatCode="0.00">
                  <c:v>0.40628358158280142</c:v>
                </c:pt>
                <c:pt idx="1760" formatCode="0.00">
                  <c:v>0.40576368730916335</c:v>
                </c:pt>
                <c:pt idx="1761" formatCode="0.00">
                  <c:v>0.40558384393881503</c:v>
                </c:pt>
                <c:pt idx="1762" formatCode="0.00">
                  <c:v>0.40563332798240254</c:v>
                </c:pt>
                <c:pt idx="1763" formatCode="0.00">
                  <c:v>0.40602365025916665</c:v>
                </c:pt>
                <c:pt idx="1764" formatCode="0.00">
                  <c:v>0.41972460785313415</c:v>
                </c:pt>
                <c:pt idx="1765" formatCode="0.00">
                  <c:v>0.42465812357888921</c:v>
                </c:pt>
                <c:pt idx="1766" formatCode="0.00">
                  <c:v>0.42388484242318497</c:v>
                </c:pt>
                <c:pt idx="1767" formatCode="0.00">
                  <c:v>0.42001586492201737</c:v>
                </c:pt>
                <c:pt idx="1768" formatCode="0.00">
                  <c:v>0.42186337989795958</c:v>
                </c:pt>
                <c:pt idx="1769" formatCode="0.00">
                  <c:v>0.42219786232294149</c:v>
                </c:pt>
                <c:pt idx="1770" formatCode="0.00">
                  <c:v>0.41939266236341605</c:v>
                </c:pt>
                <c:pt idx="1771" formatCode="0.00">
                  <c:v>0.41938846984511724</c:v>
                </c:pt>
                <c:pt idx="1772" formatCode="0.00">
                  <c:v>0.41932776694776985</c:v>
                </c:pt>
                <c:pt idx="1773" formatCode="0.00">
                  <c:v>0.42058696923149497</c:v>
                </c:pt>
                <c:pt idx="1774" formatCode="0.00">
                  <c:v>0.42007907477229384</c:v>
                </c:pt>
                <c:pt idx="1775" formatCode="0.00">
                  <c:v>0.4222365831867676</c:v>
                </c:pt>
                <c:pt idx="1776" formatCode="0.00">
                  <c:v>0.4226927381834823</c:v>
                </c:pt>
                <c:pt idx="1777" formatCode="0.00">
                  <c:v>0.42248848775434428</c:v>
                </c:pt>
                <c:pt idx="1778" formatCode="0.00">
                  <c:v>0.42167060486131652</c:v>
                </c:pt>
                <c:pt idx="1779" formatCode="0.00">
                  <c:v>0.42300515409964051</c:v>
                </c:pt>
                <c:pt idx="1780" formatCode="0.00">
                  <c:v>0.42297378294209109</c:v>
                </c:pt>
                <c:pt idx="1781" formatCode="0.00">
                  <c:v>0.42276333730232257</c:v>
                </c:pt>
                <c:pt idx="1782" formatCode="0.00">
                  <c:v>0.42330191935492167</c:v>
                </c:pt>
                <c:pt idx="1783" formatCode="0.00">
                  <c:v>0.42338647149183145</c:v>
                </c:pt>
                <c:pt idx="1784" formatCode="0.00">
                  <c:v>0.42457493431173182</c:v>
                </c:pt>
                <c:pt idx="1785" formatCode="0.00">
                  <c:v>0.42466418496245673</c:v>
                </c:pt>
                <c:pt idx="1786" formatCode="0.00">
                  <c:v>0.42233736421017215</c:v>
                </c:pt>
                <c:pt idx="1787" formatCode="0.00">
                  <c:v>0.42056595857927398</c:v>
                </c:pt>
                <c:pt idx="1788" formatCode="0.00">
                  <c:v>0.42279693159856985</c:v>
                </c:pt>
                <c:pt idx="1789" formatCode="0.00">
                  <c:v>0.42377679405251178</c:v>
                </c:pt>
                <c:pt idx="1790" formatCode="0.00">
                  <c:v>0.41935645749590283</c:v>
                </c:pt>
                <c:pt idx="1791" formatCode="0.00">
                  <c:v>0.4193638949373002</c:v>
                </c:pt>
                <c:pt idx="1792" formatCode="0.00">
                  <c:v>0.41900712353754904</c:v>
                </c:pt>
                <c:pt idx="1793" formatCode="0.00">
                  <c:v>0.42010446294459408</c:v>
                </c:pt>
                <c:pt idx="1794" formatCode="0.00">
                  <c:v>0.42194211752679878</c:v>
                </c:pt>
                <c:pt idx="1795" formatCode="0.00">
                  <c:v>0.42433038960685787</c:v>
                </c:pt>
                <c:pt idx="1796" formatCode="0.00">
                  <c:v>0.42767729099369245</c:v>
                </c:pt>
                <c:pt idx="1797" formatCode="0.00">
                  <c:v>0.42805565196553319</c:v>
                </c:pt>
                <c:pt idx="1798" formatCode="0.00">
                  <c:v>0.4281628922906488</c:v>
                </c:pt>
                <c:pt idx="1799" formatCode="0.00">
                  <c:v>0.4295948336199833</c:v>
                </c:pt>
                <c:pt idx="1800" formatCode="0.00">
                  <c:v>0.4292260990115167</c:v>
                </c:pt>
                <c:pt idx="1801" formatCode="0.00">
                  <c:v>0.42923676850596715</c:v>
                </c:pt>
                <c:pt idx="1802" formatCode="0.00">
                  <c:v>0.42931503071016935</c:v>
                </c:pt>
                <c:pt idx="1803" formatCode="0.00">
                  <c:v>0.42761246475424114</c:v>
                </c:pt>
                <c:pt idx="1804" formatCode="0.00">
                  <c:v>0.42731255357433257</c:v>
                </c:pt>
                <c:pt idx="1805" formatCode="0.00">
                  <c:v>0.42715622066145165</c:v>
                </c:pt>
                <c:pt idx="1806" formatCode="0.00">
                  <c:v>0.42718511249974717</c:v>
                </c:pt>
                <c:pt idx="1807" formatCode="0.00">
                  <c:v>0.42771602763235417</c:v>
                </c:pt>
                <c:pt idx="1808" formatCode="0.00">
                  <c:v>0.4280663857697346</c:v>
                </c:pt>
                <c:pt idx="1809" formatCode="0.00">
                  <c:v>0.42945651649014999</c:v>
                </c:pt>
                <c:pt idx="1810" formatCode="0.00">
                  <c:v>0.42942403428313503</c:v>
                </c:pt>
                <c:pt idx="1811" formatCode="0.00">
                  <c:v>0.42979112459412822</c:v>
                </c:pt>
                <c:pt idx="1812" formatCode="0.00">
                  <c:v>0.42983575913705874</c:v>
                </c:pt>
                <c:pt idx="1813" formatCode="0.00">
                  <c:v>0.42984513344998687</c:v>
                </c:pt>
                <c:pt idx="1814" formatCode="0.00">
                  <c:v>0.43009876635124034</c:v>
                </c:pt>
                <c:pt idx="1815" formatCode="0.00">
                  <c:v>0.43233584468103237</c:v>
                </c:pt>
                <c:pt idx="1816" formatCode="0.00">
                  <c:v>0.43180180191706063</c:v>
                </c:pt>
                <c:pt idx="1817" formatCode="0.00">
                  <c:v>0.43164179231823041</c:v>
                </c:pt>
                <c:pt idx="1818" formatCode="0.00">
                  <c:v>0.43201165150765158</c:v>
                </c:pt>
                <c:pt idx="1819" formatCode="0.00">
                  <c:v>0.43184453078963581</c:v>
                </c:pt>
                <c:pt idx="1820" formatCode="0.00">
                  <c:v>0.43138011602539972</c:v>
                </c:pt>
                <c:pt idx="1821" formatCode="0.00">
                  <c:v>0.43079251066569485</c:v>
                </c:pt>
                <c:pt idx="1822" formatCode="0.00">
                  <c:v>0.43062173180495522</c:v>
                </c:pt>
                <c:pt idx="1823" formatCode="0.00">
                  <c:v>0.43130685198244284</c:v>
                </c:pt>
                <c:pt idx="1824" formatCode="0.00">
                  <c:v>0.43046861384729712</c:v>
                </c:pt>
                <c:pt idx="1825" formatCode="0.00">
                  <c:v>0.43054987836715952</c:v>
                </c:pt>
                <c:pt idx="1826" formatCode="0.00">
                  <c:v>0.43112930785846243</c:v>
                </c:pt>
                <c:pt idx="1827" formatCode="0.00">
                  <c:v>0.43177867238602424</c:v>
                </c:pt>
                <c:pt idx="1828" formatCode="0.00">
                  <c:v>0.43307963732609905</c:v>
                </c:pt>
                <c:pt idx="1829" formatCode="0.00">
                  <c:v>0.43413539056973471</c:v>
                </c:pt>
                <c:pt idx="1830" formatCode="0.00">
                  <c:v>0.43321263921212649</c:v>
                </c:pt>
                <c:pt idx="1831" formatCode="0.00">
                  <c:v>0.43367856749625838</c:v>
                </c:pt>
                <c:pt idx="1832" formatCode="0.00">
                  <c:v>0.4333819262820463</c:v>
                </c:pt>
                <c:pt idx="1833" formatCode="0.00">
                  <c:v>0.43335672013893711</c:v>
                </c:pt>
                <c:pt idx="1834" formatCode="0.00">
                  <c:v>0.43243063294909306</c:v>
                </c:pt>
                <c:pt idx="1835" formatCode="0.00">
                  <c:v>0.43258994412679475</c:v>
                </c:pt>
                <c:pt idx="1836" formatCode="0.00">
                  <c:v>0.43258257886192603</c:v>
                </c:pt>
                <c:pt idx="1837" formatCode="0.00">
                  <c:v>0.43280951882893554</c:v>
                </c:pt>
                <c:pt idx="1838" formatCode="0.00">
                  <c:v>0.43359323738340078</c:v>
                </c:pt>
                <c:pt idx="1839" formatCode="0.00">
                  <c:v>0.4338911056290618</c:v>
                </c:pt>
                <c:pt idx="1840" formatCode="0.00">
                  <c:v>0.43389656212745437</c:v>
                </c:pt>
                <c:pt idx="1841" formatCode="0.00">
                  <c:v>0.43389921587476665</c:v>
                </c:pt>
                <c:pt idx="1842" formatCode="0.00">
                  <c:v>0.43372859373954636</c:v>
                </c:pt>
                <c:pt idx="1843" formatCode="0.00">
                  <c:v>0.43405785638594163</c:v>
                </c:pt>
                <c:pt idx="1844" formatCode="0.00">
                  <c:v>0.43528933031461559</c:v>
                </c:pt>
                <c:pt idx="1845" formatCode="0.00">
                  <c:v>0.43648074462220937</c:v>
                </c:pt>
                <c:pt idx="1846" formatCode="0.00">
                  <c:v>0.43639500067663928</c:v>
                </c:pt>
                <c:pt idx="1847" formatCode="0.00">
                  <c:v>0.43632680323079298</c:v>
                </c:pt>
                <c:pt idx="1848" formatCode="0.00">
                  <c:v>0.43660879177560108</c:v>
                </c:pt>
                <c:pt idx="1849" formatCode="0.00">
                  <c:v>0.43611216886417759</c:v>
                </c:pt>
                <c:pt idx="1850" formatCode="0.00">
                  <c:v>0.43594293468422662</c:v>
                </c:pt>
                <c:pt idx="1851" formatCode="0.00">
                  <c:v>0.43729346411386028</c:v>
                </c:pt>
                <c:pt idx="1852" formatCode="0.00">
                  <c:v>0.43725177249491587</c:v>
                </c:pt>
                <c:pt idx="1853" formatCode="0.00">
                  <c:v>0.43794638154417637</c:v>
                </c:pt>
                <c:pt idx="1854" formatCode="0.00">
                  <c:v>0.43990668469902261</c:v>
                </c:pt>
                <c:pt idx="1855" formatCode="0.00">
                  <c:v>0.44020674808676014</c:v>
                </c:pt>
                <c:pt idx="1856" formatCode="0.00">
                  <c:v>0.4420028840793605</c:v>
                </c:pt>
                <c:pt idx="1857" formatCode="0.00">
                  <c:v>0.44226731886313325</c:v>
                </c:pt>
                <c:pt idx="1858" formatCode="0.00">
                  <c:v>0.44196426088144941</c:v>
                </c:pt>
                <c:pt idx="1859" formatCode="0.00">
                  <c:v>0.44185786905007429</c:v>
                </c:pt>
                <c:pt idx="1860" formatCode="0.00">
                  <c:v>0.44253739452987456</c:v>
                </c:pt>
                <c:pt idx="1861" formatCode="0.00">
                  <c:v>0.44203907269863801</c:v>
                </c:pt>
                <c:pt idx="1862" formatCode="0.00">
                  <c:v>0.44074583218039698</c:v>
                </c:pt>
                <c:pt idx="1863" formatCode="0.00">
                  <c:v>0.44085563370064018</c:v>
                </c:pt>
                <c:pt idx="1864" formatCode="0.00">
                  <c:v>0.44300579463364942</c:v>
                </c:pt>
                <c:pt idx="1865" formatCode="0.00">
                  <c:v>0.44624883464765841</c:v>
                </c:pt>
                <c:pt idx="1866" formatCode="0.00">
                  <c:v>0.44521047599003338</c:v>
                </c:pt>
                <c:pt idx="1867" formatCode="0.00">
                  <c:v>0.44505030224803122</c:v>
                </c:pt>
                <c:pt idx="1868" formatCode="0.00">
                  <c:v>0.44625948183414804</c:v>
                </c:pt>
                <c:pt idx="1869" formatCode="0.00">
                  <c:v>0.44422478843339125</c:v>
                </c:pt>
                <c:pt idx="1870" formatCode="0.00">
                  <c:v>0.44366687839421265</c:v>
                </c:pt>
                <c:pt idx="1871" formatCode="0.00">
                  <c:v>0.44455533924536644</c:v>
                </c:pt>
                <c:pt idx="1872" formatCode="0.00">
                  <c:v>0.44451996080242523</c:v>
                </c:pt>
                <c:pt idx="1873" formatCode="0.00">
                  <c:v>0.44217111929642366</c:v>
                </c:pt>
                <c:pt idx="1874" formatCode="0.00">
                  <c:v>0.44177258892568844</c:v>
                </c:pt>
                <c:pt idx="1875" formatCode="0.00">
                  <c:v>0.44177269290413906</c:v>
                </c:pt>
                <c:pt idx="1876" formatCode="0.00">
                  <c:v>0.44346697077156078</c:v>
                </c:pt>
                <c:pt idx="1877" formatCode="0.00">
                  <c:v>0.44365875780567626</c:v>
                </c:pt>
                <c:pt idx="1878" formatCode="0.00">
                  <c:v>0.44302623944241948</c:v>
                </c:pt>
                <c:pt idx="1879" formatCode="0.00">
                  <c:v>0.44298277192473834</c:v>
                </c:pt>
              </c:numCache>
            </c:numRef>
          </c:val>
          <c:smooth val="0"/>
        </c:ser>
        <c:ser>
          <c:idx val="1"/>
          <c:order val="2"/>
          <c:tx>
            <c:strRef>
              <c:f>'fixed target'!$M$18</c:f>
              <c:strCache>
                <c:ptCount val="1"/>
                <c:pt idx="0">
                  <c:v>60% reduction target</c:v>
                </c:pt>
              </c:strCache>
            </c:strRef>
          </c:tx>
          <c:marker>
            <c:symbol val="none"/>
          </c:marker>
          <c:cat>
            <c:numRef>
              <c:f>'fixed target'!$B$19:$B$1898</c:f>
              <c:numCache>
                <c:formatCode>m/d/yyyy</c:formatCode>
                <c:ptCount val="1880"/>
                <c:pt idx="0">
                  <c:v>40987</c:v>
                </c:pt>
                <c:pt idx="1">
                  <c:v>40988</c:v>
                </c:pt>
                <c:pt idx="2">
                  <c:v>40989</c:v>
                </c:pt>
                <c:pt idx="3">
                  <c:v>40990</c:v>
                </c:pt>
                <c:pt idx="4">
                  <c:v>40991</c:v>
                </c:pt>
                <c:pt idx="5">
                  <c:v>40994</c:v>
                </c:pt>
                <c:pt idx="6">
                  <c:v>40995</c:v>
                </c:pt>
                <c:pt idx="7">
                  <c:v>40996</c:v>
                </c:pt>
                <c:pt idx="8">
                  <c:v>40997</c:v>
                </c:pt>
                <c:pt idx="9">
                  <c:v>40998</c:v>
                </c:pt>
                <c:pt idx="10">
                  <c:v>41001</c:v>
                </c:pt>
                <c:pt idx="11">
                  <c:v>41002</c:v>
                </c:pt>
                <c:pt idx="12">
                  <c:v>41003</c:v>
                </c:pt>
                <c:pt idx="13">
                  <c:v>41004</c:v>
                </c:pt>
                <c:pt idx="14">
                  <c:v>41005</c:v>
                </c:pt>
                <c:pt idx="15">
                  <c:v>41008</c:v>
                </c:pt>
                <c:pt idx="16">
                  <c:v>41009</c:v>
                </c:pt>
                <c:pt idx="17">
                  <c:v>41010</c:v>
                </c:pt>
                <c:pt idx="18">
                  <c:v>41011</c:v>
                </c:pt>
                <c:pt idx="19">
                  <c:v>41012</c:v>
                </c:pt>
                <c:pt idx="20">
                  <c:v>41015</c:v>
                </c:pt>
                <c:pt idx="21">
                  <c:v>41016</c:v>
                </c:pt>
                <c:pt idx="22">
                  <c:v>41017</c:v>
                </c:pt>
                <c:pt idx="23">
                  <c:v>41018</c:v>
                </c:pt>
                <c:pt idx="24">
                  <c:v>41019</c:v>
                </c:pt>
                <c:pt idx="25">
                  <c:v>41022</c:v>
                </c:pt>
                <c:pt idx="26">
                  <c:v>41023</c:v>
                </c:pt>
                <c:pt idx="27">
                  <c:v>41024</c:v>
                </c:pt>
                <c:pt idx="28">
                  <c:v>41025</c:v>
                </c:pt>
                <c:pt idx="29">
                  <c:v>41026</c:v>
                </c:pt>
                <c:pt idx="30">
                  <c:v>41029</c:v>
                </c:pt>
                <c:pt idx="31">
                  <c:v>41030</c:v>
                </c:pt>
                <c:pt idx="32">
                  <c:v>41031</c:v>
                </c:pt>
                <c:pt idx="33">
                  <c:v>41032</c:v>
                </c:pt>
                <c:pt idx="34">
                  <c:v>41033</c:v>
                </c:pt>
                <c:pt idx="35">
                  <c:v>41036</c:v>
                </c:pt>
                <c:pt idx="36">
                  <c:v>41037</c:v>
                </c:pt>
                <c:pt idx="37">
                  <c:v>41038</c:v>
                </c:pt>
                <c:pt idx="38">
                  <c:v>41039</c:v>
                </c:pt>
                <c:pt idx="39">
                  <c:v>41040</c:v>
                </c:pt>
                <c:pt idx="40">
                  <c:v>41043</c:v>
                </c:pt>
                <c:pt idx="41">
                  <c:v>41044</c:v>
                </c:pt>
                <c:pt idx="42">
                  <c:v>41045</c:v>
                </c:pt>
                <c:pt idx="43">
                  <c:v>41046</c:v>
                </c:pt>
                <c:pt idx="44">
                  <c:v>41047</c:v>
                </c:pt>
                <c:pt idx="45">
                  <c:v>41050</c:v>
                </c:pt>
                <c:pt idx="46">
                  <c:v>41051</c:v>
                </c:pt>
                <c:pt idx="47">
                  <c:v>41052</c:v>
                </c:pt>
                <c:pt idx="48">
                  <c:v>41053</c:v>
                </c:pt>
                <c:pt idx="49">
                  <c:v>41054</c:v>
                </c:pt>
                <c:pt idx="50">
                  <c:v>41057</c:v>
                </c:pt>
                <c:pt idx="51">
                  <c:v>41058</c:v>
                </c:pt>
                <c:pt idx="52">
                  <c:v>41059</c:v>
                </c:pt>
                <c:pt idx="53">
                  <c:v>41060</c:v>
                </c:pt>
                <c:pt idx="54">
                  <c:v>41061</c:v>
                </c:pt>
                <c:pt idx="55">
                  <c:v>41064</c:v>
                </c:pt>
                <c:pt idx="56">
                  <c:v>41065</c:v>
                </c:pt>
                <c:pt idx="57">
                  <c:v>41066</c:v>
                </c:pt>
                <c:pt idx="58">
                  <c:v>41067</c:v>
                </c:pt>
                <c:pt idx="59">
                  <c:v>41068</c:v>
                </c:pt>
                <c:pt idx="60">
                  <c:v>41071</c:v>
                </c:pt>
                <c:pt idx="61">
                  <c:v>41072</c:v>
                </c:pt>
                <c:pt idx="62">
                  <c:v>41073</c:v>
                </c:pt>
                <c:pt idx="63">
                  <c:v>41074</c:v>
                </c:pt>
                <c:pt idx="64">
                  <c:v>41075</c:v>
                </c:pt>
                <c:pt idx="65">
                  <c:v>41078</c:v>
                </c:pt>
                <c:pt idx="66">
                  <c:v>41079</c:v>
                </c:pt>
                <c:pt idx="67">
                  <c:v>41080</c:v>
                </c:pt>
                <c:pt idx="68">
                  <c:v>41081</c:v>
                </c:pt>
                <c:pt idx="69">
                  <c:v>41082</c:v>
                </c:pt>
                <c:pt idx="70">
                  <c:v>41085</c:v>
                </c:pt>
                <c:pt idx="71">
                  <c:v>41086</c:v>
                </c:pt>
                <c:pt idx="72">
                  <c:v>41087</c:v>
                </c:pt>
                <c:pt idx="73">
                  <c:v>41088</c:v>
                </c:pt>
                <c:pt idx="74">
                  <c:v>41089</c:v>
                </c:pt>
                <c:pt idx="75">
                  <c:v>41092</c:v>
                </c:pt>
                <c:pt idx="76">
                  <c:v>41093</c:v>
                </c:pt>
                <c:pt idx="77">
                  <c:v>41094</c:v>
                </c:pt>
                <c:pt idx="78">
                  <c:v>41095</c:v>
                </c:pt>
                <c:pt idx="79">
                  <c:v>41096</c:v>
                </c:pt>
                <c:pt idx="80">
                  <c:v>41099</c:v>
                </c:pt>
                <c:pt idx="81">
                  <c:v>41100</c:v>
                </c:pt>
                <c:pt idx="82">
                  <c:v>41101</c:v>
                </c:pt>
                <c:pt idx="83">
                  <c:v>41102</c:v>
                </c:pt>
                <c:pt idx="84">
                  <c:v>41103</c:v>
                </c:pt>
                <c:pt idx="85">
                  <c:v>41106</c:v>
                </c:pt>
                <c:pt idx="86">
                  <c:v>41107</c:v>
                </c:pt>
                <c:pt idx="87">
                  <c:v>41108</c:v>
                </c:pt>
                <c:pt idx="88">
                  <c:v>41109</c:v>
                </c:pt>
                <c:pt idx="89">
                  <c:v>41110</c:v>
                </c:pt>
                <c:pt idx="90">
                  <c:v>41113</c:v>
                </c:pt>
                <c:pt idx="91">
                  <c:v>41114</c:v>
                </c:pt>
                <c:pt idx="92">
                  <c:v>41115</c:v>
                </c:pt>
                <c:pt idx="93">
                  <c:v>41116</c:v>
                </c:pt>
                <c:pt idx="94">
                  <c:v>41117</c:v>
                </c:pt>
                <c:pt idx="95">
                  <c:v>41120</c:v>
                </c:pt>
                <c:pt idx="96">
                  <c:v>41121</c:v>
                </c:pt>
                <c:pt idx="97">
                  <c:v>41122</c:v>
                </c:pt>
                <c:pt idx="98">
                  <c:v>41123</c:v>
                </c:pt>
                <c:pt idx="99">
                  <c:v>41124</c:v>
                </c:pt>
                <c:pt idx="100">
                  <c:v>41127</c:v>
                </c:pt>
                <c:pt idx="101">
                  <c:v>41128</c:v>
                </c:pt>
                <c:pt idx="102">
                  <c:v>41129</c:v>
                </c:pt>
                <c:pt idx="103">
                  <c:v>41130</c:v>
                </c:pt>
                <c:pt idx="104">
                  <c:v>41131</c:v>
                </c:pt>
                <c:pt idx="105">
                  <c:v>41134</c:v>
                </c:pt>
                <c:pt idx="106">
                  <c:v>41135</c:v>
                </c:pt>
                <c:pt idx="107">
                  <c:v>41136</c:v>
                </c:pt>
                <c:pt idx="108">
                  <c:v>41137</c:v>
                </c:pt>
                <c:pt idx="109">
                  <c:v>41138</c:v>
                </c:pt>
                <c:pt idx="110">
                  <c:v>41141</c:v>
                </c:pt>
                <c:pt idx="111">
                  <c:v>41142</c:v>
                </c:pt>
                <c:pt idx="112">
                  <c:v>41143</c:v>
                </c:pt>
                <c:pt idx="113">
                  <c:v>41144</c:v>
                </c:pt>
                <c:pt idx="114">
                  <c:v>41145</c:v>
                </c:pt>
                <c:pt idx="115">
                  <c:v>41148</c:v>
                </c:pt>
                <c:pt idx="116">
                  <c:v>41149</c:v>
                </c:pt>
                <c:pt idx="117">
                  <c:v>41150</c:v>
                </c:pt>
                <c:pt idx="118">
                  <c:v>41151</c:v>
                </c:pt>
                <c:pt idx="119">
                  <c:v>41152</c:v>
                </c:pt>
                <c:pt idx="120">
                  <c:v>41155</c:v>
                </c:pt>
                <c:pt idx="121">
                  <c:v>41156</c:v>
                </c:pt>
                <c:pt idx="122">
                  <c:v>41157</c:v>
                </c:pt>
                <c:pt idx="123">
                  <c:v>41158</c:v>
                </c:pt>
                <c:pt idx="124">
                  <c:v>41159</c:v>
                </c:pt>
                <c:pt idx="125">
                  <c:v>41162</c:v>
                </c:pt>
                <c:pt idx="126">
                  <c:v>41163</c:v>
                </c:pt>
                <c:pt idx="127">
                  <c:v>41164</c:v>
                </c:pt>
                <c:pt idx="128">
                  <c:v>41165</c:v>
                </c:pt>
                <c:pt idx="129">
                  <c:v>41166</c:v>
                </c:pt>
                <c:pt idx="130">
                  <c:v>41169</c:v>
                </c:pt>
                <c:pt idx="131">
                  <c:v>41170</c:v>
                </c:pt>
                <c:pt idx="132">
                  <c:v>41171</c:v>
                </c:pt>
                <c:pt idx="133">
                  <c:v>41172</c:v>
                </c:pt>
                <c:pt idx="134">
                  <c:v>41173</c:v>
                </c:pt>
                <c:pt idx="135">
                  <c:v>41176</c:v>
                </c:pt>
                <c:pt idx="136">
                  <c:v>41177</c:v>
                </c:pt>
                <c:pt idx="137">
                  <c:v>41178</c:v>
                </c:pt>
                <c:pt idx="138">
                  <c:v>41179</c:v>
                </c:pt>
                <c:pt idx="139">
                  <c:v>41180</c:v>
                </c:pt>
                <c:pt idx="140">
                  <c:v>41183</c:v>
                </c:pt>
                <c:pt idx="141">
                  <c:v>41184</c:v>
                </c:pt>
                <c:pt idx="142">
                  <c:v>41185</c:v>
                </c:pt>
                <c:pt idx="143">
                  <c:v>41186</c:v>
                </c:pt>
                <c:pt idx="144">
                  <c:v>41187</c:v>
                </c:pt>
                <c:pt idx="145">
                  <c:v>41190</c:v>
                </c:pt>
                <c:pt idx="146">
                  <c:v>41191</c:v>
                </c:pt>
                <c:pt idx="147">
                  <c:v>41192</c:v>
                </c:pt>
                <c:pt idx="148">
                  <c:v>41193</c:v>
                </c:pt>
                <c:pt idx="149">
                  <c:v>41194</c:v>
                </c:pt>
                <c:pt idx="150">
                  <c:v>41197</c:v>
                </c:pt>
                <c:pt idx="151">
                  <c:v>41198</c:v>
                </c:pt>
                <c:pt idx="152">
                  <c:v>41199</c:v>
                </c:pt>
                <c:pt idx="153">
                  <c:v>41200</c:v>
                </c:pt>
                <c:pt idx="154">
                  <c:v>41201</c:v>
                </c:pt>
                <c:pt idx="155">
                  <c:v>41204</c:v>
                </c:pt>
                <c:pt idx="156">
                  <c:v>41205</c:v>
                </c:pt>
                <c:pt idx="157">
                  <c:v>41206</c:v>
                </c:pt>
                <c:pt idx="158">
                  <c:v>41207</c:v>
                </c:pt>
                <c:pt idx="159">
                  <c:v>41208</c:v>
                </c:pt>
                <c:pt idx="160">
                  <c:v>41211</c:v>
                </c:pt>
                <c:pt idx="161">
                  <c:v>41212</c:v>
                </c:pt>
                <c:pt idx="162">
                  <c:v>41213</c:v>
                </c:pt>
                <c:pt idx="163">
                  <c:v>41214</c:v>
                </c:pt>
                <c:pt idx="164">
                  <c:v>41215</c:v>
                </c:pt>
                <c:pt idx="165">
                  <c:v>41218</c:v>
                </c:pt>
                <c:pt idx="166">
                  <c:v>41219</c:v>
                </c:pt>
                <c:pt idx="167">
                  <c:v>41220</c:v>
                </c:pt>
                <c:pt idx="168">
                  <c:v>41221</c:v>
                </c:pt>
                <c:pt idx="169">
                  <c:v>41222</c:v>
                </c:pt>
                <c:pt idx="170">
                  <c:v>41225</c:v>
                </c:pt>
                <c:pt idx="171">
                  <c:v>41226</c:v>
                </c:pt>
                <c:pt idx="172">
                  <c:v>41227</c:v>
                </c:pt>
                <c:pt idx="173">
                  <c:v>41228</c:v>
                </c:pt>
                <c:pt idx="174">
                  <c:v>41229</c:v>
                </c:pt>
                <c:pt idx="175">
                  <c:v>41232</c:v>
                </c:pt>
                <c:pt idx="176">
                  <c:v>41233</c:v>
                </c:pt>
                <c:pt idx="177">
                  <c:v>41234</c:v>
                </c:pt>
                <c:pt idx="178">
                  <c:v>41235</c:v>
                </c:pt>
                <c:pt idx="179">
                  <c:v>41236</c:v>
                </c:pt>
                <c:pt idx="180">
                  <c:v>41239</c:v>
                </c:pt>
                <c:pt idx="181">
                  <c:v>41240</c:v>
                </c:pt>
                <c:pt idx="182">
                  <c:v>41241</c:v>
                </c:pt>
                <c:pt idx="183">
                  <c:v>41242</c:v>
                </c:pt>
                <c:pt idx="184">
                  <c:v>41243</c:v>
                </c:pt>
                <c:pt idx="185">
                  <c:v>41246</c:v>
                </c:pt>
                <c:pt idx="186">
                  <c:v>41247</c:v>
                </c:pt>
                <c:pt idx="187">
                  <c:v>41248</c:v>
                </c:pt>
                <c:pt idx="188">
                  <c:v>41249</c:v>
                </c:pt>
                <c:pt idx="189">
                  <c:v>41250</c:v>
                </c:pt>
                <c:pt idx="190">
                  <c:v>41253</c:v>
                </c:pt>
                <c:pt idx="191">
                  <c:v>41254</c:v>
                </c:pt>
                <c:pt idx="192">
                  <c:v>41255</c:v>
                </c:pt>
                <c:pt idx="193">
                  <c:v>41256</c:v>
                </c:pt>
                <c:pt idx="194">
                  <c:v>41257</c:v>
                </c:pt>
                <c:pt idx="195">
                  <c:v>41260</c:v>
                </c:pt>
                <c:pt idx="196">
                  <c:v>41261</c:v>
                </c:pt>
                <c:pt idx="197">
                  <c:v>41262</c:v>
                </c:pt>
                <c:pt idx="198">
                  <c:v>41263</c:v>
                </c:pt>
                <c:pt idx="199">
                  <c:v>41264</c:v>
                </c:pt>
                <c:pt idx="200">
                  <c:v>41267</c:v>
                </c:pt>
                <c:pt idx="201">
                  <c:v>41268</c:v>
                </c:pt>
                <c:pt idx="202">
                  <c:v>41269</c:v>
                </c:pt>
                <c:pt idx="203">
                  <c:v>41270</c:v>
                </c:pt>
                <c:pt idx="204">
                  <c:v>41271</c:v>
                </c:pt>
                <c:pt idx="205">
                  <c:v>41274</c:v>
                </c:pt>
                <c:pt idx="206">
                  <c:v>41275</c:v>
                </c:pt>
                <c:pt idx="207">
                  <c:v>41276</c:v>
                </c:pt>
                <c:pt idx="208">
                  <c:v>41277</c:v>
                </c:pt>
                <c:pt idx="209">
                  <c:v>41278</c:v>
                </c:pt>
                <c:pt idx="210">
                  <c:v>41281</c:v>
                </c:pt>
                <c:pt idx="211">
                  <c:v>41282</c:v>
                </c:pt>
                <c:pt idx="212">
                  <c:v>41283</c:v>
                </c:pt>
                <c:pt idx="213">
                  <c:v>41284</c:v>
                </c:pt>
                <c:pt idx="214">
                  <c:v>41285</c:v>
                </c:pt>
                <c:pt idx="215">
                  <c:v>41288</c:v>
                </c:pt>
                <c:pt idx="216">
                  <c:v>41289</c:v>
                </c:pt>
                <c:pt idx="217">
                  <c:v>41290</c:v>
                </c:pt>
                <c:pt idx="218">
                  <c:v>41291</c:v>
                </c:pt>
                <c:pt idx="219">
                  <c:v>41292</c:v>
                </c:pt>
                <c:pt idx="220">
                  <c:v>41295</c:v>
                </c:pt>
                <c:pt idx="221">
                  <c:v>41296</c:v>
                </c:pt>
                <c:pt idx="222">
                  <c:v>41297</c:v>
                </c:pt>
                <c:pt idx="223">
                  <c:v>41298</c:v>
                </c:pt>
                <c:pt idx="224">
                  <c:v>41299</c:v>
                </c:pt>
                <c:pt idx="225">
                  <c:v>41302</c:v>
                </c:pt>
                <c:pt idx="226">
                  <c:v>41303</c:v>
                </c:pt>
                <c:pt idx="227">
                  <c:v>41304</c:v>
                </c:pt>
                <c:pt idx="228">
                  <c:v>41305</c:v>
                </c:pt>
                <c:pt idx="229">
                  <c:v>41306</c:v>
                </c:pt>
                <c:pt idx="230">
                  <c:v>41309</c:v>
                </c:pt>
                <c:pt idx="231">
                  <c:v>41310</c:v>
                </c:pt>
                <c:pt idx="232">
                  <c:v>41311</c:v>
                </c:pt>
                <c:pt idx="233">
                  <c:v>41312</c:v>
                </c:pt>
                <c:pt idx="234">
                  <c:v>41313</c:v>
                </c:pt>
                <c:pt idx="235">
                  <c:v>41316</c:v>
                </c:pt>
                <c:pt idx="236">
                  <c:v>41317</c:v>
                </c:pt>
                <c:pt idx="237">
                  <c:v>41318</c:v>
                </c:pt>
                <c:pt idx="238">
                  <c:v>41319</c:v>
                </c:pt>
                <c:pt idx="239">
                  <c:v>41320</c:v>
                </c:pt>
                <c:pt idx="240">
                  <c:v>41323</c:v>
                </c:pt>
                <c:pt idx="241">
                  <c:v>41324</c:v>
                </c:pt>
                <c:pt idx="242">
                  <c:v>41325</c:v>
                </c:pt>
                <c:pt idx="243">
                  <c:v>41326</c:v>
                </c:pt>
                <c:pt idx="244">
                  <c:v>41327</c:v>
                </c:pt>
                <c:pt idx="245">
                  <c:v>41330</c:v>
                </c:pt>
                <c:pt idx="246">
                  <c:v>41331</c:v>
                </c:pt>
                <c:pt idx="247">
                  <c:v>41332</c:v>
                </c:pt>
                <c:pt idx="248">
                  <c:v>41333</c:v>
                </c:pt>
                <c:pt idx="249">
                  <c:v>41334</c:v>
                </c:pt>
                <c:pt idx="250">
                  <c:v>41337</c:v>
                </c:pt>
                <c:pt idx="251">
                  <c:v>41338</c:v>
                </c:pt>
                <c:pt idx="252">
                  <c:v>41339</c:v>
                </c:pt>
                <c:pt idx="253">
                  <c:v>41340</c:v>
                </c:pt>
                <c:pt idx="254">
                  <c:v>41341</c:v>
                </c:pt>
                <c:pt idx="255">
                  <c:v>41344</c:v>
                </c:pt>
                <c:pt idx="256">
                  <c:v>41345</c:v>
                </c:pt>
                <c:pt idx="257">
                  <c:v>41346</c:v>
                </c:pt>
                <c:pt idx="258">
                  <c:v>41347</c:v>
                </c:pt>
                <c:pt idx="259">
                  <c:v>41348</c:v>
                </c:pt>
                <c:pt idx="260">
                  <c:v>41351</c:v>
                </c:pt>
                <c:pt idx="261">
                  <c:v>41352</c:v>
                </c:pt>
                <c:pt idx="262">
                  <c:v>41353</c:v>
                </c:pt>
                <c:pt idx="263">
                  <c:v>41354</c:v>
                </c:pt>
                <c:pt idx="264">
                  <c:v>41355</c:v>
                </c:pt>
                <c:pt idx="265">
                  <c:v>41358</c:v>
                </c:pt>
                <c:pt idx="266">
                  <c:v>41359</c:v>
                </c:pt>
                <c:pt idx="267">
                  <c:v>41360</c:v>
                </c:pt>
                <c:pt idx="268">
                  <c:v>41361</c:v>
                </c:pt>
                <c:pt idx="269">
                  <c:v>41362</c:v>
                </c:pt>
                <c:pt idx="270">
                  <c:v>41365</c:v>
                </c:pt>
                <c:pt idx="271">
                  <c:v>41366</c:v>
                </c:pt>
                <c:pt idx="272">
                  <c:v>41367</c:v>
                </c:pt>
                <c:pt idx="273">
                  <c:v>41368</c:v>
                </c:pt>
                <c:pt idx="274">
                  <c:v>41369</c:v>
                </c:pt>
                <c:pt idx="275">
                  <c:v>41372</c:v>
                </c:pt>
                <c:pt idx="276">
                  <c:v>41373</c:v>
                </c:pt>
                <c:pt idx="277">
                  <c:v>41374</c:v>
                </c:pt>
                <c:pt idx="278">
                  <c:v>41375</c:v>
                </c:pt>
                <c:pt idx="279">
                  <c:v>41376</c:v>
                </c:pt>
                <c:pt idx="280">
                  <c:v>41379</c:v>
                </c:pt>
                <c:pt idx="281">
                  <c:v>41380</c:v>
                </c:pt>
                <c:pt idx="282">
                  <c:v>41381</c:v>
                </c:pt>
                <c:pt idx="283">
                  <c:v>41382</c:v>
                </c:pt>
                <c:pt idx="284">
                  <c:v>41383</c:v>
                </c:pt>
                <c:pt idx="285">
                  <c:v>41386</c:v>
                </c:pt>
                <c:pt idx="286">
                  <c:v>41387</c:v>
                </c:pt>
                <c:pt idx="287">
                  <c:v>41388</c:v>
                </c:pt>
                <c:pt idx="288">
                  <c:v>41389</c:v>
                </c:pt>
                <c:pt idx="289">
                  <c:v>41390</c:v>
                </c:pt>
                <c:pt idx="290">
                  <c:v>41393</c:v>
                </c:pt>
                <c:pt idx="291">
                  <c:v>41394</c:v>
                </c:pt>
                <c:pt idx="292">
                  <c:v>41395</c:v>
                </c:pt>
                <c:pt idx="293">
                  <c:v>41396</c:v>
                </c:pt>
                <c:pt idx="294">
                  <c:v>41397</c:v>
                </c:pt>
                <c:pt idx="295">
                  <c:v>41400</c:v>
                </c:pt>
                <c:pt idx="296">
                  <c:v>41401</c:v>
                </c:pt>
                <c:pt idx="297">
                  <c:v>41402</c:v>
                </c:pt>
                <c:pt idx="298">
                  <c:v>41403</c:v>
                </c:pt>
                <c:pt idx="299">
                  <c:v>41404</c:v>
                </c:pt>
                <c:pt idx="300">
                  <c:v>41407</c:v>
                </c:pt>
                <c:pt idx="301">
                  <c:v>41408</c:v>
                </c:pt>
                <c:pt idx="302">
                  <c:v>41409</c:v>
                </c:pt>
                <c:pt idx="303">
                  <c:v>41410</c:v>
                </c:pt>
                <c:pt idx="304">
                  <c:v>41411</c:v>
                </c:pt>
                <c:pt idx="305">
                  <c:v>41414</c:v>
                </c:pt>
                <c:pt idx="306">
                  <c:v>41415</c:v>
                </c:pt>
                <c:pt idx="307">
                  <c:v>41416</c:v>
                </c:pt>
                <c:pt idx="308">
                  <c:v>41417</c:v>
                </c:pt>
                <c:pt idx="309">
                  <c:v>41418</c:v>
                </c:pt>
                <c:pt idx="310">
                  <c:v>41421</c:v>
                </c:pt>
                <c:pt idx="311">
                  <c:v>41422</c:v>
                </c:pt>
                <c:pt idx="312">
                  <c:v>41423</c:v>
                </c:pt>
                <c:pt idx="313">
                  <c:v>41424</c:v>
                </c:pt>
                <c:pt idx="314">
                  <c:v>41425</c:v>
                </c:pt>
                <c:pt idx="315">
                  <c:v>41428</c:v>
                </c:pt>
                <c:pt idx="316">
                  <c:v>41429</c:v>
                </c:pt>
                <c:pt idx="317">
                  <c:v>41430</c:v>
                </c:pt>
                <c:pt idx="318">
                  <c:v>41431</c:v>
                </c:pt>
                <c:pt idx="319">
                  <c:v>41432</c:v>
                </c:pt>
                <c:pt idx="320">
                  <c:v>41435</c:v>
                </c:pt>
                <c:pt idx="321">
                  <c:v>41436</c:v>
                </c:pt>
                <c:pt idx="322">
                  <c:v>41437</c:v>
                </c:pt>
                <c:pt idx="323">
                  <c:v>41438</c:v>
                </c:pt>
                <c:pt idx="324">
                  <c:v>41439</c:v>
                </c:pt>
                <c:pt idx="325">
                  <c:v>41442</c:v>
                </c:pt>
                <c:pt idx="326">
                  <c:v>41443</c:v>
                </c:pt>
                <c:pt idx="327">
                  <c:v>41444</c:v>
                </c:pt>
                <c:pt idx="328">
                  <c:v>41445</c:v>
                </c:pt>
                <c:pt idx="329">
                  <c:v>41446</c:v>
                </c:pt>
                <c:pt idx="330">
                  <c:v>41449</c:v>
                </c:pt>
                <c:pt idx="331">
                  <c:v>41450</c:v>
                </c:pt>
                <c:pt idx="332">
                  <c:v>41451</c:v>
                </c:pt>
                <c:pt idx="333">
                  <c:v>41452</c:v>
                </c:pt>
                <c:pt idx="334">
                  <c:v>41453</c:v>
                </c:pt>
                <c:pt idx="335">
                  <c:v>41456</c:v>
                </c:pt>
                <c:pt idx="336">
                  <c:v>41457</c:v>
                </c:pt>
                <c:pt idx="337">
                  <c:v>41458</c:v>
                </c:pt>
                <c:pt idx="338">
                  <c:v>41459</c:v>
                </c:pt>
                <c:pt idx="339">
                  <c:v>41460</c:v>
                </c:pt>
                <c:pt idx="340">
                  <c:v>41463</c:v>
                </c:pt>
                <c:pt idx="341">
                  <c:v>41464</c:v>
                </c:pt>
                <c:pt idx="342">
                  <c:v>41465</c:v>
                </c:pt>
                <c:pt idx="343">
                  <c:v>41466</c:v>
                </c:pt>
                <c:pt idx="344">
                  <c:v>41467</c:v>
                </c:pt>
                <c:pt idx="345">
                  <c:v>41470</c:v>
                </c:pt>
                <c:pt idx="346">
                  <c:v>41471</c:v>
                </c:pt>
                <c:pt idx="347">
                  <c:v>41472</c:v>
                </c:pt>
                <c:pt idx="348">
                  <c:v>41473</c:v>
                </c:pt>
                <c:pt idx="349">
                  <c:v>41474</c:v>
                </c:pt>
                <c:pt idx="350">
                  <c:v>41477</c:v>
                </c:pt>
                <c:pt idx="351">
                  <c:v>41478</c:v>
                </c:pt>
                <c:pt idx="352">
                  <c:v>41479</c:v>
                </c:pt>
                <c:pt idx="353">
                  <c:v>41480</c:v>
                </c:pt>
                <c:pt idx="354">
                  <c:v>41481</c:v>
                </c:pt>
                <c:pt idx="355">
                  <c:v>41484</c:v>
                </c:pt>
                <c:pt idx="356">
                  <c:v>41485</c:v>
                </c:pt>
                <c:pt idx="357">
                  <c:v>41486</c:v>
                </c:pt>
                <c:pt idx="358">
                  <c:v>41487</c:v>
                </c:pt>
                <c:pt idx="359">
                  <c:v>41488</c:v>
                </c:pt>
                <c:pt idx="360">
                  <c:v>41491</c:v>
                </c:pt>
                <c:pt idx="361">
                  <c:v>41492</c:v>
                </c:pt>
                <c:pt idx="362">
                  <c:v>41493</c:v>
                </c:pt>
                <c:pt idx="363">
                  <c:v>41494</c:v>
                </c:pt>
                <c:pt idx="364">
                  <c:v>41495</c:v>
                </c:pt>
                <c:pt idx="365">
                  <c:v>41498</c:v>
                </c:pt>
                <c:pt idx="366">
                  <c:v>41499</c:v>
                </c:pt>
                <c:pt idx="367">
                  <c:v>41500</c:v>
                </c:pt>
                <c:pt idx="368">
                  <c:v>41501</c:v>
                </c:pt>
                <c:pt idx="369">
                  <c:v>41502</c:v>
                </c:pt>
                <c:pt idx="370">
                  <c:v>41505</c:v>
                </c:pt>
                <c:pt idx="371">
                  <c:v>41506</c:v>
                </c:pt>
                <c:pt idx="372">
                  <c:v>41507</c:v>
                </c:pt>
                <c:pt idx="373">
                  <c:v>41508</c:v>
                </c:pt>
                <c:pt idx="374">
                  <c:v>41509</c:v>
                </c:pt>
                <c:pt idx="375">
                  <c:v>41512</c:v>
                </c:pt>
                <c:pt idx="376">
                  <c:v>41513</c:v>
                </c:pt>
                <c:pt idx="377">
                  <c:v>41514</c:v>
                </c:pt>
                <c:pt idx="378">
                  <c:v>41515</c:v>
                </c:pt>
                <c:pt idx="379">
                  <c:v>41516</c:v>
                </c:pt>
                <c:pt idx="380">
                  <c:v>41519</c:v>
                </c:pt>
                <c:pt idx="381">
                  <c:v>41520</c:v>
                </c:pt>
                <c:pt idx="382">
                  <c:v>41521</c:v>
                </c:pt>
                <c:pt idx="383">
                  <c:v>41522</c:v>
                </c:pt>
                <c:pt idx="384">
                  <c:v>41523</c:v>
                </c:pt>
                <c:pt idx="385">
                  <c:v>41526</c:v>
                </c:pt>
                <c:pt idx="386">
                  <c:v>41527</c:v>
                </c:pt>
                <c:pt idx="387">
                  <c:v>41528</c:v>
                </c:pt>
                <c:pt idx="388">
                  <c:v>41529</c:v>
                </c:pt>
                <c:pt idx="389">
                  <c:v>41530</c:v>
                </c:pt>
                <c:pt idx="390">
                  <c:v>41533</c:v>
                </c:pt>
                <c:pt idx="391">
                  <c:v>41534</c:v>
                </c:pt>
                <c:pt idx="392">
                  <c:v>41535</c:v>
                </c:pt>
                <c:pt idx="393">
                  <c:v>41536</c:v>
                </c:pt>
                <c:pt idx="394">
                  <c:v>41537</c:v>
                </c:pt>
                <c:pt idx="395">
                  <c:v>41540</c:v>
                </c:pt>
                <c:pt idx="396">
                  <c:v>41541</c:v>
                </c:pt>
                <c:pt idx="397">
                  <c:v>41542</c:v>
                </c:pt>
                <c:pt idx="398">
                  <c:v>41543</c:v>
                </c:pt>
                <c:pt idx="399">
                  <c:v>41544</c:v>
                </c:pt>
                <c:pt idx="400">
                  <c:v>41547</c:v>
                </c:pt>
                <c:pt idx="401">
                  <c:v>41548</c:v>
                </c:pt>
                <c:pt idx="402">
                  <c:v>41549</c:v>
                </c:pt>
                <c:pt idx="403">
                  <c:v>41550</c:v>
                </c:pt>
                <c:pt idx="404">
                  <c:v>41551</c:v>
                </c:pt>
                <c:pt idx="405">
                  <c:v>41554</c:v>
                </c:pt>
                <c:pt idx="406">
                  <c:v>41555</c:v>
                </c:pt>
                <c:pt idx="407">
                  <c:v>41556</c:v>
                </c:pt>
                <c:pt idx="408">
                  <c:v>41557</c:v>
                </c:pt>
                <c:pt idx="409">
                  <c:v>41558</c:v>
                </c:pt>
                <c:pt idx="410">
                  <c:v>41561</c:v>
                </c:pt>
                <c:pt idx="411">
                  <c:v>41562</c:v>
                </c:pt>
                <c:pt idx="412">
                  <c:v>41563</c:v>
                </c:pt>
                <c:pt idx="413">
                  <c:v>41564</c:v>
                </c:pt>
                <c:pt idx="414">
                  <c:v>41565</c:v>
                </c:pt>
                <c:pt idx="415">
                  <c:v>41568</c:v>
                </c:pt>
                <c:pt idx="416">
                  <c:v>41569</c:v>
                </c:pt>
                <c:pt idx="417">
                  <c:v>41570</c:v>
                </c:pt>
                <c:pt idx="418">
                  <c:v>41571</c:v>
                </c:pt>
                <c:pt idx="419">
                  <c:v>41572</c:v>
                </c:pt>
                <c:pt idx="420">
                  <c:v>41575</c:v>
                </c:pt>
                <c:pt idx="421">
                  <c:v>41576</c:v>
                </c:pt>
                <c:pt idx="422">
                  <c:v>41577</c:v>
                </c:pt>
                <c:pt idx="423">
                  <c:v>41578</c:v>
                </c:pt>
                <c:pt idx="424">
                  <c:v>41579</c:v>
                </c:pt>
                <c:pt idx="425">
                  <c:v>41582</c:v>
                </c:pt>
                <c:pt idx="426">
                  <c:v>41583</c:v>
                </c:pt>
                <c:pt idx="427">
                  <c:v>41584</c:v>
                </c:pt>
                <c:pt idx="428">
                  <c:v>41585</c:v>
                </c:pt>
                <c:pt idx="429">
                  <c:v>41586</c:v>
                </c:pt>
                <c:pt idx="430">
                  <c:v>41589</c:v>
                </c:pt>
                <c:pt idx="431">
                  <c:v>41590</c:v>
                </c:pt>
                <c:pt idx="432">
                  <c:v>41591</c:v>
                </c:pt>
                <c:pt idx="433">
                  <c:v>41592</c:v>
                </c:pt>
                <c:pt idx="434">
                  <c:v>41593</c:v>
                </c:pt>
                <c:pt idx="435">
                  <c:v>41596</c:v>
                </c:pt>
                <c:pt idx="436">
                  <c:v>41597</c:v>
                </c:pt>
                <c:pt idx="437">
                  <c:v>41598</c:v>
                </c:pt>
                <c:pt idx="438">
                  <c:v>41599</c:v>
                </c:pt>
                <c:pt idx="439">
                  <c:v>41600</c:v>
                </c:pt>
                <c:pt idx="440">
                  <c:v>41603</c:v>
                </c:pt>
                <c:pt idx="441">
                  <c:v>41604</c:v>
                </c:pt>
                <c:pt idx="442">
                  <c:v>41605</c:v>
                </c:pt>
                <c:pt idx="443">
                  <c:v>41606</c:v>
                </c:pt>
                <c:pt idx="444">
                  <c:v>41607</c:v>
                </c:pt>
                <c:pt idx="445">
                  <c:v>41610</c:v>
                </c:pt>
                <c:pt idx="446">
                  <c:v>41611</c:v>
                </c:pt>
                <c:pt idx="447">
                  <c:v>41612</c:v>
                </c:pt>
                <c:pt idx="448">
                  <c:v>41613</c:v>
                </c:pt>
                <c:pt idx="449">
                  <c:v>41614</c:v>
                </c:pt>
                <c:pt idx="450">
                  <c:v>41617</c:v>
                </c:pt>
                <c:pt idx="451">
                  <c:v>41618</c:v>
                </c:pt>
                <c:pt idx="452">
                  <c:v>41619</c:v>
                </c:pt>
                <c:pt idx="453">
                  <c:v>41620</c:v>
                </c:pt>
                <c:pt idx="454">
                  <c:v>41621</c:v>
                </c:pt>
                <c:pt idx="455">
                  <c:v>41624</c:v>
                </c:pt>
                <c:pt idx="456">
                  <c:v>41625</c:v>
                </c:pt>
                <c:pt idx="457">
                  <c:v>41626</c:v>
                </c:pt>
                <c:pt idx="458">
                  <c:v>41627</c:v>
                </c:pt>
                <c:pt idx="459">
                  <c:v>41628</c:v>
                </c:pt>
                <c:pt idx="460">
                  <c:v>41631</c:v>
                </c:pt>
                <c:pt idx="461">
                  <c:v>41632</c:v>
                </c:pt>
                <c:pt idx="462">
                  <c:v>41633</c:v>
                </c:pt>
                <c:pt idx="463">
                  <c:v>41634</c:v>
                </c:pt>
                <c:pt idx="464">
                  <c:v>41635</c:v>
                </c:pt>
                <c:pt idx="465">
                  <c:v>41638</c:v>
                </c:pt>
                <c:pt idx="466">
                  <c:v>41639</c:v>
                </c:pt>
                <c:pt idx="467">
                  <c:v>41640</c:v>
                </c:pt>
                <c:pt idx="468">
                  <c:v>41641</c:v>
                </c:pt>
                <c:pt idx="469">
                  <c:v>41642</c:v>
                </c:pt>
                <c:pt idx="470">
                  <c:v>41645</c:v>
                </c:pt>
                <c:pt idx="471">
                  <c:v>41646</c:v>
                </c:pt>
                <c:pt idx="472">
                  <c:v>41647</c:v>
                </c:pt>
                <c:pt idx="473">
                  <c:v>41648</c:v>
                </c:pt>
                <c:pt idx="474">
                  <c:v>41649</c:v>
                </c:pt>
                <c:pt idx="475">
                  <c:v>41652</c:v>
                </c:pt>
                <c:pt idx="476">
                  <c:v>41653</c:v>
                </c:pt>
                <c:pt idx="477">
                  <c:v>41654</c:v>
                </c:pt>
                <c:pt idx="478">
                  <c:v>41655</c:v>
                </c:pt>
                <c:pt idx="479">
                  <c:v>41656</c:v>
                </c:pt>
                <c:pt idx="480">
                  <c:v>41659</c:v>
                </c:pt>
                <c:pt idx="481">
                  <c:v>41660</c:v>
                </c:pt>
                <c:pt idx="482">
                  <c:v>41661</c:v>
                </c:pt>
                <c:pt idx="483">
                  <c:v>41662</c:v>
                </c:pt>
                <c:pt idx="484">
                  <c:v>41663</c:v>
                </c:pt>
                <c:pt idx="485">
                  <c:v>41666</c:v>
                </c:pt>
                <c:pt idx="486">
                  <c:v>41667</c:v>
                </c:pt>
                <c:pt idx="487">
                  <c:v>41668</c:v>
                </c:pt>
                <c:pt idx="488">
                  <c:v>41669</c:v>
                </c:pt>
                <c:pt idx="489">
                  <c:v>41670</c:v>
                </c:pt>
                <c:pt idx="490">
                  <c:v>41673</c:v>
                </c:pt>
                <c:pt idx="491">
                  <c:v>41674</c:v>
                </c:pt>
                <c:pt idx="492">
                  <c:v>41675</c:v>
                </c:pt>
                <c:pt idx="493">
                  <c:v>41676</c:v>
                </c:pt>
                <c:pt idx="494">
                  <c:v>41677</c:v>
                </c:pt>
                <c:pt idx="495">
                  <c:v>41680</c:v>
                </c:pt>
                <c:pt idx="496">
                  <c:v>41681</c:v>
                </c:pt>
                <c:pt idx="497">
                  <c:v>41682</c:v>
                </c:pt>
                <c:pt idx="498">
                  <c:v>41683</c:v>
                </c:pt>
                <c:pt idx="499">
                  <c:v>41684</c:v>
                </c:pt>
                <c:pt idx="500">
                  <c:v>41687</c:v>
                </c:pt>
                <c:pt idx="501">
                  <c:v>41688</c:v>
                </c:pt>
                <c:pt idx="502">
                  <c:v>41689</c:v>
                </c:pt>
                <c:pt idx="503">
                  <c:v>41690</c:v>
                </c:pt>
                <c:pt idx="504">
                  <c:v>41691</c:v>
                </c:pt>
                <c:pt idx="505">
                  <c:v>41694</c:v>
                </c:pt>
                <c:pt idx="506">
                  <c:v>41695</c:v>
                </c:pt>
                <c:pt idx="507">
                  <c:v>41696</c:v>
                </c:pt>
                <c:pt idx="508">
                  <c:v>41697</c:v>
                </c:pt>
                <c:pt idx="509">
                  <c:v>41698</c:v>
                </c:pt>
                <c:pt idx="510">
                  <c:v>41701</c:v>
                </c:pt>
                <c:pt idx="511">
                  <c:v>41702</c:v>
                </c:pt>
                <c:pt idx="512">
                  <c:v>41703</c:v>
                </c:pt>
                <c:pt idx="513">
                  <c:v>41704</c:v>
                </c:pt>
                <c:pt idx="514">
                  <c:v>41705</c:v>
                </c:pt>
                <c:pt idx="515">
                  <c:v>41708</c:v>
                </c:pt>
                <c:pt idx="516">
                  <c:v>41709</c:v>
                </c:pt>
                <c:pt idx="517">
                  <c:v>41710</c:v>
                </c:pt>
                <c:pt idx="518">
                  <c:v>41711</c:v>
                </c:pt>
                <c:pt idx="519">
                  <c:v>41712</c:v>
                </c:pt>
                <c:pt idx="520">
                  <c:v>41715</c:v>
                </c:pt>
                <c:pt idx="521">
                  <c:v>41716</c:v>
                </c:pt>
                <c:pt idx="522">
                  <c:v>41717</c:v>
                </c:pt>
                <c:pt idx="523">
                  <c:v>41718</c:v>
                </c:pt>
                <c:pt idx="524">
                  <c:v>41719</c:v>
                </c:pt>
                <c:pt idx="525">
                  <c:v>41722</c:v>
                </c:pt>
                <c:pt idx="526">
                  <c:v>41723</c:v>
                </c:pt>
                <c:pt idx="527">
                  <c:v>41724</c:v>
                </c:pt>
                <c:pt idx="528">
                  <c:v>41725</c:v>
                </c:pt>
                <c:pt idx="529">
                  <c:v>41726</c:v>
                </c:pt>
                <c:pt idx="530">
                  <c:v>41729</c:v>
                </c:pt>
                <c:pt idx="531">
                  <c:v>41730</c:v>
                </c:pt>
                <c:pt idx="532">
                  <c:v>41731</c:v>
                </c:pt>
                <c:pt idx="533">
                  <c:v>41732</c:v>
                </c:pt>
                <c:pt idx="534">
                  <c:v>41733</c:v>
                </c:pt>
                <c:pt idx="535">
                  <c:v>41736</c:v>
                </c:pt>
                <c:pt idx="536">
                  <c:v>41737</c:v>
                </c:pt>
                <c:pt idx="537">
                  <c:v>41738</c:v>
                </c:pt>
                <c:pt idx="538">
                  <c:v>41739</c:v>
                </c:pt>
                <c:pt idx="539">
                  <c:v>41740</c:v>
                </c:pt>
                <c:pt idx="540">
                  <c:v>41743</c:v>
                </c:pt>
                <c:pt idx="541">
                  <c:v>41744</c:v>
                </c:pt>
                <c:pt idx="542">
                  <c:v>41745</c:v>
                </c:pt>
                <c:pt idx="543">
                  <c:v>41746</c:v>
                </c:pt>
                <c:pt idx="544">
                  <c:v>41747</c:v>
                </c:pt>
                <c:pt idx="545">
                  <c:v>41750</c:v>
                </c:pt>
                <c:pt idx="546">
                  <c:v>41751</c:v>
                </c:pt>
                <c:pt idx="547">
                  <c:v>41752</c:v>
                </c:pt>
                <c:pt idx="548">
                  <c:v>41753</c:v>
                </c:pt>
                <c:pt idx="549">
                  <c:v>41754</c:v>
                </c:pt>
                <c:pt idx="550">
                  <c:v>41757</c:v>
                </c:pt>
                <c:pt idx="551">
                  <c:v>41758</c:v>
                </c:pt>
                <c:pt idx="552">
                  <c:v>41759</c:v>
                </c:pt>
                <c:pt idx="553">
                  <c:v>41760</c:v>
                </c:pt>
                <c:pt idx="554">
                  <c:v>41761</c:v>
                </c:pt>
                <c:pt idx="555">
                  <c:v>41764</c:v>
                </c:pt>
                <c:pt idx="556">
                  <c:v>41765</c:v>
                </c:pt>
                <c:pt idx="557">
                  <c:v>41766</c:v>
                </c:pt>
                <c:pt idx="558">
                  <c:v>41767</c:v>
                </c:pt>
                <c:pt idx="559">
                  <c:v>41768</c:v>
                </c:pt>
                <c:pt idx="560">
                  <c:v>41771</c:v>
                </c:pt>
                <c:pt idx="561">
                  <c:v>41772</c:v>
                </c:pt>
                <c:pt idx="562">
                  <c:v>41773</c:v>
                </c:pt>
                <c:pt idx="563">
                  <c:v>41774</c:v>
                </c:pt>
                <c:pt idx="564">
                  <c:v>41775</c:v>
                </c:pt>
                <c:pt idx="565">
                  <c:v>41778</c:v>
                </c:pt>
                <c:pt idx="566">
                  <c:v>41779</c:v>
                </c:pt>
                <c:pt idx="567">
                  <c:v>41780</c:v>
                </c:pt>
                <c:pt idx="568">
                  <c:v>41781</c:v>
                </c:pt>
                <c:pt idx="569">
                  <c:v>41782</c:v>
                </c:pt>
                <c:pt idx="570">
                  <c:v>41785</c:v>
                </c:pt>
                <c:pt idx="571">
                  <c:v>41786</c:v>
                </c:pt>
                <c:pt idx="572">
                  <c:v>41787</c:v>
                </c:pt>
                <c:pt idx="573">
                  <c:v>41788</c:v>
                </c:pt>
                <c:pt idx="574">
                  <c:v>41789</c:v>
                </c:pt>
                <c:pt idx="575">
                  <c:v>41792</c:v>
                </c:pt>
                <c:pt idx="576">
                  <c:v>41793</c:v>
                </c:pt>
                <c:pt idx="577">
                  <c:v>41794</c:v>
                </c:pt>
                <c:pt idx="578">
                  <c:v>41795</c:v>
                </c:pt>
                <c:pt idx="579">
                  <c:v>41796</c:v>
                </c:pt>
                <c:pt idx="580">
                  <c:v>41799</c:v>
                </c:pt>
                <c:pt idx="581">
                  <c:v>41800</c:v>
                </c:pt>
                <c:pt idx="582">
                  <c:v>41801</c:v>
                </c:pt>
                <c:pt idx="583">
                  <c:v>41802</c:v>
                </c:pt>
                <c:pt idx="584">
                  <c:v>41803</c:v>
                </c:pt>
                <c:pt idx="585">
                  <c:v>41806</c:v>
                </c:pt>
                <c:pt idx="586">
                  <c:v>41807</c:v>
                </c:pt>
                <c:pt idx="587">
                  <c:v>41808</c:v>
                </c:pt>
                <c:pt idx="588">
                  <c:v>41809</c:v>
                </c:pt>
                <c:pt idx="589">
                  <c:v>41810</c:v>
                </c:pt>
                <c:pt idx="590">
                  <c:v>41813</c:v>
                </c:pt>
                <c:pt idx="591">
                  <c:v>41814</c:v>
                </c:pt>
                <c:pt idx="592">
                  <c:v>41815</c:v>
                </c:pt>
                <c:pt idx="593">
                  <c:v>41816</c:v>
                </c:pt>
                <c:pt idx="594">
                  <c:v>41817</c:v>
                </c:pt>
                <c:pt idx="595">
                  <c:v>41820</c:v>
                </c:pt>
                <c:pt idx="596">
                  <c:v>41821</c:v>
                </c:pt>
                <c:pt idx="597">
                  <c:v>41822</c:v>
                </c:pt>
                <c:pt idx="598">
                  <c:v>41823</c:v>
                </c:pt>
                <c:pt idx="599">
                  <c:v>41824</c:v>
                </c:pt>
                <c:pt idx="600">
                  <c:v>41827</c:v>
                </c:pt>
                <c:pt idx="601">
                  <c:v>41828</c:v>
                </c:pt>
                <c:pt idx="602">
                  <c:v>41829</c:v>
                </c:pt>
                <c:pt idx="603">
                  <c:v>41830</c:v>
                </c:pt>
                <c:pt idx="604">
                  <c:v>41831</c:v>
                </c:pt>
                <c:pt idx="605">
                  <c:v>41834</c:v>
                </c:pt>
                <c:pt idx="606">
                  <c:v>41835</c:v>
                </c:pt>
                <c:pt idx="607">
                  <c:v>41836</c:v>
                </c:pt>
                <c:pt idx="608">
                  <c:v>41837</c:v>
                </c:pt>
                <c:pt idx="609">
                  <c:v>41838</c:v>
                </c:pt>
                <c:pt idx="610">
                  <c:v>41841</c:v>
                </c:pt>
                <c:pt idx="611">
                  <c:v>41842</c:v>
                </c:pt>
                <c:pt idx="612">
                  <c:v>41843</c:v>
                </c:pt>
                <c:pt idx="613">
                  <c:v>41844</c:v>
                </c:pt>
                <c:pt idx="614">
                  <c:v>41845</c:v>
                </c:pt>
                <c:pt idx="615">
                  <c:v>41848</c:v>
                </c:pt>
                <c:pt idx="616">
                  <c:v>41849</c:v>
                </c:pt>
                <c:pt idx="617">
                  <c:v>41850</c:v>
                </c:pt>
                <c:pt idx="618">
                  <c:v>41851</c:v>
                </c:pt>
                <c:pt idx="619">
                  <c:v>41852</c:v>
                </c:pt>
                <c:pt idx="620">
                  <c:v>41855</c:v>
                </c:pt>
                <c:pt idx="621">
                  <c:v>41856</c:v>
                </c:pt>
                <c:pt idx="622">
                  <c:v>41857</c:v>
                </c:pt>
                <c:pt idx="623">
                  <c:v>41858</c:v>
                </c:pt>
                <c:pt idx="624">
                  <c:v>41859</c:v>
                </c:pt>
                <c:pt idx="625">
                  <c:v>41862</c:v>
                </c:pt>
                <c:pt idx="626">
                  <c:v>41863</c:v>
                </c:pt>
                <c:pt idx="627">
                  <c:v>41864</c:v>
                </c:pt>
                <c:pt idx="628">
                  <c:v>41865</c:v>
                </c:pt>
                <c:pt idx="629">
                  <c:v>41866</c:v>
                </c:pt>
                <c:pt idx="630">
                  <c:v>41869</c:v>
                </c:pt>
                <c:pt idx="631">
                  <c:v>41870</c:v>
                </c:pt>
                <c:pt idx="632">
                  <c:v>41871</c:v>
                </c:pt>
                <c:pt idx="633">
                  <c:v>41872</c:v>
                </c:pt>
                <c:pt idx="634">
                  <c:v>41873</c:v>
                </c:pt>
                <c:pt idx="635">
                  <c:v>41876</c:v>
                </c:pt>
                <c:pt idx="636">
                  <c:v>41877</c:v>
                </c:pt>
                <c:pt idx="637">
                  <c:v>41878</c:v>
                </c:pt>
                <c:pt idx="638">
                  <c:v>41879</c:v>
                </c:pt>
                <c:pt idx="639">
                  <c:v>41880</c:v>
                </c:pt>
                <c:pt idx="640">
                  <c:v>41883</c:v>
                </c:pt>
                <c:pt idx="641">
                  <c:v>41884</c:v>
                </c:pt>
                <c:pt idx="642">
                  <c:v>41885</c:v>
                </c:pt>
                <c:pt idx="643">
                  <c:v>41886</c:v>
                </c:pt>
                <c:pt idx="644">
                  <c:v>41887</c:v>
                </c:pt>
                <c:pt idx="645">
                  <c:v>41890</c:v>
                </c:pt>
                <c:pt idx="646">
                  <c:v>41891</c:v>
                </c:pt>
                <c:pt idx="647">
                  <c:v>41892</c:v>
                </c:pt>
                <c:pt idx="648">
                  <c:v>41893</c:v>
                </c:pt>
                <c:pt idx="649">
                  <c:v>41894</c:v>
                </c:pt>
                <c:pt idx="650">
                  <c:v>41897</c:v>
                </c:pt>
                <c:pt idx="651">
                  <c:v>41898</c:v>
                </c:pt>
                <c:pt idx="652">
                  <c:v>41899</c:v>
                </c:pt>
                <c:pt idx="653">
                  <c:v>41900</c:v>
                </c:pt>
                <c:pt idx="654">
                  <c:v>41901</c:v>
                </c:pt>
                <c:pt idx="655">
                  <c:v>41904</c:v>
                </c:pt>
                <c:pt idx="656">
                  <c:v>41905</c:v>
                </c:pt>
                <c:pt idx="657">
                  <c:v>41906</c:v>
                </c:pt>
                <c:pt idx="658">
                  <c:v>41907</c:v>
                </c:pt>
                <c:pt idx="659">
                  <c:v>41908</c:v>
                </c:pt>
                <c:pt idx="660">
                  <c:v>41911</c:v>
                </c:pt>
                <c:pt idx="661">
                  <c:v>41912</c:v>
                </c:pt>
                <c:pt idx="662">
                  <c:v>41913</c:v>
                </c:pt>
                <c:pt idx="663">
                  <c:v>41914</c:v>
                </c:pt>
                <c:pt idx="664">
                  <c:v>41915</c:v>
                </c:pt>
                <c:pt idx="665">
                  <c:v>41918</c:v>
                </c:pt>
                <c:pt idx="666">
                  <c:v>41919</c:v>
                </c:pt>
                <c:pt idx="667">
                  <c:v>41920</c:v>
                </c:pt>
                <c:pt idx="668">
                  <c:v>41921</c:v>
                </c:pt>
                <c:pt idx="669">
                  <c:v>41922</c:v>
                </c:pt>
                <c:pt idx="670">
                  <c:v>41925</c:v>
                </c:pt>
                <c:pt idx="671">
                  <c:v>41926</c:v>
                </c:pt>
                <c:pt idx="672">
                  <c:v>41927</c:v>
                </c:pt>
                <c:pt idx="673">
                  <c:v>41928</c:v>
                </c:pt>
                <c:pt idx="674">
                  <c:v>41929</c:v>
                </c:pt>
                <c:pt idx="675">
                  <c:v>41932</c:v>
                </c:pt>
                <c:pt idx="676">
                  <c:v>41933</c:v>
                </c:pt>
                <c:pt idx="677">
                  <c:v>41934</c:v>
                </c:pt>
                <c:pt idx="678">
                  <c:v>41935</c:v>
                </c:pt>
                <c:pt idx="679">
                  <c:v>41936</c:v>
                </c:pt>
                <c:pt idx="680">
                  <c:v>41939</c:v>
                </c:pt>
                <c:pt idx="681">
                  <c:v>41940</c:v>
                </c:pt>
                <c:pt idx="682">
                  <c:v>41941</c:v>
                </c:pt>
                <c:pt idx="683">
                  <c:v>41942</c:v>
                </c:pt>
                <c:pt idx="684">
                  <c:v>41943</c:v>
                </c:pt>
                <c:pt idx="685">
                  <c:v>41946</c:v>
                </c:pt>
                <c:pt idx="686">
                  <c:v>41947</c:v>
                </c:pt>
                <c:pt idx="687">
                  <c:v>41948</c:v>
                </c:pt>
                <c:pt idx="688">
                  <c:v>41949</c:v>
                </c:pt>
                <c:pt idx="689">
                  <c:v>41950</c:v>
                </c:pt>
                <c:pt idx="690">
                  <c:v>41953</c:v>
                </c:pt>
                <c:pt idx="691">
                  <c:v>41954</c:v>
                </c:pt>
                <c:pt idx="692">
                  <c:v>41955</c:v>
                </c:pt>
                <c:pt idx="693">
                  <c:v>41956</c:v>
                </c:pt>
                <c:pt idx="694">
                  <c:v>41957</c:v>
                </c:pt>
                <c:pt idx="695">
                  <c:v>41960</c:v>
                </c:pt>
                <c:pt idx="696">
                  <c:v>41961</c:v>
                </c:pt>
                <c:pt idx="697">
                  <c:v>41962</c:v>
                </c:pt>
                <c:pt idx="698">
                  <c:v>41963</c:v>
                </c:pt>
                <c:pt idx="699">
                  <c:v>41964</c:v>
                </c:pt>
                <c:pt idx="700">
                  <c:v>41967</c:v>
                </c:pt>
                <c:pt idx="701">
                  <c:v>41968</c:v>
                </c:pt>
                <c:pt idx="702">
                  <c:v>41969</c:v>
                </c:pt>
                <c:pt idx="703">
                  <c:v>41970</c:v>
                </c:pt>
                <c:pt idx="704">
                  <c:v>41971</c:v>
                </c:pt>
                <c:pt idx="705">
                  <c:v>41974</c:v>
                </c:pt>
                <c:pt idx="706">
                  <c:v>41975</c:v>
                </c:pt>
                <c:pt idx="707">
                  <c:v>41976</c:v>
                </c:pt>
                <c:pt idx="708">
                  <c:v>41977</c:v>
                </c:pt>
                <c:pt idx="709">
                  <c:v>41978</c:v>
                </c:pt>
                <c:pt idx="710">
                  <c:v>41981</c:v>
                </c:pt>
                <c:pt idx="711">
                  <c:v>41982</c:v>
                </c:pt>
                <c:pt idx="712">
                  <c:v>41983</c:v>
                </c:pt>
                <c:pt idx="713">
                  <c:v>41984</c:v>
                </c:pt>
                <c:pt idx="714">
                  <c:v>41985</c:v>
                </c:pt>
                <c:pt idx="715">
                  <c:v>41988</c:v>
                </c:pt>
                <c:pt idx="716">
                  <c:v>41989</c:v>
                </c:pt>
                <c:pt idx="717">
                  <c:v>41990</c:v>
                </c:pt>
                <c:pt idx="718">
                  <c:v>41991</c:v>
                </c:pt>
                <c:pt idx="719">
                  <c:v>41992</c:v>
                </c:pt>
                <c:pt idx="720">
                  <c:v>41995</c:v>
                </c:pt>
                <c:pt idx="721">
                  <c:v>41996</c:v>
                </c:pt>
                <c:pt idx="722">
                  <c:v>41997</c:v>
                </c:pt>
                <c:pt idx="723">
                  <c:v>41998</c:v>
                </c:pt>
                <c:pt idx="724">
                  <c:v>41999</c:v>
                </c:pt>
                <c:pt idx="725">
                  <c:v>42002</c:v>
                </c:pt>
                <c:pt idx="726">
                  <c:v>42003</c:v>
                </c:pt>
                <c:pt idx="727">
                  <c:v>42004</c:v>
                </c:pt>
                <c:pt idx="728">
                  <c:v>42005</c:v>
                </c:pt>
                <c:pt idx="729">
                  <c:v>42006</c:v>
                </c:pt>
                <c:pt idx="730">
                  <c:v>42009</c:v>
                </c:pt>
                <c:pt idx="731">
                  <c:v>42010</c:v>
                </c:pt>
                <c:pt idx="732">
                  <c:v>42011</c:v>
                </c:pt>
                <c:pt idx="733">
                  <c:v>42012</c:v>
                </c:pt>
                <c:pt idx="734">
                  <c:v>42013</c:v>
                </c:pt>
                <c:pt idx="735">
                  <c:v>42016</c:v>
                </c:pt>
                <c:pt idx="736">
                  <c:v>42017</c:v>
                </c:pt>
                <c:pt idx="737">
                  <c:v>42018</c:v>
                </c:pt>
                <c:pt idx="738">
                  <c:v>42019</c:v>
                </c:pt>
                <c:pt idx="739">
                  <c:v>42020</c:v>
                </c:pt>
                <c:pt idx="740">
                  <c:v>42023</c:v>
                </c:pt>
                <c:pt idx="741">
                  <c:v>42024</c:v>
                </c:pt>
                <c:pt idx="742">
                  <c:v>42025</c:v>
                </c:pt>
                <c:pt idx="743">
                  <c:v>42026</c:v>
                </c:pt>
                <c:pt idx="744">
                  <c:v>42027</c:v>
                </c:pt>
                <c:pt idx="745">
                  <c:v>42030</c:v>
                </c:pt>
                <c:pt idx="746">
                  <c:v>42031</c:v>
                </c:pt>
                <c:pt idx="747">
                  <c:v>42032</c:v>
                </c:pt>
                <c:pt idx="748">
                  <c:v>42033</c:v>
                </c:pt>
                <c:pt idx="749">
                  <c:v>42034</c:v>
                </c:pt>
                <c:pt idx="750">
                  <c:v>42037</c:v>
                </c:pt>
                <c:pt idx="751">
                  <c:v>42038</c:v>
                </c:pt>
                <c:pt idx="752">
                  <c:v>42039</c:v>
                </c:pt>
                <c:pt idx="753">
                  <c:v>42040</c:v>
                </c:pt>
                <c:pt idx="754">
                  <c:v>42041</c:v>
                </c:pt>
                <c:pt idx="755">
                  <c:v>42044</c:v>
                </c:pt>
                <c:pt idx="756">
                  <c:v>42045</c:v>
                </c:pt>
                <c:pt idx="757">
                  <c:v>42046</c:v>
                </c:pt>
                <c:pt idx="758">
                  <c:v>42047</c:v>
                </c:pt>
                <c:pt idx="759">
                  <c:v>42048</c:v>
                </c:pt>
                <c:pt idx="760">
                  <c:v>42051</c:v>
                </c:pt>
                <c:pt idx="761">
                  <c:v>42052</c:v>
                </c:pt>
                <c:pt idx="762">
                  <c:v>42053</c:v>
                </c:pt>
                <c:pt idx="763">
                  <c:v>42054</c:v>
                </c:pt>
                <c:pt idx="764">
                  <c:v>42055</c:v>
                </c:pt>
                <c:pt idx="765">
                  <c:v>42058</c:v>
                </c:pt>
                <c:pt idx="766">
                  <c:v>42059</c:v>
                </c:pt>
                <c:pt idx="767">
                  <c:v>42060</c:v>
                </c:pt>
                <c:pt idx="768">
                  <c:v>42061</c:v>
                </c:pt>
                <c:pt idx="769">
                  <c:v>42062</c:v>
                </c:pt>
                <c:pt idx="770">
                  <c:v>42065</c:v>
                </c:pt>
                <c:pt idx="771">
                  <c:v>42066</c:v>
                </c:pt>
                <c:pt idx="772">
                  <c:v>42067</c:v>
                </c:pt>
                <c:pt idx="773">
                  <c:v>42068</c:v>
                </c:pt>
                <c:pt idx="774">
                  <c:v>42069</c:v>
                </c:pt>
                <c:pt idx="775">
                  <c:v>42072</c:v>
                </c:pt>
                <c:pt idx="776">
                  <c:v>42073</c:v>
                </c:pt>
                <c:pt idx="777">
                  <c:v>42074</c:v>
                </c:pt>
                <c:pt idx="778">
                  <c:v>42075</c:v>
                </c:pt>
                <c:pt idx="779">
                  <c:v>42076</c:v>
                </c:pt>
                <c:pt idx="780">
                  <c:v>42079</c:v>
                </c:pt>
                <c:pt idx="781">
                  <c:v>42080</c:v>
                </c:pt>
                <c:pt idx="782">
                  <c:v>42081</c:v>
                </c:pt>
                <c:pt idx="783">
                  <c:v>42082</c:v>
                </c:pt>
                <c:pt idx="784">
                  <c:v>42083</c:v>
                </c:pt>
                <c:pt idx="785">
                  <c:v>42086</c:v>
                </c:pt>
                <c:pt idx="786">
                  <c:v>42087</c:v>
                </c:pt>
                <c:pt idx="787">
                  <c:v>42088</c:v>
                </c:pt>
                <c:pt idx="788">
                  <c:v>42089</c:v>
                </c:pt>
                <c:pt idx="789">
                  <c:v>42090</c:v>
                </c:pt>
                <c:pt idx="790">
                  <c:v>42093</c:v>
                </c:pt>
                <c:pt idx="791">
                  <c:v>42094</c:v>
                </c:pt>
                <c:pt idx="792">
                  <c:v>42095</c:v>
                </c:pt>
                <c:pt idx="793">
                  <c:v>42096</c:v>
                </c:pt>
                <c:pt idx="794">
                  <c:v>42097</c:v>
                </c:pt>
                <c:pt idx="795">
                  <c:v>42100</c:v>
                </c:pt>
                <c:pt idx="796">
                  <c:v>42101</c:v>
                </c:pt>
                <c:pt idx="797">
                  <c:v>42102</c:v>
                </c:pt>
                <c:pt idx="798">
                  <c:v>42103</c:v>
                </c:pt>
                <c:pt idx="799">
                  <c:v>42104</c:v>
                </c:pt>
                <c:pt idx="800">
                  <c:v>42107</c:v>
                </c:pt>
                <c:pt idx="801">
                  <c:v>42108</c:v>
                </c:pt>
                <c:pt idx="802">
                  <c:v>42109</c:v>
                </c:pt>
                <c:pt idx="803">
                  <c:v>42110</c:v>
                </c:pt>
                <c:pt idx="804">
                  <c:v>42111</c:v>
                </c:pt>
                <c:pt idx="805">
                  <c:v>42114</c:v>
                </c:pt>
                <c:pt idx="806">
                  <c:v>42115</c:v>
                </c:pt>
                <c:pt idx="807">
                  <c:v>42116</c:v>
                </c:pt>
                <c:pt idx="808">
                  <c:v>42117</c:v>
                </c:pt>
                <c:pt idx="809">
                  <c:v>42118</c:v>
                </c:pt>
                <c:pt idx="810">
                  <c:v>42121</c:v>
                </c:pt>
                <c:pt idx="811">
                  <c:v>42122</c:v>
                </c:pt>
                <c:pt idx="812">
                  <c:v>42123</c:v>
                </c:pt>
                <c:pt idx="813">
                  <c:v>42124</c:v>
                </c:pt>
                <c:pt idx="814">
                  <c:v>42125</c:v>
                </c:pt>
                <c:pt idx="815">
                  <c:v>42128</c:v>
                </c:pt>
                <c:pt idx="816">
                  <c:v>42129</c:v>
                </c:pt>
                <c:pt idx="817">
                  <c:v>42130</c:v>
                </c:pt>
                <c:pt idx="818">
                  <c:v>42131</c:v>
                </c:pt>
                <c:pt idx="819">
                  <c:v>42132</c:v>
                </c:pt>
                <c:pt idx="820">
                  <c:v>42135</c:v>
                </c:pt>
                <c:pt idx="821">
                  <c:v>42136</c:v>
                </c:pt>
                <c:pt idx="822">
                  <c:v>42137</c:v>
                </c:pt>
                <c:pt idx="823">
                  <c:v>42138</c:v>
                </c:pt>
                <c:pt idx="824">
                  <c:v>42139</c:v>
                </c:pt>
                <c:pt idx="825">
                  <c:v>42142</c:v>
                </c:pt>
                <c:pt idx="826">
                  <c:v>42143</c:v>
                </c:pt>
                <c:pt idx="827">
                  <c:v>42144</c:v>
                </c:pt>
                <c:pt idx="828">
                  <c:v>42145</c:v>
                </c:pt>
                <c:pt idx="829">
                  <c:v>42146</c:v>
                </c:pt>
                <c:pt idx="830">
                  <c:v>42149</c:v>
                </c:pt>
                <c:pt idx="831">
                  <c:v>42150</c:v>
                </c:pt>
                <c:pt idx="832">
                  <c:v>42151</c:v>
                </c:pt>
                <c:pt idx="833">
                  <c:v>42152</c:v>
                </c:pt>
                <c:pt idx="834">
                  <c:v>42153</c:v>
                </c:pt>
                <c:pt idx="835">
                  <c:v>42156</c:v>
                </c:pt>
                <c:pt idx="836">
                  <c:v>42157</c:v>
                </c:pt>
                <c:pt idx="837">
                  <c:v>42158</c:v>
                </c:pt>
                <c:pt idx="838">
                  <c:v>42159</c:v>
                </c:pt>
                <c:pt idx="839">
                  <c:v>42160</c:v>
                </c:pt>
                <c:pt idx="840">
                  <c:v>42163</c:v>
                </c:pt>
                <c:pt idx="841">
                  <c:v>42164</c:v>
                </c:pt>
                <c:pt idx="842">
                  <c:v>42165</c:v>
                </c:pt>
                <c:pt idx="843">
                  <c:v>42166</c:v>
                </c:pt>
                <c:pt idx="844">
                  <c:v>42167</c:v>
                </c:pt>
                <c:pt idx="845">
                  <c:v>42170</c:v>
                </c:pt>
                <c:pt idx="846">
                  <c:v>42171</c:v>
                </c:pt>
                <c:pt idx="847">
                  <c:v>42172</c:v>
                </c:pt>
                <c:pt idx="848">
                  <c:v>42173</c:v>
                </c:pt>
                <c:pt idx="849">
                  <c:v>42174</c:v>
                </c:pt>
                <c:pt idx="850">
                  <c:v>42177</c:v>
                </c:pt>
                <c:pt idx="851">
                  <c:v>42178</c:v>
                </c:pt>
                <c:pt idx="852">
                  <c:v>42179</c:v>
                </c:pt>
                <c:pt idx="853">
                  <c:v>42180</c:v>
                </c:pt>
                <c:pt idx="854">
                  <c:v>42181</c:v>
                </c:pt>
                <c:pt idx="855">
                  <c:v>42184</c:v>
                </c:pt>
                <c:pt idx="856">
                  <c:v>42185</c:v>
                </c:pt>
                <c:pt idx="857">
                  <c:v>42186</c:v>
                </c:pt>
                <c:pt idx="858">
                  <c:v>42187</c:v>
                </c:pt>
                <c:pt idx="859">
                  <c:v>42188</c:v>
                </c:pt>
                <c:pt idx="860">
                  <c:v>42191</c:v>
                </c:pt>
                <c:pt idx="861">
                  <c:v>42192</c:v>
                </c:pt>
                <c:pt idx="862">
                  <c:v>42193</c:v>
                </c:pt>
                <c:pt idx="863">
                  <c:v>42194</c:v>
                </c:pt>
                <c:pt idx="864">
                  <c:v>42195</c:v>
                </c:pt>
                <c:pt idx="865">
                  <c:v>42198</c:v>
                </c:pt>
                <c:pt idx="866">
                  <c:v>42199</c:v>
                </c:pt>
                <c:pt idx="867">
                  <c:v>42200</c:v>
                </c:pt>
                <c:pt idx="868">
                  <c:v>42201</c:v>
                </c:pt>
                <c:pt idx="869">
                  <c:v>42202</c:v>
                </c:pt>
                <c:pt idx="870">
                  <c:v>42205</c:v>
                </c:pt>
                <c:pt idx="871">
                  <c:v>42206</c:v>
                </c:pt>
                <c:pt idx="872">
                  <c:v>42207</c:v>
                </c:pt>
                <c:pt idx="873">
                  <c:v>42208</c:v>
                </c:pt>
                <c:pt idx="874">
                  <c:v>42209</c:v>
                </c:pt>
                <c:pt idx="875">
                  <c:v>42212</c:v>
                </c:pt>
                <c:pt idx="876">
                  <c:v>42213</c:v>
                </c:pt>
                <c:pt idx="877">
                  <c:v>42214</c:v>
                </c:pt>
                <c:pt idx="878">
                  <c:v>42215</c:v>
                </c:pt>
                <c:pt idx="879">
                  <c:v>42216</c:v>
                </c:pt>
                <c:pt idx="880">
                  <c:v>42219</c:v>
                </c:pt>
                <c:pt idx="881">
                  <c:v>42220</c:v>
                </c:pt>
                <c:pt idx="882">
                  <c:v>42221</c:v>
                </c:pt>
                <c:pt idx="883">
                  <c:v>42222</c:v>
                </c:pt>
                <c:pt idx="884">
                  <c:v>42223</c:v>
                </c:pt>
                <c:pt idx="885">
                  <c:v>42226</c:v>
                </c:pt>
                <c:pt idx="886">
                  <c:v>42227</c:v>
                </c:pt>
                <c:pt idx="887">
                  <c:v>42228</c:v>
                </c:pt>
                <c:pt idx="888">
                  <c:v>42229</c:v>
                </c:pt>
                <c:pt idx="889">
                  <c:v>42230</c:v>
                </c:pt>
                <c:pt idx="890">
                  <c:v>42233</c:v>
                </c:pt>
                <c:pt idx="891">
                  <c:v>42234</c:v>
                </c:pt>
                <c:pt idx="892">
                  <c:v>42235</c:v>
                </c:pt>
                <c:pt idx="893">
                  <c:v>42236</c:v>
                </c:pt>
                <c:pt idx="894">
                  <c:v>42237</c:v>
                </c:pt>
                <c:pt idx="895">
                  <c:v>42240</c:v>
                </c:pt>
                <c:pt idx="896">
                  <c:v>42241</c:v>
                </c:pt>
                <c:pt idx="897">
                  <c:v>42242</c:v>
                </c:pt>
                <c:pt idx="898">
                  <c:v>42243</c:v>
                </c:pt>
                <c:pt idx="899">
                  <c:v>42244</c:v>
                </c:pt>
                <c:pt idx="900">
                  <c:v>42247</c:v>
                </c:pt>
                <c:pt idx="901">
                  <c:v>42248</c:v>
                </c:pt>
                <c:pt idx="902">
                  <c:v>42249</c:v>
                </c:pt>
                <c:pt idx="903">
                  <c:v>42250</c:v>
                </c:pt>
                <c:pt idx="904">
                  <c:v>42251</c:v>
                </c:pt>
                <c:pt idx="905">
                  <c:v>42254</c:v>
                </c:pt>
                <c:pt idx="906">
                  <c:v>42255</c:v>
                </c:pt>
                <c:pt idx="907">
                  <c:v>42256</c:v>
                </c:pt>
                <c:pt idx="908">
                  <c:v>42257</c:v>
                </c:pt>
                <c:pt idx="909">
                  <c:v>42258</c:v>
                </c:pt>
                <c:pt idx="910">
                  <c:v>42261</c:v>
                </c:pt>
                <c:pt idx="911">
                  <c:v>42262</c:v>
                </c:pt>
                <c:pt idx="912">
                  <c:v>42263</c:v>
                </c:pt>
                <c:pt idx="913">
                  <c:v>42264</c:v>
                </c:pt>
                <c:pt idx="914">
                  <c:v>42265</c:v>
                </c:pt>
                <c:pt idx="915">
                  <c:v>42268</c:v>
                </c:pt>
                <c:pt idx="916">
                  <c:v>42269</c:v>
                </c:pt>
                <c:pt idx="917">
                  <c:v>42270</c:v>
                </c:pt>
                <c:pt idx="918">
                  <c:v>42271</c:v>
                </c:pt>
                <c:pt idx="919">
                  <c:v>42272</c:v>
                </c:pt>
                <c:pt idx="920">
                  <c:v>42275</c:v>
                </c:pt>
                <c:pt idx="921">
                  <c:v>42276</c:v>
                </c:pt>
                <c:pt idx="922">
                  <c:v>42277</c:v>
                </c:pt>
                <c:pt idx="923">
                  <c:v>42278</c:v>
                </c:pt>
                <c:pt idx="924">
                  <c:v>42279</c:v>
                </c:pt>
                <c:pt idx="925">
                  <c:v>42282</c:v>
                </c:pt>
                <c:pt idx="926">
                  <c:v>42283</c:v>
                </c:pt>
                <c:pt idx="927">
                  <c:v>42284</c:v>
                </c:pt>
                <c:pt idx="928">
                  <c:v>42285</c:v>
                </c:pt>
                <c:pt idx="929">
                  <c:v>42286</c:v>
                </c:pt>
                <c:pt idx="930">
                  <c:v>42289</c:v>
                </c:pt>
                <c:pt idx="931">
                  <c:v>42290</c:v>
                </c:pt>
                <c:pt idx="932">
                  <c:v>42291</c:v>
                </c:pt>
                <c:pt idx="933">
                  <c:v>42292</c:v>
                </c:pt>
                <c:pt idx="934">
                  <c:v>42293</c:v>
                </c:pt>
                <c:pt idx="935">
                  <c:v>42296</c:v>
                </c:pt>
                <c:pt idx="936">
                  <c:v>42297</c:v>
                </c:pt>
                <c:pt idx="937">
                  <c:v>42298</c:v>
                </c:pt>
                <c:pt idx="938">
                  <c:v>42299</c:v>
                </c:pt>
                <c:pt idx="939">
                  <c:v>42300</c:v>
                </c:pt>
                <c:pt idx="940">
                  <c:v>42303</c:v>
                </c:pt>
                <c:pt idx="941">
                  <c:v>42304</c:v>
                </c:pt>
                <c:pt idx="942">
                  <c:v>42305</c:v>
                </c:pt>
                <c:pt idx="943">
                  <c:v>42306</c:v>
                </c:pt>
                <c:pt idx="944">
                  <c:v>42307</c:v>
                </c:pt>
                <c:pt idx="945">
                  <c:v>42310</c:v>
                </c:pt>
                <c:pt idx="946">
                  <c:v>42311</c:v>
                </c:pt>
                <c:pt idx="947">
                  <c:v>42312</c:v>
                </c:pt>
                <c:pt idx="948">
                  <c:v>42313</c:v>
                </c:pt>
                <c:pt idx="949">
                  <c:v>42314</c:v>
                </c:pt>
                <c:pt idx="950">
                  <c:v>42317</c:v>
                </c:pt>
                <c:pt idx="951">
                  <c:v>42318</c:v>
                </c:pt>
                <c:pt idx="952">
                  <c:v>42319</c:v>
                </c:pt>
                <c:pt idx="953">
                  <c:v>42320</c:v>
                </c:pt>
                <c:pt idx="954">
                  <c:v>42321</c:v>
                </c:pt>
                <c:pt idx="955">
                  <c:v>42324</c:v>
                </c:pt>
                <c:pt idx="956">
                  <c:v>42325</c:v>
                </c:pt>
                <c:pt idx="957">
                  <c:v>42326</c:v>
                </c:pt>
                <c:pt idx="958">
                  <c:v>42327</c:v>
                </c:pt>
                <c:pt idx="959">
                  <c:v>42328</c:v>
                </c:pt>
                <c:pt idx="960">
                  <c:v>42331</c:v>
                </c:pt>
                <c:pt idx="961">
                  <c:v>42332</c:v>
                </c:pt>
                <c:pt idx="962">
                  <c:v>42333</c:v>
                </c:pt>
                <c:pt idx="963">
                  <c:v>42334</c:v>
                </c:pt>
                <c:pt idx="964">
                  <c:v>42335</c:v>
                </c:pt>
                <c:pt idx="965">
                  <c:v>42338</c:v>
                </c:pt>
                <c:pt idx="966">
                  <c:v>42339</c:v>
                </c:pt>
                <c:pt idx="967">
                  <c:v>42340</c:v>
                </c:pt>
                <c:pt idx="968">
                  <c:v>42341</c:v>
                </c:pt>
                <c:pt idx="969">
                  <c:v>42342</c:v>
                </c:pt>
                <c:pt idx="970">
                  <c:v>42345</c:v>
                </c:pt>
                <c:pt idx="971">
                  <c:v>42346</c:v>
                </c:pt>
                <c:pt idx="972">
                  <c:v>42347</c:v>
                </c:pt>
                <c:pt idx="973">
                  <c:v>42348</c:v>
                </c:pt>
                <c:pt idx="974">
                  <c:v>42349</c:v>
                </c:pt>
                <c:pt idx="975">
                  <c:v>42352</c:v>
                </c:pt>
                <c:pt idx="976">
                  <c:v>42353</c:v>
                </c:pt>
                <c:pt idx="977">
                  <c:v>42354</c:v>
                </c:pt>
                <c:pt idx="978">
                  <c:v>42355</c:v>
                </c:pt>
                <c:pt idx="979">
                  <c:v>42356</c:v>
                </c:pt>
                <c:pt idx="980">
                  <c:v>42359</c:v>
                </c:pt>
                <c:pt idx="981">
                  <c:v>42360</c:v>
                </c:pt>
                <c:pt idx="982">
                  <c:v>42361</c:v>
                </c:pt>
                <c:pt idx="983">
                  <c:v>42362</c:v>
                </c:pt>
                <c:pt idx="984">
                  <c:v>42363</c:v>
                </c:pt>
                <c:pt idx="985">
                  <c:v>42366</c:v>
                </c:pt>
                <c:pt idx="986">
                  <c:v>42367</c:v>
                </c:pt>
                <c:pt idx="987">
                  <c:v>42368</c:v>
                </c:pt>
                <c:pt idx="988">
                  <c:v>42369</c:v>
                </c:pt>
                <c:pt idx="989">
                  <c:v>42370</c:v>
                </c:pt>
                <c:pt idx="990">
                  <c:v>42373</c:v>
                </c:pt>
                <c:pt idx="991">
                  <c:v>42374</c:v>
                </c:pt>
                <c:pt idx="992">
                  <c:v>42375</c:v>
                </c:pt>
                <c:pt idx="993">
                  <c:v>42376</c:v>
                </c:pt>
                <c:pt idx="994">
                  <c:v>42377</c:v>
                </c:pt>
                <c:pt idx="995">
                  <c:v>42380</c:v>
                </c:pt>
                <c:pt idx="996">
                  <c:v>42381</c:v>
                </c:pt>
                <c:pt idx="997">
                  <c:v>42382</c:v>
                </c:pt>
                <c:pt idx="998">
                  <c:v>42383</c:v>
                </c:pt>
                <c:pt idx="999">
                  <c:v>42384</c:v>
                </c:pt>
                <c:pt idx="1000">
                  <c:v>42387</c:v>
                </c:pt>
                <c:pt idx="1001">
                  <c:v>42388</c:v>
                </c:pt>
                <c:pt idx="1002">
                  <c:v>42389</c:v>
                </c:pt>
                <c:pt idx="1003">
                  <c:v>42390</c:v>
                </c:pt>
                <c:pt idx="1004">
                  <c:v>42391</c:v>
                </c:pt>
                <c:pt idx="1005">
                  <c:v>42394</c:v>
                </c:pt>
                <c:pt idx="1006">
                  <c:v>42395</c:v>
                </c:pt>
                <c:pt idx="1007">
                  <c:v>42396</c:v>
                </c:pt>
                <c:pt idx="1008">
                  <c:v>42397</c:v>
                </c:pt>
                <c:pt idx="1009">
                  <c:v>42398</c:v>
                </c:pt>
                <c:pt idx="1010">
                  <c:v>42401</c:v>
                </c:pt>
                <c:pt idx="1011">
                  <c:v>42402</c:v>
                </c:pt>
                <c:pt idx="1012">
                  <c:v>42403</c:v>
                </c:pt>
                <c:pt idx="1013">
                  <c:v>42404</c:v>
                </c:pt>
                <c:pt idx="1014">
                  <c:v>42405</c:v>
                </c:pt>
                <c:pt idx="1015">
                  <c:v>42408</c:v>
                </c:pt>
                <c:pt idx="1016">
                  <c:v>42409</c:v>
                </c:pt>
                <c:pt idx="1017">
                  <c:v>42410</c:v>
                </c:pt>
                <c:pt idx="1018">
                  <c:v>42411</c:v>
                </c:pt>
                <c:pt idx="1019">
                  <c:v>42412</c:v>
                </c:pt>
                <c:pt idx="1020">
                  <c:v>42415</c:v>
                </c:pt>
                <c:pt idx="1021">
                  <c:v>42416</c:v>
                </c:pt>
                <c:pt idx="1022">
                  <c:v>42417</c:v>
                </c:pt>
                <c:pt idx="1023">
                  <c:v>42418</c:v>
                </c:pt>
                <c:pt idx="1024">
                  <c:v>42419</c:v>
                </c:pt>
                <c:pt idx="1025">
                  <c:v>42422</c:v>
                </c:pt>
                <c:pt idx="1026">
                  <c:v>42423</c:v>
                </c:pt>
                <c:pt idx="1027">
                  <c:v>42424</c:v>
                </c:pt>
                <c:pt idx="1028">
                  <c:v>42425</c:v>
                </c:pt>
                <c:pt idx="1029">
                  <c:v>42426</c:v>
                </c:pt>
                <c:pt idx="1030">
                  <c:v>42429</c:v>
                </c:pt>
                <c:pt idx="1031">
                  <c:v>42430</c:v>
                </c:pt>
                <c:pt idx="1032">
                  <c:v>42431</c:v>
                </c:pt>
                <c:pt idx="1033">
                  <c:v>42432</c:v>
                </c:pt>
                <c:pt idx="1034">
                  <c:v>42433</c:v>
                </c:pt>
                <c:pt idx="1035">
                  <c:v>42436</c:v>
                </c:pt>
                <c:pt idx="1036">
                  <c:v>42437</c:v>
                </c:pt>
                <c:pt idx="1037">
                  <c:v>42438</c:v>
                </c:pt>
                <c:pt idx="1038">
                  <c:v>42439</c:v>
                </c:pt>
                <c:pt idx="1039">
                  <c:v>42440</c:v>
                </c:pt>
                <c:pt idx="1040">
                  <c:v>42443</c:v>
                </c:pt>
                <c:pt idx="1041">
                  <c:v>42444</c:v>
                </c:pt>
                <c:pt idx="1042">
                  <c:v>42445</c:v>
                </c:pt>
                <c:pt idx="1043">
                  <c:v>42446</c:v>
                </c:pt>
                <c:pt idx="1044">
                  <c:v>42447</c:v>
                </c:pt>
                <c:pt idx="1045">
                  <c:v>42450</c:v>
                </c:pt>
                <c:pt idx="1046">
                  <c:v>42451</c:v>
                </c:pt>
                <c:pt idx="1047">
                  <c:v>42452</c:v>
                </c:pt>
                <c:pt idx="1048">
                  <c:v>42453</c:v>
                </c:pt>
                <c:pt idx="1049">
                  <c:v>42454</c:v>
                </c:pt>
                <c:pt idx="1050">
                  <c:v>42457</c:v>
                </c:pt>
                <c:pt idx="1051">
                  <c:v>42458</c:v>
                </c:pt>
                <c:pt idx="1052">
                  <c:v>42459</c:v>
                </c:pt>
                <c:pt idx="1053">
                  <c:v>42460</c:v>
                </c:pt>
                <c:pt idx="1054">
                  <c:v>42461</c:v>
                </c:pt>
                <c:pt idx="1055">
                  <c:v>42464</c:v>
                </c:pt>
                <c:pt idx="1056">
                  <c:v>42465</c:v>
                </c:pt>
                <c:pt idx="1057">
                  <c:v>42466</c:v>
                </c:pt>
                <c:pt idx="1058">
                  <c:v>42467</c:v>
                </c:pt>
                <c:pt idx="1059">
                  <c:v>42468</c:v>
                </c:pt>
                <c:pt idx="1060">
                  <c:v>42471</c:v>
                </c:pt>
                <c:pt idx="1061">
                  <c:v>42472</c:v>
                </c:pt>
                <c:pt idx="1062">
                  <c:v>42473</c:v>
                </c:pt>
                <c:pt idx="1063">
                  <c:v>42474</c:v>
                </c:pt>
                <c:pt idx="1064">
                  <c:v>42475</c:v>
                </c:pt>
                <c:pt idx="1065">
                  <c:v>42478</c:v>
                </c:pt>
                <c:pt idx="1066">
                  <c:v>42479</c:v>
                </c:pt>
                <c:pt idx="1067">
                  <c:v>42480</c:v>
                </c:pt>
                <c:pt idx="1068">
                  <c:v>42481</c:v>
                </c:pt>
                <c:pt idx="1069">
                  <c:v>42482</c:v>
                </c:pt>
                <c:pt idx="1070">
                  <c:v>42485</c:v>
                </c:pt>
                <c:pt idx="1071">
                  <c:v>42486</c:v>
                </c:pt>
                <c:pt idx="1072">
                  <c:v>42487</c:v>
                </c:pt>
                <c:pt idx="1073">
                  <c:v>42488</c:v>
                </c:pt>
                <c:pt idx="1074">
                  <c:v>42489</c:v>
                </c:pt>
                <c:pt idx="1075">
                  <c:v>42492</c:v>
                </c:pt>
                <c:pt idx="1076">
                  <c:v>42493</c:v>
                </c:pt>
                <c:pt idx="1077">
                  <c:v>42494</c:v>
                </c:pt>
                <c:pt idx="1078">
                  <c:v>42495</c:v>
                </c:pt>
                <c:pt idx="1079">
                  <c:v>42496</c:v>
                </c:pt>
                <c:pt idx="1080">
                  <c:v>42499</c:v>
                </c:pt>
                <c:pt idx="1081">
                  <c:v>42500</c:v>
                </c:pt>
                <c:pt idx="1082">
                  <c:v>42501</c:v>
                </c:pt>
                <c:pt idx="1083">
                  <c:v>42502</c:v>
                </c:pt>
                <c:pt idx="1084">
                  <c:v>42503</c:v>
                </c:pt>
                <c:pt idx="1085">
                  <c:v>42506</c:v>
                </c:pt>
                <c:pt idx="1086">
                  <c:v>42507</c:v>
                </c:pt>
                <c:pt idx="1087">
                  <c:v>42508</c:v>
                </c:pt>
                <c:pt idx="1088">
                  <c:v>42509</c:v>
                </c:pt>
                <c:pt idx="1089">
                  <c:v>42510</c:v>
                </c:pt>
                <c:pt idx="1090">
                  <c:v>42513</c:v>
                </c:pt>
                <c:pt idx="1091">
                  <c:v>42514</c:v>
                </c:pt>
                <c:pt idx="1092">
                  <c:v>42515</c:v>
                </c:pt>
                <c:pt idx="1093">
                  <c:v>42516</c:v>
                </c:pt>
                <c:pt idx="1094">
                  <c:v>42517</c:v>
                </c:pt>
                <c:pt idx="1095">
                  <c:v>42520</c:v>
                </c:pt>
                <c:pt idx="1096">
                  <c:v>42521</c:v>
                </c:pt>
                <c:pt idx="1097">
                  <c:v>42522</c:v>
                </c:pt>
                <c:pt idx="1098">
                  <c:v>42523</c:v>
                </c:pt>
                <c:pt idx="1099">
                  <c:v>42524</c:v>
                </c:pt>
                <c:pt idx="1100">
                  <c:v>42527</c:v>
                </c:pt>
                <c:pt idx="1101">
                  <c:v>42528</c:v>
                </c:pt>
                <c:pt idx="1102">
                  <c:v>42529</c:v>
                </c:pt>
                <c:pt idx="1103">
                  <c:v>42530</c:v>
                </c:pt>
                <c:pt idx="1104">
                  <c:v>42531</c:v>
                </c:pt>
                <c:pt idx="1105">
                  <c:v>42534</c:v>
                </c:pt>
                <c:pt idx="1106">
                  <c:v>42535</c:v>
                </c:pt>
                <c:pt idx="1107">
                  <c:v>42536</c:v>
                </c:pt>
                <c:pt idx="1108">
                  <c:v>42537</c:v>
                </c:pt>
                <c:pt idx="1109">
                  <c:v>42538</c:v>
                </c:pt>
                <c:pt idx="1110">
                  <c:v>42541</c:v>
                </c:pt>
                <c:pt idx="1111">
                  <c:v>42542</c:v>
                </c:pt>
                <c:pt idx="1112">
                  <c:v>42543</c:v>
                </c:pt>
                <c:pt idx="1113">
                  <c:v>42544</c:v>
                </c:pt>
                <c:pt idx="1114">
                  <c:v>42545</c:v>
                </c:pt>
                <c:pt idx="1115">
                  <c:v>42548</c:v>
                </c:pt>
                <c:pt idx="1116">
                  <c:v>42549</c:v>
                </c:pt>
                <c:pt idx="1117">
                  <c:v>42550</c:v>
                </c:pt>
                <c:pt idx="1118">
                  <c:v>42551</c:v>
                </c:pt>
                <c:pt idx="1119">
                  <c:v>42552</c:v>
                </c:pt>
                <c:pt idx="1120">
                  <c:v>42555</c:v>
                </c:pt>
                <c:pt idx="1121">
                  <c:v>42556</c:v>
                </c:pt>
                <c:pt idx="1122">
                  <c:v>42557</c:v>
                </c:pt>
                <c:pt idx="1123">
                  <c:v>42558</c:v>
                </c:pt>
                <c:pt idx="1124">
                  <c:v>42559</c:v>
                </c:pt>
                <c:pt idx="1125">
                  <c:v>42562</c:v>
                </c:pt>
                <c:pt idx="1126">
                  <c:v>42563</c:v>
                </c:pt>
                <c:pt idx="1127">
                  <c:v>42564</c:v>
                </c:pt>
                <c:pt idx="1128">
                  <c:v>42565</c:v>
                </c:pt>
                <c:pt idx="1129">
                  <c:v>42566</c:v>
                </c:pt>
                <c:pt idx="1130">
                  <c:v>42569</c:v>
                </c:pt>
                <c:pt idx="1131">
                  <c:v>42570</c:v>
                </c:pt>
                <c:pt idx="1132">
                  <c:v>42571</c:v>
                </c:pt>
                <c:pt idx="1133">
                  <c:v>42572</c:v>
                </c:pt>
                <c:pt idx="1134">
                  <c:v>42573</c:v>
                </c:pt>
                <c:pt idx="1135">
                  <c:v>42576</c:v>
                </c:pt>
                <c:pt idx="1136">
                  <c:v>42577</c:v>
                </c:pt>
                <c:pt idx="1137">
                  <c:v>42578</c:v>
                </c:pt>
                <c:pt idx="1138">
                  <c:v>42579</c:v>
                </c:pt>
                <c:pt idx="1139">
                  <c:v>42580</c:v>
                </c:pt>
                <c:pt idx="1140">
                  <c:v>42583</c:v>
                </c:pt>
                <c:pt idx="1141">
                  <c:v>42584</c:v>
                </c:pt>
                <c:pt idx="1142">
                  <c:v>42585</c:v>
                </c:pt>
                <c:pt idx="1143">
                  <c:v>42586</c:v>
                </c:pt>
                <c:pt idx="1144">
                  <c:v>42587</c:v>
                </c:pt>
                <c:pt idx="1145">
                  <c:v>42590</c:v>
                </c:pt>
                <c:pt idx="1146">
                  <c:v>42591</c:v>
                </c:pt>
                <c:pt idx="1147">
                  <c:v>42592</c:v>
                </c:pt>
                <c:pt idx="1148">
                  <c:v>42593</c:v>
                </c:pt>
                <c:pt idx="1149">
                  <c:v>42594</c:v>
                </c:pt>
                <c:pt idx="1150">
                  <c:v>42597</c:v>
                </c:pt>
                <c:pt idx="1151">
                  <c:v>42598</c:v>
                </c:pt>
                <c:pt idx="1152">
                  <c:v>42599</c:v>
                </c:pt>
                <c:pt idx="1153">
                  <c:v>42600</c:v>
                </c:pt>
                <c:pt idx="1154">
                  <c:v>42601</c:v>
                </c:pt>
                <c:pt idx="1155">
                  <c:v>42604</c:v>
                </c:pt>
                <c:pt idx="1156">
                  <c:v>42605</c:v>
                </c:pt>
                <c:pt idx="1157">
                  <c:v>42606</c:v>
                </c:pt>
                <c:pt idx="1158">
                  <c:v>42607</c:v>
                </c:pt>
                <c:pt idx="1159">
                  <c:v>42608</c:v>
                </c:pt>
                <c:pt idx="1160">
                  <c:v>42611</c:v>
                </c:pt>
                <c:pt idx="1161">
                  <c:v>42612</c:v>
                </c:pt>
                <c:pt idx="1162">
                  <c:v>42613</c:v>
                </c:pt>
                <c:pt idx="1163">
                  <c:v>42614</c:v>
                </c:pt>
                <c:pt idx="1164">
                  <c:v>42615</c:v>
                </c:pt>
                <c:pt idx="1165">
                  <c:v>42618</c:v>
                </c:pt>
                <c:pt idx="1166">
                  <c:v>42619</c:v>
                </c:pt>
                <c:pt idx="1167">
                  <c:v>42620</c:v>
                </c:pt>
                <c:pt idx="1168">
                  <c:v>42621</c:v>
                </c:pt>
                <c:pt idx="1169">
                  <c:v>42622</c:v>
                </c:pt>
                <c:pt idx="1170">
                  <c:v>42625</c:v>
                </c:pt>
                <c:pt idx="1171">
                  <c:v>42626</c:v>
                </c:pt>
                <c:pt idx="1172">
                  <c:v>42627</c:v>
                </c:pt>
                <c:pt idx="1173">
                  <c:v>42628</c:v>
                </c:pt>
                <c:pt idx="1174">
                  <c:v>42629</c:v>
                </c:pt>
                <c:pt idx="1175">
                  <c:v>42632</c:v>
                </c:pt>
                <c:pt idx="1176">
                  <c:v>42633</c:v>
                </c:pt>
                <c:pt idx="1177">
                  <c:v>42634</c:v>
                </c:pt>
                <c:pt idx="1178">
                  <c:v>42635</c:v>
                </c:pt>
                <c:pt idx="1179">
                  <c:v>42636</c:v>
                </c:pt>
                <c:pt idx="1180">
                  <c:v>42639</c:v>
                </c:pt>
                <c:pt idx="1181">
                  <c:v>42640</c:v>
                </c:pt>
                <c:pt idx="1182">
                  <c:v>42641</c:v>
                </c:pt>
                <c:pt idx="1183">
                  <c:v>42642</c:v>
                </c:pt>
                <c:pt idx="1184">
                  <c:v>42643</c:v>
                </c:pt>
                <c:pt idx="1185">
                  <c:v>42646</c:v>
                </c:pt>
                <c:pt idx="1186">
                  <c:v>42647</c:v>
                </c:pt>
                <c:pt idx="1187">
                  <c:v>42648</c:v>
                </c:pt>
                <c:pt idx="1188">
                  <c:v>42649</c:v>
                </c:pt>
                <c:pt idx="1189">
                  <c:v>42650</c:v>
                </c:pt>
                <c:pt idx="1190">
                  <c:v>42653</c:v>
                </c:pt>
                <c:pt idx="1191">
                  <c:v>42654</c:v>
                </c:pt>
                <c:pt idx="1192">
                  <c:v>42655</c:v>
                </c:pt>
                <c:pt idx="1193">
                  <c:v>42656</c:v>
                </c:pt>
                <c:pt idx="1194">
                  <c:v>42657</c:v>
                </c:pt>
                <c:pt idx="1195">
                  <c:v>42660</c:v>
                </c:pt>
                <c:pt idx="1196">
                  <c:v>42661</c:v>
                </c:pt>
                <c:pt idx="1197">
                  <c:v>42662</c:v>
                </c:pt>
                <c:pt idx="1198">
                  <c:v>42663</c:v>
                </c:pt>
                <c:pt idx="1199">
                  <c:v>42664</c:v>
                </c:pt>
                <c:pt idx="1200">
                  <c:v>42667</c:v>
                </c:pt>
                <c:pt idx="1201">
                  <c:v>42668</c:v>
                </c:pt>
                <c:pt idx="1202">
                  <c:v>42669</c:v>
                </c:pt>
                <c:pt idx="1203">
                  <c:v>42670</c:v>
                </c:pt>
                <c:pt idx="1204">
                  <c:v>42671</c:v>
                </c:pt>
                <c:pt idx="1205">
                  <c:v>42674</c:v>
                </c:pt>
                <c:pt idx="1206">
                  <c:v>42675</c:v>
                </c:pt>
                <c:pt idx="1207">
                  <c:v>42676</c:v>
                </c:pt>
                <c:pt idx="1208">
                  <c:v>42677</c:v>
                </c:pt>
                <c:pt idx="1209">
                  <c:v>42678</c:v>
                </c:pt>
                <c:pt idx="1210">
                  <c:v>42681</c:v>
                </c:pt>
                <c:pt idx="1211">
                  <c:v>42682</c:v>
                </c:pt>
                <c:pt idx="1212">
                  <c:v>42683</c:v>
                </c:pt>
                <c:pt idx="1213">
                  <c:v>42684</c:v>
                </c:pt>
                <c:pt idx="1214">
                  <c:v>42685</c:v>
                </c:pt>
                <c:pt idx="1215">
                  <c:v>42688</c:v>
                </c:pt>
                <c:pt idx="1216">
                  <c:v>42689</c:v>
                </c:pt>
                <c:pt idx="1217">
                  <c:v>42690</c:v>
                </c:pt>
                <c:pt idx="1218">
                  <c:v>42691</c:v>
                </c:pt>
                <c:pt idx="1219">
                  <c:v>42692</c:v>
                </c:pt>
                <c:pt idx="1220">
                  <c:v>42695</c:v>
                </c:pt>
                <c:pt idx="1221">
                  <c:v>42696</c:v>
                </c:pt>
                <c:pt idx="1222">
                  <c:v>42697</c:v>
                </c:pt>
                <c:pt idx="1223">
                  <c:v>42698</c:v>
                </c:pt>
                <c:pt idx="1224">
                  <c:v>42699</c:v>
                </c:pt>
                <c:pt idx="1225">
                  <c:v>42702</c:v>
                </c:pt>
                <c:pt idx="1226">
                  <c:v>42703</c:v>
                </c:pt>
                <c:pt idx="1227">
                  <c:v>42704</c:v>
                </c:pt>
                <c:pt idx="1228">
                  <c:v>42705</c:v>
                </c:pt>
                <c:pt idx="1229">
                  <c:v>42706</c:v>
                </c:pt>
                <c:pt idx="1230">
                  <c:v>42709</c:v>
                </c:pt>
                <c:pt idx="1231">
                  <c:v>42710</c:v>
                </c:pt>
                <c:pt idx="1232">
                  <c:v>42711</c:v>
                </c:pt>
                <c:pt idx="1233">
                  <c:v>42712</c:v>
                </c:pt>
                <c:pt idx="1234">
                  <c:v>42713</c:v>
                </c:pt>
                <c:pt idx="1235">
                  <c:v>42716</c:v>
                </c:pt>
                <c:pt idx="1236">
                  <c:v>42717</c:v>
                </c:pt>
                <c:pt idx="1237">
                  <c:v>42718</c:v>
                </c:pt>
                <c:pt idx="1238">
                  <c:v>42719</c:v>
                </c:pt>
                <c:pt idx="1239">
                  <c:v>42720</c:v>
                </c:pt>
                <c:pt idx="1240">
                  <c:v>42723</c:v>
                </c:pt>
                <c:pt idx="1241">
                  <c:v>42724</c:v>
                </c:pt>
                <c:pt idx="1242">
                  <c:v>42725</c:v>
                </c:pt>
                <c:pt idx="1243">
                  <c:v>42726</c:v>
                </c:pt>
                <c:pt idx="1244">
                  <c:v>42727</c:v>
                </c:pt>
                <c:pt idx="1245">
                  <c:v>42730</c:v>
                </c:pt>
                <c:pt idx="1246">
                  <c:v>42731</c:v>
                </c:pt>
                <c:pt idx="1247">
                  <c:v>42732</c:v>
                </c:pt>
                <c:pt idx="1248">
                  <c:v>42733</c:v>
                </c:pt>
                <c:pt idx="1249">
                  <c:v>42734</c:v>
                </c:pt>
                <c:pt idx="1250">
                  <c:v>42737</c:v>
                </c:pt>
                <c:pt idx="1251">
                  <c:v>42738</c:v>
                </c:pt>
                <c:pt idx="1252">
                  <c:v>42739</c:v>
                </c:pt>
                <c:pt idx="1253">
                  <c:v>42740</c:v>
                </c:pt>
                <c:pt idx="1254">
                  <c:v>42741</c:v>
                </c:pt>
                <c:pt idx="1255">
                  <c:v>42744</c:v>
                </c:pt>
                <c:pt idx="1256">
                  <c:v>42745</c:v>
                </c:pt>
                <c:pt idx="1257">
                  <c:v>42746</c:v>
                </c:pt>
                <c:pt idx="1258">
                  <c:v>42747</c:v>
                </c:pt>
                <c:pt idx="1259">
                  <c:v>42748</c:v>
                </c:pt>
                <c:pt idx="1260">
                  <c:v>42751</c:v>
                </c:pt>
                <c:pt idx="1261">
                  <c:v>42752</c:v>
                </c:pt>
                <c:pt idx="1262">
                  <c:v>42753</c:v>
                </c:pt>
                <c:pt idx="1263">
                  <c:v>42754</c:v>
                </c:pt>
                <c:pt idx="1264">
                  <c:v>42755</c:v>
                </c:pt>
                <c:pt idx="1265">
                  <c:v>42758</c:v>
                </c:pt>
                <c:pt idx="1266">
                  <c:v>42759</c:v>
                </c:pt>
                <c:pt idx="1267">
                  <c:v>42760</c:v>
                </c:pt>
                <c:pt idx="1268">
                  <c:v>42761</c:v>
                </c:pt>
                <c:pt idx="1269">
                  <c:v>42762</c:v>
                </c:pt>
                <c:pt idx="1270">
                  <c:v>42765</c:v>
                </c:pt>
                <c:pt idx="1271">
                  <c:v>42766</c:v>
                </c:pt>
                <c:pt idx="1272">
                  <c:v>42767</c:v>
                </c:pt>
                <c:pt idx="1273">
                  <c:v>42768</c:v>
                </c:pt>
                <c:pt idx="1274">
                  <c:v>42769</c:v>
                </c:pt>
                <c:pt idx="1275">
                  <c:v>42772</c:v>
                </c:pt>
                <c:pt idx="1276">
                  <c:v>42773</c:v>
                </c:pt>
                <c:pt idx="1277">
                  <c:v>42774</c:v>
                </c:pt>
                <c:pt idx="1278">
                  <c:v>42775</c:v>
                </c:pt>
                <c:pt idx="1279">
                  <c:v>42776</c:v>
                </c:pt>
                <c:pt idx="1280">
                  <c:v>42779</c:v>
                </c:pt>
                <c:pt idx="1281">
                  <c:v>42780</c:v>
                </c:pt>
                <c:pt idx="1282">
                  <c:v>42781</c:v>
                </c:pt>
                <c:pt idx="1283">
                  <c:v>42782</c:v>
                </c:pt>
                <c:pt idx="1284">
                  <c:v>42783</c:v>
                </c:pt>
                <c:pt idx="1285">
                  <c:v>42786</c:v>
                </c:pt>
                <c:pt idx="1286">
                  <c:v>42787</c:v>
                </c:pt>
                <c:pt idx="1287">
                  <c:v>42788</c:v>
                </c:pt>
                <c:pt idx="1288">
                  <c:v>42789</c:v>
                </c:pt>
                <c:pt idx="1289">
                  <c:v>42790</c:v>
                </c:pt>
                <c:pt idx="1290">
                  <c:v>42793</c:v>
                </c:pt>
                <c:pt idx="1291">
                  <c:v>42794</c:v>
                </c:pt>
                <c:pt idx="1292">
                  <c:v>42795</c:v>
                </c:pt>
                <c:pt idx="1293">
                  <c:v>42796</c:v>
                </c:pt>
                <c:pt idx="1294">
                  <c:v>42797</c:v>
                </c:pt>
                <c:pt idx="1295">
                  <c:v>42800</c:v>
                </c:pt>
                <c:pt idx="1296">
                  <c:v>42801</c:v>
                </c:pt>
                <c:pt idx="1297">
                  <c:v>42802</c:v>
                </c:pt>
                <c:pt idx="1298">
                  <c:v>42803</c:v>
                </c:pt>
                <c:pt idx="1299">
                  <c:v>42804</c:v>
                </c:pt>
                <c:pt idx="1300">
                  <c:v>42807</c:v>
                </c:pt>
                <c:pt idx="1301">
                  <c:v>42808</c:v>
                </c:pt>
                <c:pt idx="1302">
                  <c:v>42809</c:v>
                </c:pt>
                <c:pt idx="1303">
                  <c:v>42810</c:v>
                </c:pt>
                <c:pt idx="1304">
                  <c:v>42811</c:v>
                </c:pt>
                <c:pt idx="1305">
                  <c:v>42814</c:v>
                </c:pt>
                <c:pt idx="1306">
                  <c:v>42815</c:v>
                </c:pt>
                <c:pt idx="1307">
                  <c:v>42816</c:v>
                </c:pt>
                <c:pt idx="1308">
                  <c:v>42817</c:v>
                </c:pt>
                <c:pt idx="1309">
                  <c:v>42818</c:v>
                </c:pt>
                <c:pt idx="1310">
                  <c:v>42821</c:v>
                </c:pt>
                <c:pt idx="1311">
                  <c:v>42822</c:v>
                </c:pt>
                <c:pt idx="1312">
                  <c:v>42823</c:v>
                </c:pt>
                <c:pt idx="1313">
                  <c:v>42824</c:v>
                </c:pt>
                <c:pt idx="1314">
                  <c:v>42825</c:v>
                </c:pt>
                <c:pt idx="1315">
                  <c:v>42828</c:v>
                </c:pt>
                <c:pt idx="1316">
                  <c:v>42829</c:v>
                </c:pt>
                <c:pt idx="1317">
                  <c:v>42830</c:v>
                </c:pt>
                <c:pt idx="1318">
                  <c:v>42831</c:v>
                </c:pt>
                <c:pt idx="1319">
                  <c:v>42832</c:v>
                </c:pt>
                <c:pt idx="1320">
                  <c:v>42835</c:v>
                </c:pt>
                <c:pt idx="1321">
                  <c:v>42836</c:v>
                </c:pt>
                <c:pt idx="1322">
                  <c:v>42837</c:v>
                </c:pt>
                <c:pt idx="1323">
                  <c:v>42838</c:v>
                </c:pt>
                <c:pt idx="1324">
                  <c:v>42839</c:v>
                </c:pt>
                <c:pt idx="1325">
                  <c:v>42842</c:v>
                </c:pt>
                <c:pt idx="1326">
                  <c:v>42843</c:v>
                </c:pt>
                <c:pt idx="1327">
                  <c:v>42844</c:v>
                </c:pt>
                <c:pt idx="1328">
                  <c:v>42845</c:v>
                </c:pt>
                <c:pt idx="1329">
                  <c:v>42846</c:v>
                </c:pt>
                <c:pt idx="1330">
                  <c:v>42849</c:v>
                </c:pt>
                <c:pt idx="1331">
                  <c:v>42850</c:v>
                </c:pt>
                <c:pt idx="1332">
                  <c:v>42851</c:v>
                </c:pt>
                <c:pt idx="1333">
                  <c:v>42852</c:v>
                </c:pt>
                <c:pt idx="1334">
                  <c:v>42853</c:v>
                </c:pt>
                <c:pt idx="1335">
                  <c:v>42856</c:v>
                </c:pt>
                <c:pt idx="1336">
                  <c:v>42857</c:v>
                </c:pt>
                <c:pt idx="1337">
                  <c:v>42858</c:v>
                </c:pt>
                <c:pt idx="1338">
                  <c:v>42859</c:v>
                </c:pt>
                <c:pt idx="1339">
                  <c:v>42860</c:v>
                </c:pt>
                <c:pt idx="1340">
                  <c:v>42863</c:v>
                </c:pt>
                <c:pt idx="1341">
                  <c:v>42864</c:v>
                </c:pt>
                <c:pt idx="1342">
                  <c:v>42865</c:v>
                </c:pt>
                <c:pt idx="1343">
                  <c:v>42866</c:v>
                </c:pt>
                <c:pt idx="1344">
                  <c:v>42867</c:v>
                </c:pt>
                <c:pt idx="1345">
                  <c:v>42870</c:v>
                </c:pt>
                <c:pt idx="1346">
                  <c:v>42871</c:v>
                </c:pt>
                <c:pt idx="1347">
                  <c:v>42872</c:v>
                </c:pt>
                <c:pt idx="1348">
                  <c:v>42873</c:v>
                </c:pt>
                <c:pt idx="1349">
                  <c:v>42874</c:v>
                </c:pt>
                <c:pt idx="1350">
                  <c:v>42877</c:v>
                </c:pt>
                <c:pt idx="1351">
                  <c:v>42878</c:v>
                </c:pt>
                <c:pt idx="1352">
                  <c:v>42879</c:v>
                </c:pt>
                <c:pt idx="1353">
                  <c:v>42880</c:v>
                </c:pt>
                <c:pt idx="1354">
                  <c:v>42881</c:v>
                </c:pt>
                <c:pt idx="1355">
                  <c:v>42884</c:v>
                </c:pt>
                <c:pt idx="1356">
                  <c:v>42885</c:v>
                </c:pt>
                <c:pt idx="1357">
                  <c:v>42886</c:v>
                </c:pt>
                <c:pt idx="1358">
                  <c:v>42887</c:v>
                </c:pt>
                <c:pt idx="1359">
                  <c:v>42888</c:v>
                </c:pt>
                <c:pt idx="1360">
                  <c:v>42891</c:v>
                </c:pt>
                <c:pt idx="1361">
                  <c:v>42892</c:v>
                </c:pt>
                <c:pt idx="1362">
                  <c:v>42893</c:v>
                </c:pt>
                <c:pt idx="1363">
                  <c:v>42894</c:v>
                </c:pt>
                <c:pt idx="1364">
                  <c:v>42895</c:v>
                </c:pt>
                <c:pt idx="1365">
                  <c:v>42898</c:v>
                </c:pt>
                <c:pt idx="1366">
                  <c:v>42899</c:v>
                </c:pt>
                <c:pt idx="1367">
                  <c:v>42900</c:v>
                </c:pt>
                <c:pt idx="1368">
                  <c:v>42901</c:v>
                </c:pt>
                <c:pt idx="1369">
                  <c:v>42902</c:v>
                </c:pt>
                <c:pt idx="1370">
                  <c:v>42905</c:v>
                </c:pt>
                <c:pt idx="1371">
                  <c:v>42906</c:v>
                </c:pt>
                <c:pt idx="1372">
                  <c:v>42907</c:v>
                </c:pt>
                <c:pt idx="1373">
                  <c:v>42908</c:v>
                </c:pt>
                <c:pt idx="1374">
                  <c:v>42909</c:v>
                </c:pt>
                <c:pt idx="1375">
                  <c:v>42912</c:v>
                </c:pt>
                <c:pt idx="1376">
                  <c:v>42913</c:v>
                </c:pt>
                <c:pt idx="1377">
                  <c:v>42914</c:v>
                </c:pt>
                <c:pt idx="1378">
                  <c:v>42915</c:v>
                </c:pt>
                <c:pt idx="1379">
                  <c:v>42916</c:v>
                </c:pt>
                <c:pt idx="1380">
                  <c:v>42919</c:v>
                </c:pt>
                <c:pt idx="1381">
                  <c:v>42920</c:v>
                </c:pt>
                <c:pt idx="1382">
                  <c:v>42921</c:v>
                </c:pt>
                <c:pt idx="1383">
                  <c:v>42922</c:v>
                </c:pt>
                <c:pt idx="1384">
                  <c:v>42923</c:v>
                </c:pt>
                <c:pt idx="1385">
                  <c:v>42926</c:v>
                </c:pt>
                <c:pt idx="1386">
                  <c:v>42927</c:v>
                </c:pt>
                <c:pt idx="1387">
                  <c:v>42928</c:v>
                </c:pt>
                <c:pt idx="1388">
                  <c:v>42929</c:v>
                </c:pt>
                <c:pt idx="1389">
                  <c:v>42930</c:v>
                </c:pt>
                <c:pt idx="1390">
                  <c:v>42933</c:v>
                </c:pt>
                <c:pt idx="1391">
                  <c:v>42934</c:v>
                </c:pt>
                <c:pt idx="1392">
                  <c:v>42935</c:v>
                </c:pt>
                <c:pt idx="1393">
                  <c:v>42936</c:v>
                </c:pt>
                <c:pt idx="1394">
                  <c:v>42937</c:v>
                </c:pt>
                <c:pt idx="1395">
                  <c:v>42940</c:v>
                </c:pt>
                <c:pt idx="1396">
                  <c:v>42941</c:v>
                </c:pt>
                <c:pt idx="1397">
                  <c:v>42942</c:v>
                </c:pt>
                <c:pt idx="1398">
                  <c:v>42943</c:v>
                </c:pt>
                <c:pt idx="1399">
                  <c:v>42944</c:v>
                </c:pt>
                <c:pt idx="1400">
                  <c:v>42947</c:v>
                </c:pt>
                <c:pt idx="1401">
                  <c:v>42948</c:v>
                </c:pt>
                <c:pt idx="1402">
                  <c:v>42949</c:v>
                </c:pt>
                <c:pt idx="1403">
                  <c:v>42950</c:v>
                </c:pt>
                <c:pt idx="1404">
                  <c:v>42951</c:v>
                </c:pt>
                <c:pt idx="1405">
                  <c:v>42954</c:v>
                </c:pt>
                <c:pt idx="1406">
                  <c:v>42955</c:v>
                </c:pt>
                <c:pt idx="1407">
                  <c:v>42956</c:v>
                </c:pt>
                <c:pt idx="1408">
                  <c:v>42957</c:v>
                </c:pt>
                <c:pt idx="1409">
                  <c:v>42958</c:v>
                </c:pt>
                <c:pt idx="1410">
                  <c:v>42961</c:v>
                </c:pt>
                <c:pt idx="1411">
                  <c:v>42962</c:v>
                </c:pt>
                <c:pt idx="1412">
                  <c:v>42963</c:v>
                </c:pt>
                <c:pt idx="1413">
                  <c:v>42964</c:v>
                </c:pt>
                <c:pt idx="1414">
                  <c:v>42965</c:v>
                </c:pt>
                <c:pt idx="1415">
                  <c:v>42968</c:v>
                </c:pt>
                <c:pt idx="1416">
                  <c:v>42969</c:v>
                </c:pt>
                <c:pt idx="1417">
                  <c:v>42970</c:v>
                </c:pt>
                <c:pt idx="1418">
                  <c:v>42971</c:v>
                </c:pt>
                <c:pt idx="1419">
                  <c:v>42972</c:v>
                </c:pt>
                <c:pt idx="1420">
                  <c:v>42975</c:v>
                </c:pt>
                <c:pt idx="1421">
                  <c:v>42976</c:v>
                </c:pt>
                <c:pt idx="1422">
                  <c:v>42977</c:v>
                </c:pt>
                <c:pt idx="1423">
                  <c:v>42978</c:v>
                </c:pt>
                <c:pt idx="1424">
                  <c:v>42979</c:v>
                </c:pt>
                <c:pt idx="1425">
                  <c:v>42982</c:v>
                </c:pt>
                <c:pt idx="1426">
                  <c:v>42983</c:v>
                </c:pt>
                <c:pt idx="1427">
                  <c:v>42984</c:v>
                </c:pt>
                <c:pt idx="1428">
                  <c:v>42985</c:v>
                </c:pt>
                <c:pt idx="1429">
                  <c:v>42986</c:v>
                </c:pt>
                <c:pt idx="1430">
                  <c:v>42989</c:v>
                </c:pt>
                <c:pt idx="1431">
                  <c:v>42990</c:v>
                </c:pt>
                <c:pt idx="1432">
                  <c:v>42991</c:v>
                </c:pt>
                <c:pt idx="1433">
                  <c:v>42992</c:v>
                </c:pt>
                <c:pt idx="1434">
                  <c:v>42993</c:v>
                </c:pt>
                <c:pt idx="1435">
                  <c:v>42996</c:v>
                </c:pt>
                <c:pt idx="1436">
                  <c:v>42997</c:v>
                </c:pt>
                <c:pt idx="1437">
                  <c:v>42998</c:v>
                </c:pt>
                <c:pt idx="1438">
                  <c:v>42999</c:v>
                </c:pt>
                <c:pt idx="1439">
                  <c:v>43000</c:v>
                </c:pt>
                <c:pt idx="1440">
                  <c:v>43003</c:v>
                </c:pt>
                <c:pt idx="1441">
                  <c:v>43004</c:v>
                </c:pt>
                <c:pt idx="1442">
                  <c:v>43005</c:v>
                </c:pt>
                <c:pt idx="1443">
                  <c:v>43006</c:v>
                </c:pt>
                <c:pt idx="1444">
                  <c:v>43007</c:v>
                </c:pt>
                <c:pt idx="1445">
                  <c:v>43010</c:v>
                </c:pt>
                <c:pt idx="1446">
                  <c:v>43011</c:v>
                </c:pt>
                <c:pt idx="1447">
                  <c:v>43012</c:v>
                </c:pt>
                <c:pt idx="1448">
                  <c:v>43013</c:v>
                </c:pt>
                <c:pt idx="1449">
                  <c:v>43014</c:v>
                </c:pt>
                <c:pt idx="1450">
                  <c:v>43017</c:v>
                </c:pt>
                <c:pt idx="1451">
                  <c:v>43018</c:v>
                </c:pt>
                <c:pt idx="1452">
                  <c:v>43019</c:v>
                </c:pt>
                <c:pt idx="1453">
                  <c:v>43020</c:v>
                </c:pt>
                <c:pt idx="1454">
                  <c:v>43021</c:v>
                </c:pt>
                <c:pt idx="1455">
                  <c:v>43024</c:v>
                </c:pt>
                <c:pt idx="1456">
                  <c:v>43025</c:v>
                </c:pt>
                <c:pt idx="1457">
                  <c:v>43026</c:v>
                </c:pt>
                <c:pt idx="1458">
                  <c:v>43027</c:v>
                </c:pt>
                <c:pt idx="1459">
                  <c:v>43028</c:v>
                </c:pt>
                <c:pt idx="1460">
                  <c:v>43031</c:v>
                </c:pt>
                <c:pt idx="1461">
                  <c:v>43032</c:v>
                </c:pt>
                <c:pt idx="1462">
                  <c:v>43033</c:v>
                </c:pt>
                <c:pt idx="1463">
                  <c:v>43034</c:v>
                </c:pt>
                <c:pt idx="1464">
                  <c:v>43035</c:v>
                </c:pt>
                <c:pt idx="1465">
                  <c:v>43038</c:v>
                </c:pt>
                <c:pt idx="1466">
                  <c:v>43039</c:v>
                </c:pt>
                <c:pt idx="1467">
                  <c:v>43040</c:v>
                </c:pt>
                <c:pt idx="1468">
                  <c:v>43041</c:v>
                </c:pt>
                <c:pt idx="1469">
                  <c:v>43042</c:v>
                </c:pt>
                <c:pt idx="1470">
                  <c:v>43045</c:v>
                </c:pt>
                <c:pt idx="1471">
                  <c:v>43046</c:v>
                </c:pt>
                <c:pt idx="1472">
                  <c:v>43047</c:v>
                </c:pt>
                <c:pt idx="1473">
                  <c:v>43048</c:v>
                </c:pt>
                <c:pt idx="1474">
                  <c:v>43049</c:v>
                </c:pt>
                <c:pt idx="1475">
                  <c:v>43052</c:v>
                </c:pt>
                <c:pt idx="1476">
                  <c:v>43053</c:v>
                </c:pt>
                <c:pt idx="1477">
                  <c:v>43054</c:v>
                </c:pt>
                <c:pt idx="1478">
                  <c:v>43055</c:v>
                </c:pt>
                <c:pt idx="1479">
                  <c:v>43056</c:v>
                </c:pt>
                <c:pt idx="1480">
                  <c:v>43059</c:v>
                </c:pt>
                <c:pt idx="1481">
                  <c:v>43060</c:v>
                </c:pt>
                <c:pt idx="1482">
                  <c:v>43061</c:v>
                </c:pt>
                <c:pt idx="1483">
                  <c:v>43062</c:v>
                </c:pt>
                <c:pt idx="1484">
                  <c:v>43063</c:v>
                </c:pt>
                <c:pt idx="1485">
                  <c:v>43066</c:v>
                </c:pt>
                <c:pt idx="1486">
                  <c:v>43067</c:v>
                </c:pt>
                <c:pt idx="1487">
                  <c:v>43068</c:v>
                </c:pt>
                <c:pt idx="1488">
                  <c:v>43069</c:v>
                </c:pt>
                <c:pt idx="1489">
                  <c:v>43070</c:v>
                </c:pt>
                <c:pt idx="1490">
                  <c:v>43073</c:v>
                </c:pt>
                <c:pt idx="1491">
                  <c:v>43074</c:v>
                </c:pt>
                <c:pt idx="1492">
                  <c:v>43075</c:v>
                </c:pt>
                <c:pt idx="1493">
                  <c:v>43076</c:v>
                </c:pt>
                <c:pt idx="1494">
                  <c:v>43077</c:v>
                </c:pt>
                <c:pt idx="1495">
                  <c:v>43080</c:v>
                </c:pt>
                <c:pt idx="1496">
                  <c:v>43081</c:v>
                </c:pt>
                <c:pt idx="1497">
                  <c:v>43082</c:v>
                </c:pt>
                <c:pt idx="1498">
                  <c:v>43083</c:v>
                </c:pt>
                <c:pt idx="1499">
                  <c:v>43084</c:v>
                </c:pt>
                <c:pt idx="1500">
                  <c:v>43087</c:v>
                </c:pt>
                <c:pt idx="1501">
                  <c:v>43088</c:v>
                </c:pt>
                <c:pt idx="1502">
                  <c:v>43089</c:v>
                </c:pt>
                <c:pt idx="1503">
                  <c:v>43090</c:v>
                </c:pt>
                <c:pt idx="1504">
                  <c:v>43091</c:v>
                </c:pt>
                <c:pt idx="1505">
                  <c:v>43094</c:v>
                </c:pt>
                <c:pt idx="1506">
                  <c:v>43095</c:v>
                </c:pt>
                <c:pt idx="1507">
                  <c:v>43096</c:v>
                </c:pt>
                <c:pt idx="1508">
                  <c:v>43097</c:v>
                </c:pt>
                <c:pt idx="1509">
                  <c:v>43098</c:v>
                </c:pt>
                <c:pt idx="1510">
                  <c:v>43101</c:v>
                </c:pt>
                <c:pt idx="1511">
                  <c:v>43102</c:v>
                </c:pt>
                <c:pt idx="1512">
                  <c:v>43103</c:v>
                </c:pt>
                <c:pt idx="1513">
                  <c:v>43104</c:v>
                </c:pt>
                <c:pt idx="1514">
                  <c:v>43105</c:v>
                </c:pt>
                <c:pt idx="1515">
                  <c:v>43108</c:v>
                </c:pt>
                <c:pt idx="1516">
                  <c:v>43109</c:v>
                </c:pt>
                <c:pt idx="1517">
                  <c:v>43110</c:v>
                </c:pt>
                <c:pt idx="1518">
                  <c:v>43111</c:v>
                </c:pt>
                <c:pt idx="1519">
                  <c:v>43112</c:v>
                </c:pt>
                <c:pt idx="1520">
                  <c:v>43115</c:v>
                </c:pt>
                <c:pt idx="1521">
                  <c:v>43116</c:v>
                </c:pt>
                <c:pt idx="1522">
                  <c:v>43117</c:v>
                </c:pt>
                <c:pt idx="1523">
                  <c:v>43118</c:v>
                </c:pt>
                <c:pt idx="1524">
                  <c:v>43119</c:v>
                </c:pt>
                <c:pt idx="1525">
                  <c:v>43122</c:v>
                </c:pt>
                <c:pt idx="1526">
                  <c:v>43123</c:v>
                </c:pt>
                <c:pt idx="1527">
                  <c:v>43124</c:v>
                </c:pt>
                <c:pt idx="1528">
                  <c:v>43125</c:v>
                </c:pt>
                <c:pt idx="1529">
                  <c:v>43126</c:v>
                </c:pt>
                <c:pt idx="1530">
                  <c:v>43129</c:v>
                </c:pt>
                <c:pt idx="1531">
                  <c:v>43130</c:v>
                </c:pt>
                <c:pt idx="1532">
                  <c:v>43131</c:v>
                </c:pt>
                <c:pt idx="1533">
                  <c:v>43132</c:v>
                </c:pt>
                <c:pt idx="1534">
                  <c:v>43133</c:v>
                </c:pt>
                <c:pt idx="1535">
                  <c:v>43136</c:v>
                </c:pt>
                <c:pt idx="1536">
                  <c:v>43137</c:v>
                </c:pt>
                <c:pt idx="1537">
                  <c:v>43138</c:v>
                </c:pt>
                <c:pt idx="1538">
                  <c:v>43139</c:v>
                </c:pt>
                <c:pt idx="1539">
                  <c:v>43140</c:v>
                </c:pt>
                <c:pt idx="1540">
                  <c:v>43143</c:v>
                </c:pt>
                <c:pt idx="1541">
                  <c:v>43144</c:v>
                </c:pt>
                <c:pt idx="1542">
                  <c:v>43145</c:v>
                </c:pt>
                <c:pt idx="1543">
                  <c:v>43146</c:v>
                </c:pt>
                <c:pt idx="1544">
                  <c:v>43147</c:v>
                </c:pt>
                <c:pt idx="1545">
                  <c:v>43150</c:v>
                </c:pt>
                <c:pt idx="1546">
                  <c:v>43151</c:v>
                </c:pt>
                <c:pt idx="1547">
                  <c:v>43152</c:v>
                </c:pt>
                <c:pt idx="1548">
                  <c:v>43153</c:v>
                </c:pt>
                <c:pt idx="1549">
                  <c:v>43154</c:v>
                </c:pt>
                <c:pt idx="1550">
                  <c:v>43157</c:v>
                </c:pt>
                <c:pt idx="1551">
                  <c:v>43158</c:v>
                </c:pt>
                <c:pt idx="1552">
                  <c:v>43159</c:v>
                </c:pt>
                <c:pt idx="1553">
                  <c:v>43160</c:v>
                </c:pt>
                <c:pt idx="1554">
                  <c:v>43161</c:v>
                </c:pt>
                <c:pt idx="1555">
                  <c:v>43164</c:v>
                </c:pt>
                <c:pt idx="1556">
                  <c:v>43165</c:v>
                </c:pt>
                <c:pt idx="1557">
                  <c:v>43166</c:v>
                </c:pt>
                <c:pt idx="1558">
                  <c:v>43167</c:v>
                </c:pt>
                <c:pt idx="1559">
                  <c:v>43168</c:v>
                </c:pt>
                <c:pt idx="1560">
                  <c:v>43171</c:v>
                </c:pt>
                <c:pt idx="1561">
                  <c:v>43172</c:v>
                </c:pt>
                <c:pt idx="1562">
                  <c:v>43173</c:v>
                </c:pt>
                <c:pt idx="1563">
                  <c:v>43174</c:v>
                </c:pt>
                <c:pt idx="1564">
                  <c:v>43175</c:v>
                </c:pt>
                <c:pt idx="1565">
                  <c:v>43178</c:v>
                </c:pt>
                <c:pt idx="1566">
                  <c:v>43179</c:v>
                </c:pt>
                <c:pt idx="1567">
                  <c:v>43180</c:v>
                </c:pt>
                <c:pt idx="1568">
                  <c:v>43181</c:v>
                </c:pt>
                <c:pt idx="1569">
                  <c:v>43182</c:v>
                </c:pt>
                <c:pt idx="1570">
                  <c:v>43185</c:v>
                </c:pt>
                <c:pt idx="1571">
                  <c:v>43186</c:v>
                </c:pt>
                <c:pt idx="1572">
                  <c:v>43187</c:v>
                </c:pt>
                <c:pt idx="1573">
                  <c:v>43188</c:v>
                </c:pt>
                <c:pt idx="1574">
                  <c:v>43189</c:v>
                </c:pt>
                <c:pt idx="1575">
                  <c:v>43192</c:v>
                </c:pt>
                <c:pt idx="1576">
                  <c:v>43193</c:v>
                </c:pt>
                <c:pt idx="1577">
                  <c:v>43194</c:v>
                </c:pt>
                <c:pt idx="1578">
                  <c:v>43195</c:v>
                </c:pt>
                <c:pt idx="1579">
                  <c:v>43196</c:v>
                </c:pt>
                <c:pt idx="1580">
                  <c:v>43199</c:v>
                </c:pt>
                <c:pt idx="1581">
                  <c:v>43200</c:v>
                </c:pt>
                <c:pt idx="1582">
                  <c:v>43201</c:v>
                </c:pt>
                <c:pt idx="1583">
                  <c:v>43202</c:v>
                </c:pt>
                <c:pt idx="1584">
                  <c:v>43203</c:v>
                </c:pt>
                <c:pt idx="1585">
                  <c:v>43206</c:v>
                </c:pt>
                <c:pt idx="1586">
                  <c:v>43207</c:v>
                </c:pt>
                <c:pt idx="1587">
                  <c:v>43208</c:v>
                </c:pt>
                <c:pt idx="1588">
                  <c:v>43209</c:v>
                </c:pt>
                <c:pt idx="1589">
                  <c:v>43210</c:v>
                </c:pt>
                <c:pt idx="1590">
                  <c:v>43213</c:v>
                </c:pt>
                <c:pt idx="1591">
                  <c:v>43214</c:v>
                </c:pt>
                <c:pt idx="1592">
                  <c:v>43215</c:v>
                </c:pt>
                <c:pt idx="1593">
                  <c:v>43216</c:v>
                </c:pt>
                <c:pt idx="1594">
                  <c:v>43217</c:v>
                </c:pt>
                <c:pt idx="1595">
                  <c:v>43220</c:v>
                </c:pt>
                <c:pt idx="1596">
                  <c:v>43221</c:v>
                </c:pt>
                <c:pt idx="1597">
                  <c:v>43222</c:v>
                </c:pt>
                <c:pt idx="1598">
                  <c:v>43223</c:v>
                </c:pt>
                <c:pt idx="1599">
                  <c:v>43224</c:v>
                </c:pt>
                <c:pt idx="1600">
                  <c:v>43227</c:v>
                </c:pt>
                <c:pt idx="1601">
                  <c:v>43228</c:v>
                </c:pt>
                <c:pt idx="1602">
                  <c:v>43229</c:v>
                </c:pt>
                <c:pt idx="1603">
                  <c:v>43230</c:v>
                </c:pt>
                <c:pt idx="1604">
                  <c:v>43231</c:v>
                </c:pt>
                <c:pt idx="1605">
                  <c:v>43234</c:v>
                </c:pt>
                <c:pt idx="1606">
                  <c:v>43235</c:v>
                </c:pt>
                <c:pt idx="1607">
                  <c:v>43236</c:v>
                </c:pt>
                <c:pt idx="1608">
                  <c:v>43237</c:v>
                </c:pt>
                <c:pt idx="1609">
                  <c:v>43238</c:v>
                </c:pt>
                <c:pt idx="1610">
                  <c:v>43241</c:v>
                </c:pt>
                <c:pt idx="1611">
                  <c:v>43242</c:v>
                </c:pt>
                <c:pt idx="1612">
                  <c:v>43243</c:v>
                </c:pt>
                <c:pt idx="1613">
                  <c:v>43244</c:v>
                </c:pt>
                <c:pt idx="1614">
                  <c:v>43245</c:v>
                </c:pt>
                <c:pt idx="1615">
                  <c:v>43248</c:v>
                </c:pt>
                <c:pt idx="1616">
                  <c:v>43249</c:v>
                </c:pt>
                <c:pt idx="1617">
                  <c:v>43250</c:v>
                </c:pt>
                <c:pt idx="1618">
                  <c:v>43251</c:v>
                </c:pt>
                <c:pt idx="1619">
                  <c:v>43252</c:v>
                </c:pt>
                <c:pt idx="1620">
                  <c:v>43255</c:v>
                </c:pt>
                <c:pt idx="1621">
                  <c:v>43256</c:v>
                </c:pt>
                <c:pt idx="1622">
                  <c:v>43257</c:v>
                </c:pt>
                <c:pt idx="1623">
                  <c:v>43258</c:v>
                </c:pt>
                <c:pt idx="1624">
                  <c:v>43259</c:v>
                </c:pt>
                <c:pt idx="1625">
                  <c:v>43262</c:v>
                </c:pt>
                <c:pt idx="1626">
                  <c:v>43263</c:v>
                </c:pt>
                <c:pt idx="1627">
                  <c:v>43264</c:v>
                </c:pt>
                <c:pt idx="1628">
                  <c:v>43265</c:v>
                </c:pt>
                <c:pt idx="1629">
                  <c:v>43266</c:v>
                </c:pt>
                <c:pt idx="1630">
                  <c:v>43269</c:v>
                </c:pt>
                <c:pt idx="1631">
                  <c:v>43270</c:v>
                </c:pt>
                <c:pt idx="1632">
                  <c:v>43271</c:v>
                </c:pt>
                <c:pt idx="1633">
                  <c:v>43272</c:v>
                </c:pt>
                <c:pt idx="1634">
                  <c:v>43273</c:v>
                </c:pt>
                <c:pt idx="1635">
                  <c:v>43276</c:v>
                </c:pt>
                <c:pt idx="1636">
                  <c:v>43277</c:v>
                </c:pt>
                <c:pt idx="1637">
                  <c:v>43278</c:v>
                </c:pt>
                <c:pt idx="1638">
                  <c:v>43279</c:v>
                </c:pt>
                <c:pt idx="1639">
                  <c:v>43280</c:v>
                </c:pt>
                <c:pt idx="1640">
                  <c:v>43283</c:v>
                </c:pt>
                <c:pt idx="1641">
                  <c:v>43284</c:v>
                </c:pt>
                <c:pt idx="1642">
                  <c:v>43285</c:v>
                </c:pt>
                <c:pt idx="1643">
                  <c:v>43286</c:v>
                </c:pt>
                <c:pt idx="1644">
                  <c:v>43287</c:v>
                </c:pt>
                <c:pt idx="1645">
                  <c:v>43290</c:v>
                </c:pt>
                <c:pt idx="1646">
                  <c:v>43291</c:v>
                </c:pt>
                <c:pt idx="1647">
                  <c:v>43292</c:v>
                </c:pt>
                <c:pt idx="1648">
                  <c:v>43293</c:v>
                </c:pt>
                <c:pt idx="1649">
                  <c:v>43294</c:v>
                </c:pt>
                <c:pt idx="1650">
                  <c:v>43297</c:v>
                </c:pt>
                <c:pt idx="1651">
                  <c:v>43298</c:v>
                </c:pt>
                <c:pt idx="1652">
                  <c:v>43299</c:v>
                </c:pt>
                <c:pt idx="1653">
                  <c:v>43300</c:v>
                </c:pt>
                <c:pt idx="1654">
                  <c:v>43301</c:v>
                </c:pt>
                <c:pt idx="1655">
                  <c:v>43304</c:v>
                </c:pt>
                <c:pt idx="1656">
                  <c:v>43305</c:v>
                </c:pt>
                <c:pt idx="1657">
                  <c:v>43306</c:v>
                </c:pt>
                <c:pt idx="1658">
                  <c:v>43307</c:v>
                </c:pt>
                <c:pt idx="1659">
                  <c:v>43308</c:v>
                </c:pt>
                <c:pt idx="1660">
                  <c:v>43311</c:v>
                </c:pt>
                <c:pt idx="1661">
                  <c:v>43312</c:v>
                </c:pt>
                <c:pt idx="1662">
                  <c:v>43313</c:v>
                </c:pt>
                <c:pt idx="1663">
                  <c:v>43314</c:v>
                </c:pt>
                <c:pt idx="1664">
                  <c:v>43315</c:v>
                </c:pt>
                <c:pt idx="1665">
                  <c:v>43318</c:v>
                </c:pt>
                <c:pt idx="1666">
                  <c:v>43319</c:v>
                </c:pt>
                <c:pt idx="1667">
                  <c:v>43320</c:v>
                </c:pt>
                <c:pt idx="1668">
                  <c:v>43321</c:v>
                </c:pt>
                <c:pt idx="1669">
                  <c:v>43322</c:v>
                </c:pt>
                <c:pt idx="1670">
                  <c:v>43325</c:v>
                </c:pt>
                <c:pt idx="1671">
                  <c:v>43326</c:v>
                </c:pt>
                <c:pt idx="1672">
                  <c:v>43327</c:v>
                </c:pt>
                <c:pt idx="1673">
                  <c:v>43328</c:v>
                </c:pt>
                <c:pt idx="1674">
                  <c:v>43329</c:v>
                </c:pt>
                <c:pt idx="1675">
                  <c:v>43332</c:v>
                </c:pt>
                <c:pt idx="1676">
                  <c:v>43333</c:v>
                </c:pt>
                <c:pt idx="1677">
                  <c:v>43334</c:v>
                </c:pt>
                <c:pt idx="1678">
                  <c:v>43335</c:v>
                </c:pt>
                <c:pt idx="1679">
                  <c:v>43336</c:v>
                </c:pt>
                <c:pt idx="1680">
                  <c:v>43339</c:v>
                </c:pt>
                <c:pt idx="1681">
                  <c:v>43340</c:v>
                </c:pt>
                <c:pt idx="1682">
                  <c:v>43341</c:v>
                </c:pt>
                <c:pt idx="1683">
                  <c:v>43342</c:v>
                </c:pt>
                <c:pt idx="1684">
                  <c:v>43343</c:v>
                </c:pt>
                <c:pt idx="1685">
                  <c:v>43346</c:v>
                </c:pt>
                <c:pt idx="1686">
                  <c:v>43347</c:v>
                </c:pt>
                <c:pt idx="1687">
                  <c:v>43348</c:v>
                </c:pt>
                <c:pt idx="1688">
                  <c:v>43349</c:v>
                </c:pt>
                <c:pt idx="1689">
                  <c:v>43350</c:v>
                </c:pt>
                <c:pt idx="1690">
                  <c:v>43353</c:v>
                </c:pt>
                <c:pt idx="1691">
                  <c:v>43354</c:v>
                </c:pt>
                <c:pt idx="1692">
                  <c:v>43355</c:v>
                </c:pt>
                <c:pt idx="1693">
                  <c:v>43356</c:v>
                </c:pt>
                <c:pt idx="1694">
                  <c:v>43357</c:v>
                </c:pt>
                <c:pt idx="1695">
                  <c:v>43360</c:v>
                </c:pt>
                <c:pt idx="1696">
                  <c:v>43361</c:v>
                </c:pt>
                <c:pt idx="1697">
                  <c:v>43362</c:v>
                </c:pt>
                <c:pt idx="1698">
                  <c:v>43363</c:v>
                </c:pt>
                <c:pt idx="1699">
                  <c:v>43364</c:v>
                </c:pt>
                <c:pt idx="1700">
                  <c:v>43367</c:v>
                </c:pt>
                <c:pt idx="1701">
                  <c:v>43368</c:v>
                </c:pt>
                <c:pt idx="1702">
                  <c:v>43369</c:v>
                </c:pt>
                <c:pt idx="1703">
                  <c:v>43370</c:v>
                </c:pt>
                <c:pt idx="1704">
                  <c:v>43371</c:v>
                </c:pt>
                <c:pt idx="1705">
                  <c:v>43374</c:v>
                </c:pt>
                <c:pt idx="1706">
                  <c:v>43375</c:v>
                </c:pt>
                <c:pt idx="1707">
                  <c:v>43376</c:v>
                </c:pt>
                <c:pt idx="1708">
                  <c:v>43377</c:v>
                </c:pt>
                <c:pt idx="1709">
                  <c:v>43378</c:v>
                </c:pt>
                <c:pt idx="1710">
                  <c:v>43381</c:v>
                </c:pt>
                <c:pt idx="1711">
                  <c:v>43382</c:v>
                </c:pt>
                <c:pt idx="1712">
                  <c:v>43383</c:v>
                </c:pt>
                <c:pt idx="1713">
                  <c:v>43384</c:v>
                </c:pt>
                <c:pt idx="1714">
                  <c:v>43385</c:v>
                </c:pt>
                <c:pt idx="1715">
                  <c:v>43388</c:v>
                </c:pt>
                <c:pt idx="1716">
                  <c:v>43389</c:v>
                </c:pt>
                <c:pt idx="1717">
                  <c:v>43390</c:v>
                </c:pt>
                <c:pt idx="1718">
                  <c:v>43391</c:v>
                </c:pt>
                <c:pt idx="1719">
                  <c:v>43392</c:v>
                </c:pt>
                <c:pt idx="1720">
                  <c:v>43395</c:v>
                </c:pt>
                <c:pt idx="1721">
                  <c:v>43396</c:v>
                </c:pt>
                <c:pt idx="1722">
                  <c:v>43397</c:v>
                </c:pt>
                <c:pt idx="1723">
                  <c:v>43398</c:v>
                </c:pt>
                <c:pt idx="1724">
                  <c:v>43399</c:v>
                </c:pt>
                <c:pt idx="1725">
                  <c:v>43402</c:v>
                </c:pt>
                <c:pt idx="1726">
                  <c:v>43403</c:v>
                </c:pt>
                <c:pt idx="1727">
                  <c:v>43404</c:v>
                </c:pt>
                <c:pt idx="1728">
                  <c:v>43405</c:v>
                </c:pt>
                <c:pt idx="1729">
                  <c:v>43406</c:v>
                </c:pt>
                <c:pt idx="1730">
                  <c:v>43409</c:v>
                </c:pt>
                <c:pt idx="1731">
                  <c:v>43410</c:v>
                </c:pt>
                <c:pt idx="1732">
                  <c:v>43411</c:v>
                </c:pt>
                <c:pt idx="1733">
                  <c:v>43412</c:v>
                </c:pt>
                <c:pt idx="1734">
                  <c:v>43413</c:v>
                </c:pt>
                <c:pt idx="1735">
                  <c:v>43416</c:v>
                </c:pt>
                <c:pt idx="1736">
                  <c:v>43417</c:v>
                </c:pt>
                <c:pt idx="1737">
                  <c:v>43418</c:v>
                </c:pt>
                <c:pt idx="1738">
                  <c:v>43419</c:v>
                </c:pt>
                <c:pt idx="1739">
                  <c:v>43420</c:v>
                </c:pt>
                <c:pt idx="1740">
                  <c:v>43423</c:v>
                </c:pt>
                <c:pt idx="1741">
                  <c:v>43424</c:v>
                </c:pt>
                <c:pt idx="1742">
                  <c:v>43425</c:v>
                </c:pt>
                <c:pt idx="1743">
                  <c:v>43426</c:v>
                </c:pt>
                <c:pt idx="1744">
                  <c:v>43427</c:v>
                </c:pt>
                <c:pt idx="1745">
                  <c:v>43430</c:v>
                </c:pt>
                <c:pt idx="1746">
                  <c:v>43431</c:v>
                </c:pt>
                <c:pt idx="1747">
                  <c:v>43432</c:v>
                </c:pt>
                <c:pt idx="1748">
                  <c:v>43433</c:v>
                </c:pt>
                <c:pt idx="1749">
                  <c:v>43434</c:v>
                </c:pt>
                <c:pt idx="1750">
                  <c:v>43437</c:v>
                </c:pt>
                <c:pt idx="1751">
                  <c:v>43438</c:v>
                </c:pt>
                <c:pt idx="1752">
                  <c:v>43439</c:v>
                </c:pt>
                <c:pt idx="1753">
                  <c:v>43440</c:v>
                </c:pt>
                <c:pt idx="1754">
                  <c:v>43441</c:v>
                </c:pt>
                <c:pt idx="1755">
                  <c:v>43444</c:v>
                </c:pt>
                <c:pt idx="1756">
                  <c:v>43445</c:v>
                </c:pt>
                <c:pt idx="1757">
                  <c:v>43446</c:v>
                </c:pt>
                <c:pt idx="1758">
                  <c:v>43447</c:v>
                </c:pt>
                <c:pt idx="1759">
                  <c:v>43448</c:v>
                </c:pt>
                <c:pt idx="1760">
                  <c:v>43451</c:v>
                </c:pt>
                <c:pt idx="1761">
                  <c:v>43452</c:v>
                </c:pt>
                <c:pt idx="1762">
                  <c:v>43453</c:v>
                </c:pt>
                <c:pt idx="1763">
                  <c:v>43454</c:v>
                </c:pt>
                <c:pt idx="1764">
                  <c:v>43455</c:v>
                </c:pt>
                <c:pt idx="1765">
                  <c:v>43458</c:v>
                </c:pt>
                <c:pt idx="1766">
                  <c:v>43459</c:v>
                </c:pt>
                <c:pt idx="1767">
                  <c:v>43460</c:v>
                </c:pt>
                <c:pt idx="1768">
                  <c:v>43461</c:v>
                </c:pt>
                <c:pt idx="1769">
                  <c:v>43462</c:v>
                </c:pt>
                <c:pt idx="1770">
                  <c:v>43465</c:v>
                </c:pt>
                <c:pt idx="1771">
                  <c:v>43466</c:v>
                </c:pt>
                <c:pt idx="1772">
                  <c:v>43467</c:v>
                </c:pt>
                <c:pt idx="1773">
                  <c:v>43468</c:v>
                </c:pt>
                <c:pt idx="1774">
                  <c:v>43469</c:v>
                </c:pt>
                <c:pt idx="1775">
                  <c:v>43472</c:v>
                </c:pt>
                <c:pt idx="1776">
                  <c:v>43473</c:v>
                </c:pt>
                <c:pt idx="1777">
                  <c:v>43474</c:v>
                </c:pt>
                <c:pt idx="1778">
                  <c:v>43475</c:v>
                </c:pt>
                <c:pt idx="1779">
                  <c:v>43476</c:v>
                </c:pt>
                <c:pt idx="1780">
                  <c:v>43479</c:v>
                </c:pt>
                <c:pt idx="1781">
                  <c:v>43480</c:v>
                </c:pt>
                <c:pt idx="1782">
                  <c:v>43481</c:v>
                </c:pt>
                <c:pt idx="1783">
                  <c:v>43482</c:v>
                </c:pt>
                <c:pt idx="1784">
                  <c:v>43483</c:v>
                </c:pt>
                <c:pt idx="1785">
                  <c:v>43486</c:v>
                </c:pt>
                <c:pt idx="1786">
                  <c:v>43487</c:v>
                </c:pt>
                <c:pt idx="1787">
                  <c:v>43488</c:v>
                </c:pt>
                <c:pt idx="1788">
                  <c:v>43489</c:v>
                </c:pt>
                <c:pt idx="1789">
                  <c:v>43490</c:v>
                </c:pt>
                <c:pt idx="1790">
                  <c:v>43493</c:v>
                </c:pt>
                <c:pt idx="1791">
                  <c:v>43494</c:v>
                </c:pt>
                <c:pt idx="1792">
                  <c:v>43495</c:v>
                </c:pt>
                <c:pt idx="1793">
                  <c:v>43496</c:v>
                </c:pt>
                <c:pt idx="1794">
                  <c:v>43497</c:v>
                </c:pt>
                <c:pt idx="1795">
                  <c:v>43500</c:v>
                </c:pt>
                <c:pt idx="1796">
                  <c:v>43501</c:v>
                </c:pt>
                <c:pt idx="1797">
                  <c:v>43502</c:v>
                </c:pt>
                <c:pt idx="1798">
                  <c:v>43503</c:v>
                </c:pt>
                <c:pt idx="1799">
                  <c:v>43504</c:v>
                </c:pt>
                <c:pt idx="1800">
                  <c:v>43507</c:v>
                </c:pt>
                <c:pt idx="1801">
                  <c:v>43508</c:v>
                </c:pt>
                <c:pt idx="1802">
                  <c:v>43509</c:v>
                </c:pt>
                <c:pt idx="1803">
                  <c:v>43510</c:v>
                </c:pt>
                <c:pt idx="1804">
                  <c:v>43511</c:v>
                </c:pt>
                <c:pt idx="1805">
                  <c:v>43514</c:v>
                </c:pt>
                <c:pt idx="1806">
                  <c:v>43515</c:v>
                </c:pt>
                <c:pt idx="1807">
                  <c:v>43516</c:v>
                </c:pt>
                <c:pt idx="1808">
                  <c:v>43517</c:v>
                </c:pt>
                <c:pt idx="1809">
                  <c:v>43518</c:v>
                </c:pt>
                <c:pt idx="1810">
                  <c:v>43521</c:v>
                </c:pt>
                <c:pt idx="1811">
                  <c:v>43522</c:v>
                </c:pt>
                <c:pt idx="1812">
                  <c:v>43523</c:v>
                </c:pt>
                <c:pt idx="1813">
                  <c:v>43524</c:v>
                </c:pt>
                <c:pt idx="1814">
                  <c:v>43525</c:v>
                </c:pt>
                <c:pt idx="1815">
                  <c:v>43528</c:v>
                </c:pt>
                <c:pt idx="1816">
                  <c:v>43529</c:v>
                </c:pt>
                <c:pt idx="1817">
                  <c:v>43530</c:v>
                </c:pt>
                <c:pt idx="1818">
                  <c:v>43531</c:v>
                </c:pt>
                <c:pt idx="1819">
                  <c:v>43532</c:v>
                </c:pt>
                <c:pt idx="1820">
                  <c:v>43535</c:v>
                </c:pt>
                <c:pt idx="1821">
                  <c:v>43536</c:v>
                </c:pt>
                <c:pt idx="1822">
                  <c:v>43537</c:v>
                </c:pt>
                <c:pt idx="1823">
                  <c:v>43538</c:v>
                </c:pt>
                <c:pt idx="1824">
                  <c:v>43539</c:v>
                </c:pt>
                <c:pt idx="1825">
                  <c:v>43542</c:v>
                </c:pt>
                <c:pt idx="1826">
                  <c:v>43543</c:v>
                </c:pt>
                <c:pt idx="1827">
                  <c:v>43544</c:v>
                </c:pt>
                <c:pt idx="1828">
                  <c:v>43545</c:v>
                </c:pt>
                <c:pt idx="1829">
                  <c:v>43546</c:v>
                </c:pt>
                <c:pt idx="1830">
                  <c:v>43549</c:v>
                </c:pt>
                <c:pt idx="1831">
                  <c:v>43550</c:v>
                </c:pt>
                <c:pt idx="1832">
                  <c:v>43551</c:v>
                </c:pt>
                <c:pt idx="1833">
                  <c:v>43552</c:v>
                </c:pt>
                <c:pt idx="1834">
                  <c:v>43553</c:v>
                </c:pt>
                <c:pt idx="1835">
                  <c:v>43556</c:v>
                </c:pt>
                <c:pt idx="1836">
                  <c:v>43557</c:v>
                </c:pt>
                <c:pt idx="1837">
                  <c:v>43558</c:v>
                </c:pt>
                <c:pt idx="1838">
                  <c:v>43559</c:v>
                </c:pt>
                <c:pt idx="1839">
                  <c:v>43560</c:v>
                </c:pt>
                <c:pt idx="1840">
                  <c:v>43563</c:v>
                </c:pt>
                <c:pt idx="1841">
                  <c:v>43564</c:v>
                </c:pt>
                <c:pt idx="1842">
                  <c:v>43565</c:v>
                </c:pt>
                <c:pt idx="1843">
                  <c:v>43566</c:v>
                </c:pt>
                <c:pt idx="1844">
                  <c:v>43567</c:v>
                </c:pt>
                <c:pt idx="1845">
                  <c:v>43570</c:v>
                </c:pt>
                <c:pt idx="1846">
                  <c:v>43571</c:v>
                </c:pt>
                <c:pt idx="1847">
                  <c:v>43572</c:v>
                </c:pt>
                <c:pt idx="1848">
                  <c:v>43573</c:v>
                </c:pt>
                <c:pt idx="1849">
                  <c:v>43574</c:v>
                </c:pt>
                <c:pt idx="1850">
                  <c:v>43577</c:v>
                </c:pt>
                <c:pt idx="1851">
                  <c:v>43578</c:v>
                </c:pt>
                <c:pt idx="1852">
                  <c:v>43579</c:v>
                </c:pt>
                <c:pt idx="1853">
                  <c:v>43580</c:v>
                </c:pt>
                <c:pt idx="1854">
                  <c:v>43581</c:v>
                </c:pt>
                <c:pt idx="1855">
                  <c:v>43584</c:v>
                </c:pt>
                <c:pt idx="1856">
                  <c:v>43585</c:v>
                </c:pt>
                <c:pt idx="1857">
                  <c:v>43586</c:v>
                </c:pt>
                <c:pt idx="1858">
                  <c:v>43587</c:v>
                </c:pt>
                <c:pt idx="1859">
                  <c:v>43588</c:v>
                </c:pt>
                <c:pt idx="1860">
                  <c:v>43591</c:v>
                </c:pt>
                <c:pt idx="1861">
                  <c:v>43592</c:v>
                </c:pt>
                <c:pt idx="1862">
                  <c:v>43593</c:v>
                </c:pt>
                <c:pt idx="1863">
                  <c:v>43594</c:v>
                </c:pt>
                <c:pt idx="1864">
                  <c:v>43595</c:v>
                </c:pt>
                <c:pt idx="1865">
                  <c:v>43598</c:v>
                </c:pt>
                <c:pt idx="1866">
                  <c:v>43599</c:v>
                </c:pt>
                <c:pt idx="1867">
                  <c:v>43600</c:v>
                </c:pt>
                <c:pt idx="1868">
                  <c:v>43601</c:v>
                </c:pt>
                <c:pt idx="1869">
                  <c:v>43602</c:v>
                </c:pt>
                <c:pt idx="1870">
                  <c:v>43605</c:v>
                </c:pt>
                <c:pt idx="1871">
                  <c:v>43606</c:v>
                </c:pt>
                <c:pt idx="1872">
                  <c:v>43607</c:v>
                </c:pt>
                <c:pt idx="1873">
                  <c:v>43608</c:v>
                </c:pt>
                <c:pt idx="1874">
                  <c:v>43609</c:v>
                </c:pt>
                <c:pt idx="1875">
                  <c:v>43612</c:v>
                </c:pt>
                <c:pt idx="1876">
                  <c:v>43613</c:v>
                </c:pt>
                <c:pt idx="1877">
                  <c:v>43614</c:v>
                </c:pt>
                <c:pt idx="1878">
                  <c:v>43615</c:v>
                </c:pt>
                <c:pt idx="1879">
                  <c:v>43616</c:v>
                </c:pt>
              </c:numCache>
            </c:numRef>
          </c:cat>
          <c:val>
            <c:numRef>
              <c:f>'fixed target'!$M$19:$M$1898</c:f>
              <c:numCache>
                <c:formatCode>General</c:formatCode>
                <c:ptCount val="1880"/>
                <c:pt idx="253" formatCode="0.00">
                  <c:v>0.29375641091802185</c:v>
                </c:pt>
                <c:pt idx="254" formatCode="0.00">
                  <c:v>0.29216114468750615</c:v>
                </c:pt>
                <c:pt idx="255" formatCode="0.00">
                  <c:v>0.29230758026273035</c:v>
                </c:pt>
                <c:pt idx="256" formatCode="0.00">
                  <c:v>0.29192592705545567</c:v>
                </c:pt>
                <c:pt idx="257" formatCode="0.00">
                  <c:v>0.29116107641492189</c:v>
                </c:pt>
                <c:pt idx="258" formatCode="0.00">
                  <c:v>0.29088981746190934</c:v>
                </c:pt>
                <c:pt idx="259" formatCode="0.00">
                  <c:v>0.2877904447874014</c:v>
                </c:pt>
                <c:pt idx="260" formatCode="0.00">
                  <c:v>0.28598106798040002</c:v>
                </c:pt>
                <c:pt idx="261" formatCode="0.00">
                  <c:v>0.28604096547769209</c:v>
                </c:pt>
                <c:pt idx="262" formatCode="0.00">
                  <c:v>0.28616054579481315</c:v>
                </c:pt>
                <c:pt idx="263" formatCode="0.00">
                  <c:v>0.28660912661106946</c:v>
                </c:pt>
                <c:pt idx="264" formatCode="0.00">
                  <c:v>0.28670568813944708</c:v>
                </c:pt>
                <c:pt idx="265" formatCode="0.00">
                  <c:v>0.28777852950918092</c:v>
                </c:pt>
                <c:pt idx="266" formatCode="0.00">
                  <c:v>0.28768058092747562</c:v>
                </c:pt>
                <c:pt idx="267" formatCode="0.00">
                  <c:v>0.28758713826771437</c:v>
                </c:pt>
                <c:pt idx="268" formatCode="0.00">
                  <c:v>0.28776797244454705</c:v>
                </c:pt>
                <c:pt idx="269" formatCode="0.00">
                  <c:v>0.28635055867197945</c:v>
                </c:pt>
                <c:pt idx="270" formatCode="0.00">
                  <c:v>0.28660299404738648</c:v>
                </c:pt>
                <c:pt idx="271" formatCode="0.00">
                  <c:v>0.28658335933231127</c:v>
                </c:pt>
                <c:pt idx="272" formatCode="0.00">
                  <c:v>0.28481465205067219</c:v>
                </c:pt>
                <c:pt idx="273" formatCode="0.00">
                  <c:v>0.28239157564005873</c:v>
                </c:pt>
                <c:pt idx="274" formatCode="0.00">
                  <c:v>0.2842115564132856</c:v>
                </c:pt>
                <c:pt idx="275" formatCode="0.00">
                  <c:v>0.28371020041146866</c:v>
                </c:pt>
                <c:pt idx="276" formatCode="0.00">
                  <c:v>0.28369002554038159</c:v>
                </c:pt>
                <c:pt idx="277" formatCode="0.00">
                  <c:v>0.28374002123243569</c:v>
                </c:pt>
                <c:pt idx="278" formatCode="0.00">
                  <c:v>0.28318315469241279</c:v>
                </c:pt>
                <c:pt idx="279" formatCode="0.00">
                  <c:v>0.28570954823924505</c:v>
                </c:pt>
                <c:pt idx="280" formatCode="0.00">
                  <c:v>0.28507278940691405</c:v>
                </c:pt>
                <c:pt idx="281" formatCode="0.00">
                  <c:v>0.28511748357379929</c:v>
                </c:pt>
                <c:pt idx="282" formatCode="0.00">
                  <c:v>0.2853096992636146</c:v>
                </c:pt>
                <c:pt idx="283" formatCode="0.00">
                  <c:v>0.28397343572515255</c:v>
                </c:pt>
                <c:pt idx="284" formatCode="0.00">
                  <c:v>0.28806451008870293</c:v>
                </c:pt>
                <c:pt idx="285" formatCode="0.00">
                  <c:v>0.28812337132863081</c:v>
                </c:pt>
                <c:pt idx="286" formatCode="0.00">
                  <c:v>0.28811668872284729</c:v>
                </c:pt>
                <c:pt idx="287" formatCode="0.00">
                  <c:v>0.28707685031375824</c:v>
                </c:pt>
                <c:pt idx="288" formatCode="0.00">
                  <c:v>0.28650182420234116</c:v>
                </c:pt>
                <c:pt idx="289" formatCode="0.00">
                  <c:v>0.2868073443354931</c:v>
                </c:pt>
                <c:pt idx="290" formatCode="0.00">
                  <c:v>0.28666001804389335</c:v>
                </c:pt>
                <c:pt idx="291" formatCode="0.00">
                  <c:v>0.2866892037560117</c:v>
                </c:pt>
                <c:pt idx="292" formatCode="0.00">
                  <c:v>0.28717017434598191</c:v>
                </c:pt>
                <c:pt idx="293" formatCode="0.00">
                  <c:v>0.28613222267708893</c:v>
                </c:pt>
                <c:pt idx="294" formatCode="0.00">
                  <c:v>0.28599935253285691</c:v>
                </c:pt>
                <c:pt idx="295" formatCode="0.00">
                  <c:v>0.28506095032769541</c:v>
                </c:pt>
                <c:pt idx="296" formatCode="0.00">
                  <c:v>0.28373151496251908</c:v>
                </c:pt>
                <c:pt idx="297" formatCode="0.00">
                  <c:v>0.28391453267564931</c:v>
                </c:pt>
                <c:pt idx="298" formatCode="0.00">
                  <c:v>0.2838454451124941</c:v>
                </c:pt>
                <c:pt idx="299" formatCode="0.00">
                  <c:v>0.2837863730299755</c:v>
                </c:pt>
                <c:pt idx="300" formatCode="0.00">
                  <c:v>0.28236315599125067</c:v>
                </c:pt>
                <c:pt idx="301" formatCode="0.00">
                  <c:v>0.28139742665462852</c:v>
                </c:pt>
                <c:pt idx="302" formatCode="0.00">
                  <c:v>0.28130570366433033</c:v>
                </c:pt>
                <c:pt idx="303" formatCode="0.00">
                  <c:v>0.2814371338449983</c:v>
                </c:pt>
                <c:pt idx="304" formatCode="0.00">
                  <c:v>0.28286926688073971</c:v>
                </c:pt>
                <c:pt idx="305" formatCode="0.00">
                  <c:v>0.28195108844014377</c:v>
                </c:pt>
                <c:pt idx="306" formatCode="0.00">
                  <c:v>0.27951747516727038</c:v>
                </c:pt>
                <c:pt idx="307" formatCode="0.00">
                  <c:v>0.27973974573578625</c:v>
                </c:pt>
                <c:pt idx="308" formatCode="0.00">
                  <c:v>0.28319247809571924</c:v>
                </c:pt>
                <c:pt idx="309" formatCode="0.00">
                  <c:v>0.28362240793985216</c:v>
                </c:pt>
                <c:pt idx="310" formatCode="0.00">
                  <c:v>0.28327169699783888</c:v>
                </c:pt>
                <c:pt idx="311" formatCode="0.00">
                  <c:v>0.28423784807270414</c:v>
                </c:pt>
                <c:pt idx="312" formatCode="0.00">
                  <c:v>0.28416575526753879</c:v>
                </c:pt>
                <c:pt idx="313" formatCode="0.00">
                  <c:v>0.28416585821454482</c:v>
                </c:pt>
                <c:pt idx="314" formatCode="0.00">
                  <c:v>0.28403348883812946</c:v>
                </c:pt>
                <c:pt idx="315" formatCode="0.00">
                  <c:v>0.28533058925309063</c:v>
                </c:pt>
                <c:pt idx="316" formatCode="0.00">
                  <c:v>0.2874959873616223</c:v>
                </c:pt>
                <c:pt idx="317" formatCode="0.00">
                  <c:v>0.28784418595337419</c:v>
                </c:pt>
                <c:pt idx="318" formatCode="0.00">
                  <c:v>0.28770924697577932</c:v>
                </c:pt>
                <c:pt idx="319" formatCode="0.00">
                  <c:v>0.28776279598337068</c:v>
                </c:pt>
                <c:pt idx="320" formatCode="0.00">
                  <c:v>0.28732733673614613</c:v>
                </c:pt>
                <c:pt idx="321" formatCode="0.00">
                  <c:v>0.2874808504069995</c:v>
                </c:pt>
                <c:pt idx="322" formatCode="0.00">
                  <c:v>0.28686465038859554</c:v>
                </c:pt>
                <c:pt idx="323" formatCode="0.00">
                  <c:v>0.28788083280101778</c:v>
                </c:pt>
                <c:pt idx="324" formatCode="0.00">
                  <c:v>0.28826907715650002</c:v>
                </c:pt>
                <c:pt idx="325" formatCode="0.00">
                  <c:v>0.28848937489728438</c:v>
                </c:pt>
                <c:pt idx="326" formatCode="0.00">
                  <c:v>0.28722441726266473</c:v>
                </c:pt>
                <c:pt idx="327" formatCode="0.00">
                  <c:v>0.28711949210139531</c:v>
                </c:pt>
                <c:pt idx="328" formatCode="0.00">
                  <c:v>0.28748819499475797</c:v>
                </c:pt>
                <c:pt idx="329" formatCode="0.00">
                  <c:v>0.28693312303956164</c:v>
                </c:pt>
                <c:pt idx="330" formatCode="0.00">
                  <c:v>0.28697455048439291</c:v>
                </c:pt>
                <c:pt idx="331" formatCode="0.00">
                  <c:v>0.28760395016077434</c:v>
                </c:pt>
                <c:pt idx="332" formatCode="0.00">
                  <c:v>0.28782122025964452</c:v>
                </c:pt>
                <c:pt idx="333" formatCode="0.00">
                  <c:v>0.28874245148508082</c:v>
                </c:pt>
                <c:pt idx="334" formatCode="0.00">
                  <c:v>0.28871932350965218</c:v>
                </c:pt>
                <c:pt idx="335" formatCode="0.00">
                  <c:v>0.28629149387093084</c:v>
                </c:pt>
                <c:pt idx="336" formatCode="0.00">
                  <c:v>0.28649958642123075</c:v>
                </c:pt>
                <c:pt idx="337" formatCode="0.00">
                  <c:v>0.2885976110388056</c:v>
                </c:pt>
                <c:pt idx="338" formatCode="0.00">
                  <c:v>0.28913475568207059</c:v>
                </c:pt>
                <c:pt idx="339" formatCode="0.00">
                  <c:v>0.29138699979191079</c:v>
                </c:pt>
                <c:pt idx="340" formatCode="0.00">
                  <c:v>0.29176092514260898</c:v>
                </c:pt>
                <c:pt idx="341" formatCode="0.00">
                  <c:v>0.29202734504263483</c:v>
                </c:pt>
                <c:pt idx="342" formatCode="0.00">
                  <c:v>0.28978696257052705</c:v>
                </c:pt>
                <c:pt idx="343" formatCode="0.00">
                  <c:v>0.29214462550476022</c:v>
                </c:pt>
                <c:pt idx="344" formatCode="0.00">
                  <c:v>0.29196409388811295</c:v>
                </c:pt>
                <c:pt idx="345" formatCode="0.00">
                  <c:v>0.29193507548563907</c:v>
                </c:pt>
                <c:pt idx="346" formatCode="0.00">
                  <c:v>0.29194723514414334</c:v>
                </c:pt>
                <c:pt idx="347" formatCode="0.00">
                  <c:v>0.28819949081606522</c:v>
                </c:pt>
                <c:pt idx="348" formatCode="0.00">
                  <c:v>0.28840416829216764</c:v>
                </c:pt>
                <c:pt idx="349" formatCode="0.00">
                  <c:v>0.28862923981344901</c:v>
                </c:pt>
                <c:pt idx="350" formatCode="0.00">
                  <c:v>0.2910946611218182</c:v>
                </c:pt>
                <c:pt idx="351" formatCode="0.00">
                  <c:v>0.2905482722430765</c:v>
                </c:pt>
                <c:pt idx="352" formatCode="0.00">
                  <c:v>0.29250234444852635</c:v>
                </c:pt>
                <c:pt idx="353" formatCode="0.00">
                  <c:v>0.29628021106070729</c:v>
                </c:pt>
                <c:pt idx="354" formatCode="0.00">
                  <c:v>0.29535446631854656</c:v>
                </c:pt>
                <c:pt idx="355" formatCode="0.00">
                  <c:v>0.29530652023990761</c:v>
                </c:pt>
                <c:pt idx="356" formatCode="0.00">
                  <c:v>0.29558822130666934</c:v>
                </c:pt>
                <c:pt idx="357" formatCode="0.00">
                  <c:v>0.29873699630429118</c:v>
                </c:pt>
                <c:pt idx="358" formatCode="0.00">
                  <c:v>0.30001214652180486</c:v>
                </c:pt>
                <c:pt idx="359" formatCode="0.00">
                  <c:v>0.30076799394339943</c:v>
                </c:pt>
                <c:pt idx="360" formatCode="0.00">
                  <c:v>0.30041331838956159</c:v>
                </c:pt>
                <c:pt idx="361" formatCode="0.00">
                  <c:v>0.29994058189608391</c:v>
                </c:pt>
                <c:pt idx="362" formatCode="0.00">
                  <c:v>0.29961872104034587</c:v>
                </c:pt>
                <c:pt idx="363" formatCode="0.00">
                  <c:v>0.29939711306863342</c:v>
                </c:pt>
                <c:pt idx="364" formatCode="0.00">
                  <c:v>0.30252427990906833</c:v>
                </c:pt>
                <c:pt idx="365" formatCode="0.00">
                  <c:v>0.30416408531248246</c:v>
                </c:pt>
                <c:pt idx="366" formatCode="0.00">
                  <c:v>0.30779810875519859</c:v>
                </c:pt>
                <c:pt idx="367" formatCode="0.00">
                  <c:v>0.30774272158903943</c:v>
                </c:pt>
                <c:pt idx="368" formatCode="0.00">
                  <c:v>0.30738644610206173</c:v>
                </c:pt>
                <c:pt idx="369" formatCode="0.00">
                  <c:v>0.30725750988975187</c:v>
                </c:pt>
                <c:pt idx="370" formatCode="0.00">
                  <c:v>0.31027942657092306</c:v>
                </c:pt>
                <c:pt idx="371" formatCode="0.00">
                  <c:v>0.30923300957276584</c:v>
                </c:pt>
                <c:pt idx="372" formatCode="0.00">
                  <c:v>0.30967143881259801</c:v>
                </c:pt>
                <c:pt idx="373" formatCode="0.00">
                  <c:v>0.30976287460905844</c:v>
                </c:pt>
                <c:pt idx="374" formatCode="0.00">
                  <c:v>0.31036851547716299</c:v>
                </c:pt>
                <c:pt idx="375" formatCode="0.00">
                  <c:v>0.31022480616704268</c:v>
                </c:pt>
                <c:pt idx="376" formatCode="0.00">
                  <c:v>0.310449881229303</c:v>
                </c:pt>
                <c:pt idx="377" formatCode="0.00">
                  <c:v>0.30983335066694379</c:v>
                </c:pt>
                <c:pt idx="378" formatCode="0.00">
                  <c:v>0.31124340517027055</c:v>
                </c:pt>
                <c:pt idx="379" formatCode="0.00">
                  <c:v>0.31177094019458479</c:v>
                </c:pt>
                <c:pt idx="380" formatCode="0.00">
                  <c:v>0.31155393967938294</c:v>
                </c:pt>
                <c:pt idx="381" formatCode="0.00">
                  <c:v>0.31167083363681841</c:v>
                </c:pt>
                <c:pt idx="382" formatCode="0.00">
                  <c:v>0.31061635423273865</c:v>
                </c:pt>
                <c:pt idx="383" formatCode="0.00">
                  <c:v>0.30994779151669088</c:v>
                </c:pt>
                <c:pt idx="384" formatCode="0.00">
                  <c:v>0.30823000247325683</c:v>
                </c:pt>
                <c:pt idx="385" formatCode="0.00">
                  <c:v>0.30838189264109322</c:v>
                </c:pt>
                <c:pt idx="386" formatCode="0.00">
                  <c:v>0.30905507257749859</c:v>
                </c:pt>
                <c:pt idx="387" formatCode="0.00">
                  <c:v>0.30822541896582056</c:v>
                </c:pt>
                <c:pt idx="388" formatCode="0.00">
                  <c:v>0.30849651115002741</c:v>
                </c:pt>
                <c:pt idx="389" formatCode="0.00">
                  <c:v>0.30842149027735277</c:v>
                </c:pt>
                <c:pt idx="390" formatCode="0.00">
                  <c:v>0.30799120436773531</c:v>
                </c:pt>
                <c:pt idx="391" formatCode="0.00">
                  <c:v>0.30708746150907679</c:v>
                </c:pt>
                <c:pt idx="392" formatCode="0.00">
                  <c:v>0.30766081408572254</c:v>
                </c:pt>
                <c:pt idx="393" formatCode="0.00">
                  <c:v>0.3082557838661954</c:v>
                </c:pt>
                <c:pt idx="394" formatCode="0.00">
                  <c:v>0.30852667282179497</c:v>
                </c:pt>
                <c:pt idx="395" formatCode="0.00">
                  <c:v>0.30850118990834163</c:v>
                </c:pt>
                <c:pt idx="396" formatCode="0.00">
                  <c:v>0.30855313658039624</c:v>
                </c:pt>
                <c:pt idx="397" formatCode="0.00">
                  <c:v>0.30889451646747185</c:v>
                </c:pt>
                <c:pt idx="398" formatCode="0.00">
                  <c:v>0.309459412998497</c:v>
                </c:pt>
                <c:pt idx="399" formatCode="0.00">
                  <c:v>0.30882185046542288</c:v>
                </c:pt>
                <c:pt idx="400" formatCode="0.00">
                  <c:v>0.30902858560259372</c:v>
                </c:pt>
                <c:pt idx="401" formatCode="0.00">
                  <c:v>0.30908670423159418</c:v>
                </c:pt>
                <c:pt idx="402" formatCode="0.00">
                  <c:v>0.30864950060238661</c:v>
                </c:pt>
                <c:pt idx="403" formatCode="0.00">
                  <c:v>0.3081086847564794</c:v>
                </c:pt>
                <c:pt idx="404" formatCode="0.00">
                  <c:v>0.3079450572853441</c:v>
                </c:pt>
                <c:pt idx="405" formatCode="0.00">
                  <c:v>0.30739958043086729</c:v>
                </c:pt>
                <c:pt idx="406" formatCode="0.00">
                  <c:v>0.30490093165710597</c:v>
                </c:pt>
                <c:pt idx="407" formatCode="0.00">
                  <c:v>0.30637416355668595</c:v>
                </c:pt>
                <c:pt idx="408" formatCode="0.00">
                  <c:v>0.30551012960553425</c:v>
                </c:pt>
                <c:pt idx="409" formatCode="0.00">
                  <c:v>0.30546089575192792</c:v>
                </c:pt>
                <c:pt idx="410" formatCode="0.00">
                  <c:v>0.30545772470314519</c:v>
                </c:pt>
                <c:pt idx="411" formatCode="0.00">
                  <c:v>0.30565119363767174</c:v>
                </c:pt>
                <c:pt idx="412" formatCode="0.00">
                  <c:v>0.30597486120651779</c:v>
                </c:pt>
                <c:pt idx="413" formatCode="0.00">
                  <c:v>0.3055930910218429</c:v>
                </c:pt>
                <c:pt idx="414" formatCode="0.00">
                  <c:v>0.30641171553668711</c:v>
                </c:pt>
                <c:pt idx="415" formatCode="0.00">
                  <c:v>0.30345240585677247</c:v>
                </c:pt>
                <c:pt idx="416" formatCode="0.00">
                  <c:v>0.30343877498058147</c:v>
                </c:pt>
                <c:pt idx="417" formatCode="0.00">
                  <c:v>0.29967589380533338</c:v>
                </c:pt>
                <c:pt idx="418" formatCode="0.00">
                  <c:v>0.29930788413665055</c:v>
                </c:pt>
                <c:pt idx="419" formatCode="0.00">
                  <c:v>0.29798019330743181</c:v>
                </c:pt>
                <c:pt idx="420" formatCode="0.00">
                  <c:v>0.2985866617933185</c:v>
                </c:pt>
                <c:pt idx="421" formatCode="0.00">
                  <c:v>0.29919795572825125</c:v>
                </c:pt>
                <c:pt idx="422" formatCode="0.00">
                  <c:v>0.30128069824279735</c:v>
                </c:pt>
                <c:pt idx="423" formatCode="0.00">
                  <c:v>0.30381036650128013</c:v>
                </c:pt>
                <c:pt idx="424" formatCode="0.00">
                  <c:v>0.30397817810771982</c:v>
                </c:pt>
                <c:pt idx="425" formatCode="0.00">
                  <c:v>0.30318486554524154</c:v>
                </c:pt>
                <c:pt idx="426" formatCode="0.00">
                  <c:v>0.30299123940600781</c:v>
                </c:pt>
                <c:pt idx="427" formatCode="0.00">
                  <c:v>0.30314184438424541</c:v>
                </c:pt>
                <c:pt idx="428" formatCode="0.00">
                  <c:v>0.30260128295398703</c:v>
                </c:pt>
                <c:pt idx="429" formatCode="0.00">
                  <c:v>0.3034170822279223</c:v>
                </c:pt>
                <c:pt idx="430" formatCode="0.00">
                  <c:v>0.30334297941378108</c:v>
                </c:pt>
                <c:pt idx="431" formatCode="0.00">
                  <c:v>0.30285552530376048</c:v>
                </c:pt>
                <c:pt idx="432" formatCode="0.00">
                  <c:v>0.30234081524022682</c:v>
                </c:pt>
                <c:pt idx="433" formatCode="0.00">
                  <c:v>0.30224248642044188</c:v>
                </c:pt>
                <c:pt idx="434" formatCode="0.00">
                  <c:v>0.30142850272141192</c:v>
                </c:pt>
                <c:pt idx="435" formatCode="0.00">
                  <c:v>0.29967459478292247</c:v>
                </c:pt>
                <c:pt idx="436" formatCode="0.00">
                  <c:v>0.29937261168041834</c:v>
                </c:pt>
                <c:pt idx="437" formatCode="0.00">
                  <c:v>0.29976573470049245</c:v>
                </c:pt>
                <c:pt idx="438" formatCode="0.00">
                  <c:v>0.29976572579586058</c:v>
                </c:pt>
                <c:pt idx="439" formatCode="0.00">
                  <c:v>0.30079328585093573</c:v>
                </c:pt>
                <c:pt idx="440" formatCode="0.00">
                  <c:v>0.29681920744297918</c:v>
                </c:pt>
                <c:pt idx="441" formatCode="0.00">
                  <c:v>0.2965988567040766</c:v>
                </c:pt>
                <c:pt idx="442" formatCode="0.00">
                  <c:v>0.29671345210983113</c:v>
                </c:pt>
                <c:pt idx="443" formatCode="0.00">
                  <c:v>0.29672589874938521</c:v>
                </c:pt>
                <c:pt idx="444" formatCode="0.00">
                  <c:v>0.29591009284573233</c:v>
                </c:pt>
                <c:pt idx="445" formatCode="0.00">
                  <c:v>0.2959535590616767</c:v>
                </c:pt>
                <c:pt idx="446" formatCode="0.00">
                  <c:v>0.29553834839039289</c:v>
                </c:pt>
                <c:pt idx="447" formatCode="0.00">
                  <c:v>0.29606865249002834</c:v>
                </c:pt>
                <c:pt idx="448" formatCode="0.00">
                  <c:v>0.29512286878622335</c:v>
                </c:pt>
                <c:pt idx="449" formatCode="0.00">
                  <c:v>0.29402991602452172</c:v>
                </c:pt>
                <c:pt idx="450" formatCode="0.00">
                  <c:v>0.29382381486687331</c:v>
                </c:pt>
                <c:pt idx="451" formatCode="0.00">
                  <c:v>0.29381071604080555</c:v>
                </c:pt>
                <c:pt idx="452" formatCode="0.00">
                  <c:v>0.29441828669069098</c:v>
                </c:pt>
                <c:pt idx="453" formatCode="0.00">
                  <c:v>0.29451512770802424</c:v>
                </c:pt>
                <c:pt idx="454" formatCode="0.00">
                  <c:v>0.29445124050258431</c:v>
                </c:pt>
                <c:pt idx="455" formatCode="0.00">
                  <c:v>0.29438927730036141</c:v>
                </c:pt>
                <c:pt idx="456" formatCode="0.00">
                  <c:v>0.29431949361987447</c:v>
                </c:pt>
                <c:pt idx="457" formatCode="0.00">
                  <c:v>0.29448184701226898</c:v>
                </c:pt>
                <c:pt idx="458" formatCode="0.00">
                  <c:v>0.29462005805682739</c:v>
                </c:pt>
                <c:pt idx="459" formatCode="0.00">
                  <c:v>0.29521323567111785</c:v>
                </c:pt>
                <c:pt idx="460" formatCode="0.00">
                  <c:v>0.29529061621086011</c:v>
                </c:pt>
                <c:pt idx="461" formatCode="0.00">
                  <c:v>0.29397952122562715</c:v>
                </c:pt>
                <c:pt idx="462" formatCode="0.00">
                  <c:v>0.29398226844078301</c:v>
                </c:pt>
                <c:pt idx="463" formatCode="0.00">
                  <c:v>0.29378790173921016</c:v>
                </c:pt>
                <c:pt idx="464" formatCode="0.00">
                  <c:v>0.29390121391171714</c:v>
                </c:pt>
                <c:pt idx="465" formatCode="0.00">
                  <c:v>0.29397132213001997</c:v>
                </c:pt>
                <c:pt idx="466" formatCode="0.00">
                  <c:v>0.29277191015612791</c:v>
                </c:pt>
                <c:pt idx="467" formatCode="0.00">
                  <c:v>0.29192046070157113</c:v>
                </c:pt>
                <c:pt idx="468" formatCode="0.00">
                  <c:v>0.29188335435734525</c:v>
                </c:pt>
                <c:pt idx="469" formatCode="0.00">
                  <c:v>0.28962319162546829</c:v>
                </c:pt>
                <c:pt idx="470" formatCode="0.00">
                  <c:v>0.2886799494698104</c:v>
                </c:pt>
                <c:pt idx="471" formatCode="0.00">
                  <c:v>0.28866338194001318</c:v>
                </c:pt>
                <c:pt idx="472" formatCode="0.00">
                  <c:v>0.28793624354069247</c:v>
                </c:pt>
                <c:pt idx="473" formatCode="0.00">
                  <c:v>0.28809582338385692</c:v>
                </c:pt>
                <c:pt idx="474" formatCode="0.00">
                  <c:v>0.2880163830952</c:v>
                </c:pt>
                <c:pt idx="475" formatCode="0.00">
                  <c:v>0.28852783137226318</c:v>
                </c:pt>
                <c:pt idx="476" formatCode="0.00">
                  <c:v>0.28569470083116383</c:v>
                </c:pt>
                <c:pt idx="477" formatCode="0.00">
                  <c:v>0.28455234207786645</c:v>
                </c:pt>
                <c:pt idx="478" formatCode="0.00">
                  <c:v>0.2832917133595001</c:v>
                </c:pt>
                <c:pt idx="479" formatCode="0.00">
                  <c:v>0.2835206408768986</c:v>
                </c:pt>
                <c:pt idx="480" formatCode="0.00">
                  <c:v>0.28282429591251995</c:v>
                </c:pt>
                <c:pt idx="481" formatCode="0.00">
                  <c:v>0.28261895285734479</c:v>
                </c:pt>
                <c:pt idx="482" formatCode="0.00">
                  <c:v>0.28257783926760716</c:v>
                </c:pt>
                <c:pt idx="483" formatCode="0.00">
                  <c:v>0.28259518224084995</c:v>
                </c:pt>
                <c:pt idx="484" formatCode="0.00">
                  <c:v>0.28259148105691789</c:v>
                </c:pt>
                <c:pt idx="485" formatCode="0.00">
                  <c:v>0.28066260062730547</c:v>
                </c:pt>
                <c:pt idx="486" formatCode="0.00">
                  <c:v>0.28004573670277466</c:v>
                </c:pt>
                <c:pt idx="487" formatCode="0.00">
                  <c:v>0.28063613929374392</c:v>
                </c:pt>
                <c:pt idx="488" formatCode="0.00">
                  <c:v>0.27994595875161288</c:v>
                </c:pt>
                <c:pt idx="489" formatCode="0.00">
                  <c:v>0.28101768793805648</c:v>
                </c:pt>
                <c:pt idx="490" formatCode="0.00">
                  <c:v>0.28112245578427464</c:v>
                </c:pt>
                <c:pt idx="491" formatCode="0.00">
                  <c:v>0.27891148894371875</c:v>
                </c:pt>
                <c:pt idx="492" formatCode="0.00">
                  <c:v>0.27843468816914463</c:v>
                </c:pt>
                <c:pt idx="493" formatCode="0.00">
                  <c:v>0.2783570058728792</c:v>
                </c:pt>
                <c:pt idx="494" formatCode="0.00">
                  <c:v>0.27945886428222988</c:v>
                </c:pt>
                <c:pt idx="495" formatCode="0.00">
                  <c:v>0.279227202329144</c:v>
                </c:pt>
                <c:pt idx="496" formatCode="0.00">
                  <c:v>0.2803139774348779</c:v>
                </c:pt>
                <c:pt idx="497" formatCode="0.00">
                  <c:v>0.28023162248772265</c:v>
                </c:pt>
                <c:pt idx="498" formatCode="0.00">
                  <c:v>0.27897125127334105</c:v>
                </c:pt>
                <c:pt idx="499" formatCode="0.00">
                  <c:v>0.2790061787993674</c:v>
                </c:pt>
                <c:pt idx="500" formatCode="0.00">
                  <c:v>0.2789998172365879</c:v>
                </c:pt>
                <c:pt idx="501" formatCode="0.00">
                  <c:v>0.2769362852704354</c:v>
                </c:pt>
                <c:pt idx="502" formatCode="0.00">
                  <c:v>0.27694959006443864</c:v>
                </c:pt>
                <c:pt idx="503" formatCode="0.00">
                  <c:v>0.27674412032224682</c:v>
                </c:pt>
                <c:pt idx="504" formatCode="0.00">
                  <c:v>0.27682322129953707</c:v>
                </c:pt>
                <c:pt idx="505" formatCode="0.00">
                  <c:v>0.28249638204393868</c:v>
                </c:pt>
                <c:pt idx="506" formatCode="0.00">
                  <c:v>0.28240296460138403</c:v>
                </c:pt>
                <c:pt idx="507" formatCode="0.00">
                  <c:v>0.28243533073953381</c:v>
                </c:pt>
                <c:pt idx="508" formatCode="0.00">
                  <c:v>0.2824187156250112</c:v>
                </c:pt>
                <c:pt idx="509" formatCode="0.00">
                  <c:v>0.28238604430509023</c:v>
                </c:pt>
                <c:pt idx="510" formatCode="0.00">
                  <c:v>0.28234389834543799</c:v>
                </c:pt>
                <c:pt idx="511" formatCode="0.00">
                  <c:v>0.28224680966708049</c:v>
                </c:pt>
                <c:pt idx="512" formatCode="0.00">
                  <c:v>0.28216030745269127</c:v>
                </c:pt>
                <c:pt idx="513" formatCode="0.00">
                  <c:v>0.2819994976816646</c:v>
                </c:pt>
                <c:pt idx="514" formatCode="0.00">
                  <c:v>0.28177721076161699</c:v>
                </c:pt>
                <c:pt idx="515" formatCode="0.00">
                  <c:v>0.28166398682847393</c:v>
                </c:pt>
                <c:pt idx="516" formatCode="0.00">
                  <c:v>0.28116022905679922</c:v>
                </c:pt>
                <c:pt idx="517" formatCode="0.00">
                  <c:v>0.28250480660670141</c:v>
                </c:pt>
                <c:pt idx="518" formatCode="0.00">
                  <c:v>0.28085849987532546</c:v>
                </c:pt>
                <c:pt idx="519" formatCode="0.00">
                  <c:v>0.28119516409858675</c:v>
                </c:pt>
                <c:pt idx="520" formatCode="0.00">
                  <c:v>0.28212917172076629</c:v>
                </c:pt>
                <c:pt idx="521" formatCode="0.00">
                  <c:v>0.28203702514350915</c:v>
                </c:pt>
                <c:pt idx="522" formatCode="0.00">
                  <c:v>0.28320937931782825</c:v>
                </c:pt>
                <c:pt idx="523" formatCode="0.00">
                  <c:v>0.28294050543944749</c:v>
                </c:pt>
                <c:pt idx="524" formatCode="0.00">
                  <c:v>0.28298141951856487</c:v>
                </c:pt>
                <c:pt idx="525" formatCode="0.00">
                  <c:v>0.28337019112452255</c:v>
                </c:pt>
                <c:pt idx="526" formatCode="0.00">
                  <c:v>0.28326330311857528</c:v>
                </c:pt>
                <c:pt idx="527" formatCode="0.00">
                  <c:v>0.28144416059140165</c:v>
                </c:pt>
                <c:pt idx="528" formatCode="0.00">
                  <c:v>0.28259360670278105</c:v>
                </c:pt>
                <c:pt idx="529" formatCode="0.00">
                  <c:v>0.28258801195088484</c:v>
                </c:pt>
                <c:pt idx="530" formatCode="0.00">
                  <c:v>0.28351545537489548</c:v>
                </c:pt>
                <c:pt idx="531" formatCode="0.00">
                  <c:v>0.28329503732442868</c:v>
                </c:pt>
                <c:pt idx="532" formatCode="0.00">
                  <c:v>0.28044389505583267</c:v>
                </c:pt>
                <c:pt idx="533" formatCode="0.00">
                  <c:v>0.28115166381942874</c:v>
                </c:pt>
                <c:pt idx="534" formatCode="0.00">
                  <c:v>0.28277698887981567</c:v>
                </c:pt>
                <c:pt idx="535" formatCode="0.00">
                  <c:v>0.28289731480545166</c:v>
                </c:pt>
                <c:pt idx="536" formatCode="0.00">
                  <c:v>0.28389643728540132</c:v>
                </c:pt>
                <c:pt idx="537" formatCode="0.00">
                  <c:v>0.28018565197517248</c:v>
                </c:pt>
                <c:pt idx="538" formatCode="0.00">
                  <c:v>0.28126793059849559</c:v>
                </c:pt>
                <c:pt idx="539" formatCode="0.00">
                  <c:v>0.28138717701311217</c:v>
                </c:pt>
                <c:pt idx="540" formatCode="0.00">
                  <c:v>0.28241384531342256</c:v>
                </c:pt>
                <c:pt idx="541" formatCode="0.00">
                  <c:v>0.2824111579322508</c:v>
                </c:pt>
                <c:pt idx="542" formatCode="0.00">
                  <c:v>0.28242627074048043</c:v>
                </c:pt>
                <c:pt idx="543" formatCode="0.00">
                  <c:v>0.28248980629727471</c:v>
                </c:pt>
                <c:pt idx="544" formatCode="0.00">
                  <c:v>0.28237776457195229</c:v>
                </c:pt>
                <c:pt idx="545" formatCode="0.00">
                  <c:v>0.28314370016850443</c:v>
                </c:pt>
                <c:pt idx="546" formatCode="0.00">
                  <c:v>0.28289605499475062</c:v>
                </c:pt>
                <c:pt idx="547" formatCode="0.00">
                  <c:v>0.28294373397312589</c:v>
                </c:pt>
                <c:pt idx="548" formatCode="0.00">
                  <c:v>0.28287876798698286</c:v>
                </c:pt>
                <c:pt idx="549" formatCode="0.00">
                  <c:v>0.28236185803998859</c:v>
                </c:pt>
                <c:pt idx="550" formatCode="0.00">
                  <c:v>0.28210687482174079</c:v>
                </c:pt>
                <c:pt idx="551" formatCode="0.00">
                  <c:v>0.28263236253903279</c:v>
                </c:pt>
                <c:pt idx="552" formatCode="0.00">
                  <c:v>0.28405895841226803</c:v>
                </c:pt>
                <c:pt idx="553" formatCode="0.00">
                  <c:v>0.28270098619080741</c:v>
                </c:pt>
                <c:pt idx="554" formatCode="0.00">
                  <c:v>0.28265199420864384</c:v>
                </c:pt>
                <c:pt idx="555" formatCode="0.00">
                  <c:v>0.28260329502847803</c:v>
                </c:pt>
                <c:pt idx="556" formatCode="0.00">
                  <c:v>0.28327670347311673</c:v>
                </c:pt>
                <c:pt idx="557" formatCode="0.00">
                  <c:v>0.28198720229346613</c:v>
                </c:pt>
                <c:pt idx="558" formatCode="0.00">
                  <c:v>0.28171200499213073</c:v>
                </c:pt>
                <c:pt idx="559" formatCode="0.00">
                  <c:v>0.28151851779619524</c:v>
                </c:pt>
                <c:pt idx="560" formatCode="0.00">
                  <c:v>0.2811470139763963</c:v>
                </c:pt>
                <c:pt idx="561" formatCode="0.00">
                  <c:v>0.27766739343336277</c:v>
                </c:pt>
                <c:pt idx="562" formatCode="0.00">
                  <c:v>0.27724687921989721</c:v>
                </c:pt>
                <c:pt idx="563" formatCode="0.00">
                  <c:v>0.27785285324189957</c:v>
                </c:pt>
                <c:pt idx="564" formatCode="0.00">
                  <c:v>0.27667745283815459</c:v>
                </c:pt>
                <c:pt idx="565" formatCode="0.00">
                  <c:v>0.28058862159111819</c:v>
                </c:pt>
                <c:pt idx="566" formatCode="0.00">
                  <c:v>0.28125793657859122</c:v>
                </c:pt>
                <c:pt idx="567" formatCode="0.00">
                  <c:v>0.2812569862662187</c:v>
                </c:pt>
                <c:pt idx="568" formatCode="0.00">
                  <c:v>0.27976496143453083</c:v>
                </c:pt>
                <c:pt idx="569" formatCode="0.00">
                  <c:v>0.27778275745255016</c:v>
                </c:pt>
                <c:pt idx="570" formatCode="0.00">
                  <c:v>0.27673930996356511</c:v>
                </c:pt>
                <c:pt idx="571" formatCode="0.00">
                  <c:v>0.27687728928553107</c:v>
                </c:pt>
                <c:pt idx="572" formatCode="0.00">
                  <c:v>0.27702424423242167</c:v>
                </c:pt>
                <c:pt idx="573" formatCode="0.00">
                  <c:v>0.27779997514870231</c:v>
                </c:pt>
                <c:pt idx="574" formatCode="0.00">
                  <c:v>0.27749075710124727</c:v>
                </c:pt>
                <c:pt idx="575" formatCode="0.00">
                  <c:v>0.27785322731855816</c:v>
                </c:pt>
                <c:pt idx="576" formatCode="0.00">
                  <c:v>0.27668017847161036</c:v>
                </c:pt>
                <c:pt idx="577" formatCode="0.00">
                  <c:v>0.27662191769813904</c:v>
                </c:pt>
                <c:pt idx="578" formatCode="0.00">
                  <c:v>0.27648845368536429</c:v>
                </c:pt>
                <c:pt idx="579" formatCode="0.00">
                  <c:v>0.2764546664640305</c:v>
                </c:pt>
                <c:pt idx="580" formatCode="0.00">
                  <c:v>0.27673942051126782</c:v>
                </c:pt>
                <c:pt idx="581" formatCode="0.00">
                  <c:v>0.27623627613354534</c:v>
                </c:pt>
                <c:pt idx="582" formatCode="0.00">
                  <c:v>0.27644612881924568</c:v>
                </c:pt>
                <c:pt idx="583" formatCode="0.00">
                  <c:v>0.27626276257410798</c:v>
                </c:pt>
                <c:pt idx="584" formatCode="0.00">
                  <c:v>0.27575181596892412</c:v>
                </c:pt>
                <c:pt idx="585" formatCode="0.00">
                  <c:v>0.27628984526041123</c:v>
                </c:pt>
                <c:pt idx="586" formatCode="0.00">
                  <c:v>0.27533072888154558</c:v>
                </c:pt>
                <c:pt idx="587" formatCode="0.00">
                  <c:v>0.27594802870402418</c:v>
                </c:pt>
                <c:pt idx="588" formatCode="0.00">
                  <c:v>0.27555916116423335</c:v>
                </c:pt>
                <c:pt idx="589" formatCode="0.00">
                  <c:v>0.2752588667327609</c:v>
                </c:pt>
                <c:pt idx="590" formatCode="0.00">
                  <c:v>0.27284932150046726</c:v>
                </c:pt>
                <c:pt idx="591" formatCode="0.00">
                  <c:v>0.27326878136982113</c:v>
                </c:pt>
                <c:pt idx="592" formatCode="0.00">
                  <c:v>0.27126692202141978</c:v>
                </c:pt>
                <c:pt idx="593" formatCode="0.00">
                  <c:v>0.27072039358257127</c:v>
                </c:pt>
                <c:pt idx="594" formatCode="0.00">
                  <c:v>0.27149840857773683</c:v>
                </c:pt>
                <c:pt idx="595" formatCode="0.00">
                  <c:v>0.27160273900197973</c:v>
                </c:pt>
                <c:pt idx="596" formatCode="0.00">
                  <c:v>0.26881742735793962</c:v>
                </c:pt>
                <c:pt idx="597" formatCode="0.00">
                  <c:v>0.26947026532377139</c:v>
                </c:pt>
                <c:pt idx="598" formatCode="0.00">
                  <c:v>0.26945561082737751</c:v>
                </c:pt>
                <c:pt idx="599" formatCode="0.00">
                  <c:v>0.26920045181165958</c:v>
                </c:pt>
                <c:pt idx="600" formatCode="0.00">
                  <c:v>0.26902607184851657</c:v>
                </c:pt>
                <c:pt idx="601" formatCode="0.00">
                  <c:v>0.26889420611341935</c:v>
                </c:pt>
                <c:pt idx="602" formatCode="0.00">
                  <c:v>0.26858908476284832</c:v>
                </c:pt>
                <c:pt idx="603" formatCode="0.00">
                  <c:v>0.26617133465713888</c:v>
                </c:pt>
                <c:pt idx="604" formatCode="0.00">
                  <c:v>0.26786738975678476</c:v>
                </c:pt>
                <c:pt idx="605" formatCode="0.00">
                  <c:v>0.26549191767097163</c:v>
                </c:pt>
                <c:pt idx="606" formatCode="0.00">
                  <c:v>0.26165954223059779</c:v>
                </c:pt>
                <c:pt idx="607" formatCode="0.00">
                  <c:v>0.2619077350534908</c:v>
                </c:pt>
                <c:pt idx="608" formatCode="0.00">
                  <c:v>0.263578918420942</c:v>
                </c:pt>
                <c:pt idx="609" formatCode="0.00">
                  <c:v>0.26348187126954076</c:v>
                </c:pt>
                <c:pt idx="610" formatCode="0.00">
                  <c:v>0.25951096169234011</c:v>
                </c:pt>
                <c:pt idx="611" formatCode="0.00">
                  <c:v>0.25815024268498188</c:v>
                </c:pt>
                <c:pt idx="612" formatCode="0.00">
                  <c:v>0.25825230970882534</c:v>
                </c:pt>
                <c:pt idx="613" formatCode="0.00">
                  <c:v>0.25822942687559947</c:v>
                </c:pt>
                <c:pt idx="614" formatCode="0.00">
                  <c:v>0.2586282454966688</c:v>
                </c:pt>
                <c:pt idx="615" formatCode="0.00">
                  <c:v>0.25848161517560203</c:v>
                </c:pt>
                <c:pt idx="616" formatCode="0.00">
                  <c:v>0.25829080737087312</c:v>
                </c:pt>
                <c:pt idx="617" formatCode="0.00">
                  <c:v>0.25469014695585263</c:v>
                </c:pt>
                <c:pt idx="618" formatCode="0.00">
                  <c:v>0.25344960552033563</c:v>
                </c:pt>
                <c:pt idx="619" formatCode="0.00">
                  <c:v>0.24881901019300451</c:v>
                </c:pt>
                <c:pt idx="620" formatCode="0.00">
                  <c:v>0.24844858831794123</c:v>
                </c:pt>
                <c:pt idx="621" formatCode="0.00">
                  <c:v>0.25014781748253601</c:v>
                </c:pt>
                <c:pt idx="622" formatCode="0.00">
                  <c:v>0.25026784606348312</c:v>
                </c:pt>
                <c:pt idx="623" formatCode="0.00">
                  <c:v>0.24568355317660978</c:v>
                </c:pt>
                <c:pt idx="624" formatCode="0.00">
                  <c:v>0.24611348275371756</c:v>
                </c:pt>
                <c:pt idx="625" formatCode="0.00">
                  <c:v>0.24568687099906647</c:v>
                </c:pt>
                <c:pt idx="626" formatCode="0.00">
                  <c:v>0.24572851757796918</c:v>
                </c:pt>
                <c:pt idx="627" formatCode="0.00">
                  <c:v>0.24509728390779917</c:v>
                </c:pt>
                <c:pt idx="628" formatCode="0.00">
                  <c:v>0.24532075331941983</c:v>
                </c:pt>
                <c:pt idx="629" formatCode="0.00">
                  <c:v>0.24648402892666624</c:v>
                </c:pt>
                <c:pt idx="630" formatCode="0.00">
                  <c:v>0.24821255532283554</c:v>
                </c:pt>
                <c:pt idx="631" formatCode="0.00">
                  <c:v>0.24478236786616789</c:v>
                </c:pt>
                <c:pt idx="632" formatCode="0.00">
                  <c:v>0.24489373836228231</c:v>
                </c:pt>
                <c:pt idx="633" formatCode="0.00">
                  <c:v>0.24468345069483427</c:v>
                </c:pt>
                <c:pt idx="634" formatCode="0.00">
                  <c:v>0.24437450127833296</c:v>
                </c:pt>
                <c:pt idx="635" formatCode="0.00">
                  <c:v>0.24399779755564552</c:v>
                </c:pt>
                <c:pt idx="636" formatCode="0.00">
                  <c:v>0.24473327988569193</c:v>
                </c:pt>
                <c:pt idx="637" formatCode="0.00">
                  <c:v>0.24365469431417344</c:v>
                </c:pt>
                <c:pt idx="638" formatCode="0.00">
                  <c:v>0.24359233233287622</c:v>
                </c:pt>
                <c:pt idx="639" formatCode="0.00">
                  <c:v>0.24185972998485364</c:v>
                </c:pt>
                <c:pt idx="640" formatCode="0.00">
                  <c:v>0.2417363379448226</c:v>
                </c:pt>
                <c:pt idx="641" formatCode="0.00">
                  <c:v>0.24196140254714393</c:v>
                </c:pt>
                <c:pt idx="642" formatCode="0.00">
                  <c:v>0.24225753061733482</c:v>
                </c:pt>
                <c:pt idx="643" formatCode="0.00">
                  <c:v>0.24475979222637759</c:v>
                </c:pt>
                <c:pt idx="644" formatCode="0.00">
                  <c:v>0.24430535615739682</c:v>
                </c:pt>
                <c:pt idx="645" formatCode="0.00">
                  <c:v>0.24401046965645443</c:v>
                </c:pt>
                <c:pt idx="646" formatCode="0.00">
                  <c:v>0.24305862533534547</c:v>
                </c:pt>
                <c:pt idx="647" formatCode="0.00">
                  <c:v>0.2448583223894519</c:v>
                </c:pt>
                <c:pt idx="648" formatCode="0.00">
                  <c:v>0.24483005769025987</c:v>
                </c:pt>
                <c:pt idx="649" formatCode="0.00">
                  <c:v>0.24482741523673887</c:v>
                </c:pt>
                <c:pt idx="650" formatCode="0.00">
                  <c:v>0.2446422718070716</c:v>
                </c:pt>
                <c:pt idx="651" formatCode="0.00">
                  <c:v>0.24429349563477587</c:v>
                </c:pt>
                <c:pt idx="652" formatCode="0.00">
                  <c:v>0.24659777555097692</c:v>
                </c:pt>
                <c:pt idx="653" formatCode="0.00">
                  <c:v>0.24880513741172125</c:v>
                </c:pt>
                <c:pt idx="654" formatCode="0.00">
                  <c:v>0.24957810203426725</c:v>
                </c:pt>
                <c:pt idx="655" formatCode="0.00">
                  <c:v>0.25070942675469332</c:v>
                </c:pt>
                <c:pt idx="656" formatCode="0.00">
                  <c:v>0.25087185140094226</c:v>
                </c:pt>
                <c:pt idx="657" formatCode="0.00">
                  <c:v>0.25142956092794322</c:v>
                </c:pt>
                <c:pt idx="658" formatCode="0.00">
                  <c:v>0.25094039437106491</c:v>
                </c:pt>
                <c:pt idx="659" formatCode="0.00">
                  <c:v>0.25090175655495167</c:v>
                </c:pt>
                <c:pt idx="660" formatCode="0.00">
                  <c:v>0.24909242453358862</c:v>
                </c:pt>
                <c:pt idx="661" formatCode="0.00">
                  <c:v>0.24923237390111405</c:v>
                </c:pt>
                <c:pt idx="662" formatCode="0.00">
                  <c:v>0.24910664516634354</c:v>
                </c:pt>
                <c:pt idx="663" formatCode="0.00">
                  <c:v>0.24999771696328982</c:v>
                </c:pt>
                <c:pt idx="664" formatCode="0.00">
                  <c:v>0.24993931825250512</c:v>
                </c:pt>
                <c:pt idx="665" formatCode="0.00">
                  <c:v>0.24958404841319212</c:v>
                </c:pt>
                <c:pt idx="666" formatCode="0.00">
                  <c:v>0.24957152082304088</c:v>
                </c:pt>
                <c:pt idx="667" formatCode="0.00">
                  <c:v>0.24849847430903554</c:v>
                </c:pt>
                <c:pt idx="668" formatCode="0.00">
                  <c:v>0.2486941615268195</c:v>
                </c:pt>
                <c:pt idx="669" formatCode="0.00">
                  <c:v>0.24906772275820213</c:v>
                </c:pt>
                <c:pt idx="670" formatCode="0.00">
                  <c:v>0.24875951815251529</c:v>
                </c:pt>
                <c:pt idx="671" formatCode="0.00">
                  <c:v>0.25171377773432108</c:v>
                </c:pt>
                <c:pt idx="672" formatCode="0.00">
                  <c:v>0.25181228382449689</c:v>
                </c:pt>
                <c:pt idx="673" formatCode="0.00">
                  <c:v>0.2518947909689403</c:v>
                </c:pt>
                <c:pt idx="674" formatCode="0.00">
                  <c:v>0.25226900082127834</c:v>
                </c:pt>
                <c:pt idx="675" formatCode="0.00">
                  <c:v>0.25022613370187979</c:v>
                </c:pt>
                <c:pt idx="676" formatCode="0.00">
                  <c:v>0.24754516754176142</c:v>
                </c:pt>
                <c:pt idx="677" formatCode="0.00">
                  <c:v>0.24724912700175361</c:v>
                </c:pt>
                <c:pt idx="678" formatCode="0.00">
                  <c:v>0.25073016293462469</c:v>
                </c:pt>
                <c:pt idx="679" formatCode="0.00">
                  <c:v>0.25068816835843771</c:v>
                </c:pt>
                <c:pt idx="680" formatCode="0.00">
                  <c:v>0.25067492985950635</c:v>
                </c:pt>
                <c:pt idx="681" formatCode="0.00">
                  <c:v>0.25118621765847643</c:v>
                </c:pt>
                <c:pt idx="682" formatCode="0.00">
                  <c:v>0.25009598440145436</c:v>
                </c:pt>
                <c:pt idx="683" formatCode="0.00">
                  <c:v>0.25158819158440526</c:v>
                </c:pt>
                <c:pt idx="684" formatCode="0.00">
                  <c:v>0.25158866939445995</c:v>
                </c:pt>
                <c:pt idx="685" formatCode="0.00">
                  <c:v>0.25178441850039263</c:v>
                </c:pt>
                <c:pt idx="686" formatCode="0.00">
                  <c:v>0.25442926131999033</c:v>
                </c:pt>
                <c:pt idx="687" formatCode="0.00">
                  <c:v>0.25449679783180901</c:v>
                </c:pt>
                <c:pt idx="688" formatCode="0.00">
                  <c:v>0.25488470031957206</c:v>
                </c:pt>
                <c:pt idx="689" formatCode="0.00">
                  <c:v>0.2548602263351088</c:v>
                </c:pt>
                <c:pt idx="690" formatCode="0.00">
                  <c:v>0.25670930001678011</c:v>
                </c:pt>
                <c:pt idx="691" formatCode="0.00">
                  <c:v>0.25670925688436336</c:v>
                </c:pt>
                <c:pt idx="692" formatCode="0.00">
                  <c:v>0.25536668708781318</c:v>
                </c:pt>
                <c:pt idx="693" formatCode="0.00">
                  <c:v>0.25635797809165162</c:v>
                </c:pt>
                <c:pt idx="694" formatCode="0.00">
                  <c:v>0.2563150756809679</c:v>
                </c:pt>
                <c:pt idx="695" formatCode="0.00">
                  <c:v>0.25628172965856055</c:v>
                </c:pt>
                <c:pt idx="696" formatCode="0.00">
                  <c:v>0.25656354214177923</c:v>
                </c:pt>
                <c:pt idx="697" formatCode="0.00">
                  <c:v>0.25651219178335638</c:v>
                </c:pt>
                <c:pt idx="698" formatCode="0.00">
                  <c:v>0.25768366400081716</c:v>
                </c:pt>
                <c:pt idx="699" formatCode="0.00">
                  <c:v>0.25803707919096303</c:v>
                </c:pt>
                <c:pt idx="700" formatCode="0.00">
                  <c:v>0.25560157945686962</c:v>
                </c:pt>
                <c:pt idx="701" formatCode="0.00">
                  <c:v>0.25543567075216472</c:v>
                </c:pt>
                <c:pt idx="702" formatCode="0.00">
                  <c:v>0.25680161584059913</c:v>
                </c:pt>
                <c:pt idx="703" formatCode="0.00">
                  <c:v>0.25729559160163651</c:v>
                </c:pt>
                <c:pt idx="704" formatCode="0.00">
                  <c:v>0.25728131765214968</c:v>
                </c:pt>
                <c:pt idx="705" formatCode="0.00">
                  <c:v>0.25705909057253756</c:v>
                </c:pt>
                <c:pt idx="706" formatCode="0.00">
                  <c:v>0.26017243547776558</c:v>
                </c:pt>
                <c:pt idx="707" formatCode="0.00">
                  <c:v>0.26030006803006833</c:v>
                </c:pt>
                <c:pt idx="708" formatCode="0.00">
                  <c:v>0.26170663637611691</c:v>
                </c:pt>
                <c:pt idx="709" formatCode="0.00">
                  <c:v>0.26257712100998531</c:v>
                </c:pt>
                <c:pt idx="710" formatCode="0.00">
                  <c:v>0.26272686110053528</c:v>
                </c:pt>
                <c:pt idx="711" formatCode="0.00">
                  <c:v>0.26384263871184604</c:v>
                </c:pt>
                <c:pt idx="712" formatCode="0.00">
                  <c:v>0.26401950421315223</c:v>
                </c:pt>
                <c:pt idx="713" formatCode="0.00">
                  <c:v>0.2639603169228999</c:v>
                </c:pt>
                <c:pt idx="714" formatCode="0.00">
                  <c:v>0.2638533356583514</c:v>
                </c:pt>
                <c:pt idx="715" formatCode="0.00">
                  <c:v>0.26405321282341782</c:v>
                </c:pt>
                <c:pt idx="716" formatCode="0.00">
                  <c:v>0.26431156784870108</c:v>
                </c:pt>
                <c:pt idx="717" formatCode="0.00">
                  <c:v>0.27139225580595272</c:v>
                </c:pt>
                <c:pt idx="718" formatCode="0.00">
                  <c:v>0.27196656046573564</c:v>
                </c:pt>
                <c:pt idx="719" formatCode="0.00">
                  <c:v>0.27193995655211889</c:v>
                </c:pt>
                <c:pt idx="720" formatCode="0.00">
                  <c:v>0.27195945871282701</c:v>
                </c:pt>
                <c:pt idx="721" formatCode="0.00">
                  <c:v>0.27196282101196217</c:v>
                </c:pt>
                <c:pt idx="722" formatCode="0.00">
                  <c:v>0.27198852036400639</c:v>
                </c:pt>
                <c:pt idx="723" formatCode="0.00">
                  <c:v>0.27201247315631671</c:v>
                </c:pt>
                <c:pt idx="724" formatCode="0.00">
                  <c:v>0.27181984965295303</c:v>
                </c:pt>
                <c:pt idx="725" formatCode="0.00">
                  <c:v>0.27221187009653913</c:v>
                </c:pt>
                <c:pt idx="726" formatCode="0.00">
                  <c:v>0.27203065189706876</c:v>
                </c:pt>
                <c:pt idx="727" formatCode="0.00">
                  <c:v>0.2720412707007458</c:v>
                </c:pt>
                <c:pt idx="728" formatCode="0.00">
                  <c:v>0.27155061471206843</c:v>
                </c:pt>
                <c:pt idx="729" formatCode="0.00">
                  <c:v>0.27154635263263394</c:v>
                </c:pt>
                <c:pt idx="730" formatCode="0.00">
                  <c:v>0.2723329597380621</c:v>
                </c:pt>
                <c:pt idx="731" formatCode="0.00">
                  <c:v>0.27264538669176108</c:v>
                </c:pt>
                <c:pt idx="732" formatCode="0.00">
                  <c:v>0.27248382731095011</c:v>
                </c:pt>
                <c:pt idx="733" formatCode="0.00">
                  <c:v>0.27212588917639141</c:v>
                </c:pt>
                <c:pt idx="734" formatCode="0.00">
                  <c:v>0.27227608154803196</c:v>
                </c:pt>
                <c:pt idx="735" formatCode="0.00">
                  <c:v>0.2723037551314112</c:v>
                </c:pt>
                <c:pt idx="736" formatCode="0.00">
                  <c:v>0.2718950905500902</c:v>
                </c:pt>
                <c:pt idx="737" formatCode="0.00">
                  <c:v>0.27253971304881097</c:v>
                </c:pt>
                <c:pt idx="738" formatCode="0.00">
                  <c:v>0.27540018776999192</c:v>
                </c:pt>
                <c:pt idx="739" formatCode="0.00">
                  <c:v>0.27508450397365658</c:v>
                </c:pt>
                <c:pt idx="740" formatCode="0.00">
                  <c:v>0.27431534876231045</c:v>
                </c:pt>
                <c:pt idx="741" formatCode="0.00">
                  <c:v>0.27324104421646728</c:v>
                </c:pt>
                <c:pt idx="742" formatCode="0.00">
                  <c:v>0.27220663493244002</c:v>
                </c:pt>
                <c:pt idx="743" formatCode="0.00">
                  <c:v>0.27201064057820679</c:v>
                </c:pt>
                <c:pt idx="744" formatCode="0.00">
                  <c:v>0.27269065454125119</c:v>
                </c:pt>
                <c:pt idx="745" formatCode="0.00">
                  <c:v>0.27244952591102423</c:v>
                </c:pt>
                <c:pt idx="746" formatCode="0.00">
                  <c:v>0.27270749924218429</c:v>
                </c:pt>
                <c:pt idx="747" formatCode="0.00">
                  <c:v>0.27168036282100072</c:v>
                </c:pt>
                <c:pt idx="748" formatCode="0.00">
                  <c:v>0.27214286204014132</c:v>
                </c:pt>
                <c:pt idx="749" formatCode="0.00">
                  <c:v>0.27111432941512331</c:v>
                </c:pt>
                <c:pt idx="750" formatCode="0.00">
                  <c:v>0.27171260250016921</c:v>
                </c:pt>
                <c:pt idx="751" formatCode="0.00">
                  <c:v>0.27174373044046607</c:v>
                </c:pt>
                <c:pt idx="752" formatCode="0.00">
                  <c:v>0.27184093651213886</c:v>
                </c:pt>
                <c:pt idx="753" formatCode="0.00">
                  <c:v>0.27245188335151277</c:v>
                </c:pt>
                <c:pt idx="754" formatCode="0.00">
                  <c:v>0.27928380270949943</c:v>
                </c:pt>
                <c:pt idx="755" formatCode="0.00">
                  <c:v>0.27993847686463602</c:v>
                </c:pt>
                <c:pt idx="756" formatCode="0.00">
                  <c:v>0.28073899716103723</c:v>
                </c:pt>
                <c:pt idx="757" formatCode="0.00">
                  <c:v>0.28418604598056291</c:v>
                </c:pt>
                <c:pt idx="758" formatCode="0.00">
                  <c:v>0.27817588897008627</c:v>
                </c:pt>
                <c:pt idx="759" formatCode="0.00">
                  <c:v>0.27930054394868381</c:v>
                </c:pt>
                <c:pt idx="760" formatCode="0.00">
                  <c:v>0.27953294042187676</c:v>
                </c:pt>
                <c:pt idx="761" formatCode="0.00">
                  <c:v>0.27964328224728519</c:v>
                </c:pt>
                <c:pt idx="762" formatCode="0.00">
                  <c:v>0.27940341675286456</c:v>
                </c:pt>
                <c:pt idx="763" formatCode="0.00">
                  <c:v>0.27945556815258354</c:v>
                </c:pt>
                <c:pt idx="764" formatCode="0.00">
                  <c:v>0.27964708665996801</c:v>
                </c:pt>
                <c:pt idx="765" formatCode="0.00">
                  <c:v>0.27972103780211754</c:v>
                </c:pt>
                <c:pt idx="766" formatCode="0.00">
                  <c:v>0.27973365055612881</c:v>
                </c:pt>
                <c:pt idx="767" formatCode="0.00">
                  <c:v>0.27975001752481932</c:v>
                </c:pt>
                <c:pt idx="768" formatCode="0.00">
                  <c:v>0.28155232390060603</c:v>
                </c:pt>
                <c:pt idx="769" formatCode="0.00">
                  <c:v>0.28163017517349453</c:v>
                </c:pt>
                <c:pt idx="770" formatCode="0.00">
                  <c:v>0.28381783168523683</c:v>
                </c:pt>
                <c:pt idx="771" formatCode="0.00">
                  <c:v>0.28322042855858443</c:v>
                </c:pt>
                <c:pt idx="772" formatCode="0.00">
                  <c:v>0.2828529010413583</c:v>
                </c:pt>
                <c:pt idx="773" formatCode="0.00">
                  <c:v>0.28208129352154759</c:v>
                </c:pt>
                <c:pt idx="774" formatCode="0.00">
                  <c:v>0.28417232796475173</c:v>
                </c:pt>
                <c:pt idx="775" formatCode="0.00">
                  <c:v>0.28605877041580985</c:v>
                </c:pt>
                <c:pt idx="776" formatCode="0.00">
                  <c:v>0.28687229132013881</c:v>
                </c:pt>
                <c:pt idx="777" formatCode="0.00">
                  <c:v>0.28695441920741982</c:v>
                </c:pt>
                <c:pt idx="778" formatCode="0.00">
                  <c:v>0.28707295315411663</c:v>
                </c:pt>
                <c:pt idx="779" formatCode="0.00">
                  <c:v>0.287133897177269</c:v>
                </c:pt>
                <c:pt idx="780" formatCode="0.00">
                  <c:v>0.28697915023380094</c:v>
                </c:pt>
                <c:pt idx="781" formatCode="0.00">
                  <c:v>0.28615154010152116</c:v>
                </c:pt>
                <c:pt idx="782" formatCode="0.00">
                  <c:v>0.28806058410802321</c:v>
                </c:pt>
                <c:pt idx="783" formatCode="0.00">
                  <c:v>0.28750190058608632</c:v>
                </c:pt>
                <c:pt idx="784" formatCode="0.00">
                  <c:v>0.28758987202495062</c:v>
                </c:pt>
                <c:pt idx="785" formatCode="0.00">
                  <c:v>0.28826517389462014</c:v>
                </c:pt>
                <c:pt idx="786" formatCode="0.00">
                  <c:v>0.28850189760005401</c:v>
                </c:pt>
                <c:pt idx="787" formatCode="0.00">
                  <c:v>0.28682142758588319</c:v>
                </c:pt>
                <c:pt idx="788" formatCode="0.00">
                  <c:v>0.28683881404272871</c:v>
                </c:pt>
                <c:pt idx="789" formatCode="0.00">
                  <c:v>0.2854261865063914</c:v>
                </c:pt>
                <c:pt idx="790" formatCode="0.00">
                  <c:v>0.28465714701936434</c:v>
                </c:pt>
                <c:pt idx="791" formatCode="0.00">
                  <c:v>0.28349137375123351</c:v>
                </c:pt>
                <c:pt idx="792" formatCode="0.00">
                  <c:v>0.28337085925644168</c:v>
                </c:pt>
                <c:pt idx="793" formatCode="0.00">
                  <c:v>0.28223676268468256</c:v>
                </c:pt>
                <c:pt idx="794" formatCode="0.00">
                  <c:v>0.28224484115250625</c:v>
                </c:pt>
                <c:pt idx="795" formatCode="0.00">
                  <c:v>0.28189268726048788</c:v>
                </c:pt>
                <c:pt idx="796" formatCode="0.00">
                  <c:v>0.28210223339177448</c:v>
                </c:pt>
                <c:pt idx="797" formatCode="0.00">
                  <c:v>0.28234590334338583</c:v>
                </c:pt>
                <c:pt idx="798" formatCode="0.00">
                  <c:v>0.28214119438324153</c:v>
                </c:pt>
                <c:pt idx="799" formatCode="0.00">
                  <c:v>0.28321867417027391</c:v>
                </c:pt>
                <c:pt idx="800" formatCode="0.00">
                  <c:v>0.28321379802084495</c:v>
                </c:pt>
                <c:pt idx="801" formatCode="0.00">
                  <c:v>0.2833853779766759</c:v>
                </c:pt>
                <c:pt idx="802" formatCode="0.00">
                  <c:v>0.28300289929471917</c:v>
                </c:pt>
                <c:pt idx="803" formatCode="0.00">
                  <c:v>0.28303017552610293</c:v>
                </c:pt>
                <c:pt idx="804" formatCode="0.00">
                  <c:v>0.2834003184622314</c:v>
                </c:pt>
                <c:pt idx="805" formatCode="0.00">
                  <c:v>0.28276298888083651</c:v>
                </c:pt>
                <c:pt idx="806" formatCode="0.00">
                  <c:v>0.28287316360145504</c:v>
                </c:pt>
                <c:pt idx="807" formatCode="0.00">
                  <c:v>0.28286234653998682</c:v>
                </c:pt>
                <c:pt idx="808" formatCode="0.00">
                  <c:v>0.28398317800523876</c:v>
                </c:pt>
                <c:pt idx="809" formatCode="0.00">
                  <c:v>0.28389054800604946</c:v>
                </c:pt>
                <c:pt idx="810" formatCode="0.00">
                  <c:v>0.28391638279617032</c:v>
                </c:pt>
                <c:pt idx="811" formatCode="0.00">
                  <c:v>0.28385916366941893</c:v>
                </c:pt>
                <c:pt idx="812" formatCode="0.00">
                  <c:v>0.28413495288172785</c:v>
                </c:pt>
                <c:pt idx="813" formatCode="0.00">
                  <c:v>0.28420838766609685</c:v>
                </c:pt>
                <c:pt idx="814" formatCode="0.00">
                  <c:v>0.28491291109048267</c:v>
                </c:pt>
                <c:pt idx="815" formatCode="0.00">
                  <c:v>0.28465420153530913</c:v>
                </c:pt>
                <c:pt idx="816" formatCode="0.00">
                  <c:v>0.28707750306975588</c:v>
                </c:pt>
                <c:pt idx="817" formatCode="0.00">
                  <c:v>0.28713365928492657</c:v>
                </c:pt>
                <c:pt idx="818" formatCode="0.00">
                  <c:v>0.28454911056708909</c:v>
                </c:pt>
                <c:pt idx="819" formatCode="0.00">
                  <c:v>0.29009386766436762</c:v>
                </c:pt>
                <c:pt idx="820" formatCode="0.00">
                  <c:v>0.29036377447074946</c:v>
                </c:pt>
                <c:pt idx="821" formatCode="0.00">
                  <c:v>0.29084052136443361</c:v>
                </c:pt>
                <c:pt idx="822" formatCode="0.00">
                  <c:v>0.2927208477372254</c:v>
                </c:pt>
                <c:pt idx="823" formatCode="0.00">
                  <c:v>0.29324101232505478</c:v>
                </c:pt>
                <c:pt idx="824" formatCode="0.00">
                  <c:v>0.29572855689503275</c:v>
                </c:pt>
                <c:pt idx="825" formatCode="0.00">
                  <c:v>0.29708937116810569</c:v>
                </c:pt>
                <c:pt idx="826" formatCode="0.00">
                  <c:v>0.29662731209610921</c:v>
                </c:pt>
                <c:pt idx="827" formatCode="0.00">
                  <c:v>0.29653038479115362</c:v>
                </c:pt>
                <c:pt idx="828" formatCode="0.00">
                  <c:v>0.29686510523961657</c:v>
                </c:pt>
                <c:pt idx="829" formatCode="0.00">
                  <c:v>0.29684586239818456</c:v>
                </c:pt>
                <c:pt idx="830" formatCode="0.00">
                  <c:v>0.29648982413727837</c:v>
                </c:pt>
                <c:pt idx="831" formatCode="0.00">
                  <c:v>0.29563264237414499</c:v>
                </c:pt>
                <c:pt idx="832" formatCode="0.00">
                  <c:v>0.29597524005596798</c:v>
                </c:pt>
                <c:pt idx="833" formatCode="0.00">
                  <c:v>0.29569281912185613</c:v>
                </c:pt>
                <c:pt idx="834" formatCode="0.00">
                  <c:v>0.29558227951186988</c:v>
                </c:pt>
                <c:pt idx="835" formatCode="0.00">
                  <c:v>0.29509058529373511</c:v>
                </c:pt>
                <c:pt idx="836" formatCode="0.00">
                  <c:v>0.29534274390272625</c:v>
                </c:pt>
                <c:pt idx="837" formatCode="0.00">
                  <c:v>0.29516858693912562</c:v>
                </c:pt>
                <c:pt idx="838" formatCode="0.00">
                  <c:v>0.29439712224862669</c:v>
                </c:pt>
                <c:pt idx="839" formatCode="0.00">
                  <c:v>0.29410503955538331</c:v>
                </c:pt>
                <c:pt idx="840" formatCode="0.00">
                  <c:v>0.29317860617962249</c:v>
                </c:pt>
                <c:pt idx="841" formatCode="0.00">
                  <c:v>0.29322190375876495</c:v>
                </c:pt>
                <c:pt idx="842" formatCode="0.00">
                  <c:v>0.29416980875127358</c:v>
                </c:pt>
                <c:pt idx="843" formatCode="0.00">
                  <c:v>0.29518889100840257</c:v>
                </c:pt>
                <c:pt idx="844" formatCode="0.00">
                  <c:v>0.29473731332773223</c:v>
                </c:pt>
                <c:pt idx="845" formatCode="0.00">
                  <c:v>0.29422323465625116</c:v>
                </c:pt>
                <c:pt idx="846" formatCode="0.00">
                  <c:v>0.2942239806140341</c:v>
                </c:pt>
                <c:pt idx="847" formatCode="0.00">
                  <c:v>0.2933087814420729</c:v>
                </c:pt>
                <c:pt idx="848" formatCode="0.00">
                  <c:v>0.29390656959684808</c:v>
                </c:pt>
                <c:pt idx="849" formatCode="0.00">
                  <c:v>0.29388757574720908</c:v>
                </c:pt>
                <c:pt idx="850" formatCode="0.00">
                  <c:v>0.29344545218978951</c:v>
                </c:pt>
                <c:pt idx="851" formatCode="0.00">
                  <c:v>0.29506782163832546</c:v>
                </c:pt>
                <c:pt idx="852" formatCode="0.00">
                  <c:v>0.29515059687666961</c:v>
                </c:pt>
                <c:pt idx="853" formatCode="0.00">
                  <c:v>0.29510087364026905</c:v>
                </c:pt>
                <c:pt idx="854" formatCode="0.00">
                  <c:v>0.29521367537851378</c:v>
                </c:pt>
                <c:pt idx="855" formatCode="0.00">
                  <c:v>0.29522522744482621</c:v>
                </c:pt>
                <c:pt idx="856" formatCode="0.00">
                  <c:v>0.29473133865399498</c:v>
                </c:pt>
                <c:pt idx="857" formatCode="0.00">
                  <c:v>0.29303314455536122</c:v>
                </c:pt>
                <c:pt idx="858" formatCode="0.00">
                  <c:v>0.29319651311547418</c:v>
                </c:pt>
                <c:pt idx="859" formatCode="0.00">
                  <c:v>0.29293337923615248</c:v>
                </c:pt>
                <c:pt idx="860" formatCode="0.00">
                  <c:v>0.29227922855824873</c:v>
                </c:pt>
                <c:pt idx="861" formatCode="0.00">
                  <c:v>0.2924001456164923</c:v>
                </c:pt>
                <c:pt idx="862" formatCode="0.00">
                  <c:v>0.29212927767222507</c:v>
                </c:pt>
                <c:pt idx="863" formatCode="0.00">
                  <c:v>0.29205822299554002</c:v>
                </c:pt>
                <c:pt idx="864" formatCode="0.00">
                  <c:v>0.29244947230146168</c:v>
                </c:pt>
                <c:pt idx="865" formatCode="0.00">
                  <c:v>0.29192039325218871</c:v>
                </c:pt>
                <c:pt idx="866" formatCode="0.00">
                  <c:v>0.29219602072624856</c:v>
                </c:pt>
                <c:pt idx="867" formatCode="0.00">
                  <c:v>0.29188077997078088</c:v>
                </c:pt>
                <c:pt idx="868" formatCode="0.00">
                  <c:v>0.29193936547353905</c:v>
                </c:pt>
                <c:pt idx="869" formatCode="0.00">
                  <c:v>0.2918467070370645</c:v>
                </c:pt>
                <c:pt idx="870" formatCode="0.00">
                  <c:v>0.29332329391298145</c:v>
                </c:pt>
                <c:pt idx="871" formatCode="0.00">
                  <c:v>0.29247644162240227</c:v>
                </c:pt>
                <c:pt idx="872" formatCode="0.00">
                  <c:v>0.29247496733133715</c:v>
                </c:pt>
                <c:pt idx="873" formatCode="0.00">
                  <c:v>0.29554249271352445</c:v>
                </c:pt>
                <c:pt idx="874" formatCode="0.00">
                  <c:v>0.29439686894247014</c:v>
                </c:pt>
                <c:pt idx="875" formatCode="0.00">
                  <c:v>0.29430873429207316</c:v>
                </c:pt>
                <c:pt idx="876" formatCode="0.00">
                  <c:v>0.29740143279452685</c:v>
                </c:pt>
                <c:pt idx="877" formatCode="0.00">
                  <c:v>0.29868608370158778</c:v>
                </c:pt>
                <c:pt idx="878" formatCode="0.00">
                  <c:v>0.30177725584758258</c:v>
                </c:pt>
                <c:pt idx="879" formatCode="0.00">
                  <c:v>0.30175422367271093</c:v>
                </c:pt>
                <c:pt idx="880" formatCode="0.00">
                  <c:v>0.30174759856790018</c:v>
                </c:pt>
                <c:pt idx="881" formatCode="0.00">
                  <c:v>0.30129811001286738</c:v>
                </c:pt>
                <c:pt idx="882" formatCode="0.00">
                  <c:v>0.29978423211648186</c:v>
                </c:pt>
                <c:pt idx="883" formatCode="0.00">
                  <c:v>0.2995484035509946</c:v>
                </c:pt>
                <c:pt idx="884" formatCode="0.00">
                  <c:v>0.29965718407548481</c:v>
                </c:pt>
                <c:pt idx="885" formatCode="0.00">
                  <c:v>0.29968829435148403</c:v>
                </c:pt>
                <c:pt idx="886" formatCode="0.00">
                  <c:v>0.30143172126487572</c:v>
                </c:pt>
                <c:pt idx="887" formatCode="0.00">
                  <c:v>0.3022043626527065</c:v>
                </c:pt>
                <c:pt idx="888" formatCode="0.00">
                  <c:v>0.30284581800756455</c:v>
                </c:pt>
                <c:pt idx="889" formatCode="0.00">
                  <c:v>0.30233524606786583</c:v>
                </c:pt>
                <c:pt idx="890" formatCode="0.00">
                  <c:v>0.30241371839254716</c:v>
                </c:pt>
                <c:pt idx="891" formatCode="0.00">
                  <c:v>0.30334769810911882</c:v>
                </c:pt>
                <c:pt idx="892" formatCode="0.00">
                  <c:v>0.30320049845586849</c:v>
                </c:pt>
                <c:pt idx="893" formatCode="0.00">
                  <c:v>0.30409552224920555</c:v>
                </c:pt>
                <c:pt idx="894" formatCode="0.00">
                  <c:v>0.3048250839916069</c:v>
                </c:pt>
                <c:pt idx="895" formatCode="0.00">
                  <c:v>0.3063636237351206</c:v>
                </c:pt>
                <c:pt idx="896" formatCode="0.00">
                  <c:v>0.30789003188264685</c:v>
                </c:pt>
                <c:pt idx="897" formatCode="0.00">
                  <c:v>0.30836676077818082</c:v>
                </c:pt>
                <c:pt idx="898" formatCode="0.00">
                  <c:v>0.31124716707871269</c:v>
                </c:pt>
                <c:pt idx="899" formatCode="0.00">
                  <c:v>0.31149597502464266</c:v>
                </c:pt>
                <c:pt idx="900" formatCode="0.00">
                  <c:v>0.30991942829232777</c:v>
                </c:pt>
                <c:pt idx="901" formatCode="0.00">
                  <c:v>0.31064745411838024</c:v>
                </c:pt>
                <c:pt idx="902" formatCode="0.00">
                  <c:v>0.31091849454000214</c:v>
                </c:pt>
                <c:pt idx="903" formatCode="0.00">
                  <c:v>0.31057414332961142</c:v>
                </c:pt>
                <c:pt idx="904" formatCode="0.00">
                  <c:v>0.3102179295251965</c:v>
                </c:pt>
                <c:pt idx="905" formatCode="0.00">
                  <c:v>0.30777648464796159</c:v>
                </c:pt>
                <c:pt idx="906" formatCode="0.00">
                  <c:v>0.30597417870111915</c:v>
                </c:pt>
                <c:pt idx="907" formatCode="0.00">
                  <c:v>0.30514034723643951</c:v>
                </c:pt>
                <c:pt idx="908" formatCode="0.00">
                  <c:v>0.30490186898325317</c:v>
                </c:pt>
                <c:pt idx="909" formatCode="0.00">
                  <c:v>0.30484706519237437</c:v>
                </c:pt>
                <c:pt idx="910" formatCode="0.00">
                  <c:v>0.30748385743133172</c:v>
                </c:pt>
                <c:pt idx="911" formatCode="0.00">
                  <c:v>0.30791902955199579</c:v>
                </c:pt>
                <c:pt idx="912" formatCode="0.00">
                  <c:v>0.30794188727595323</c:v>
                </c:pt>
                <c:pt idx="913" formatCode="0.00">
                  <c:v>0.31128773439971513</c:v>
                </c:pt>
                <c:pt idx="914" formatCode="0.00">
                  <c:v>0.3112456539056952</c:v>
                </c:pt>
                <c:pt idx="915" formatCode="0.00">
                  <c:v>0.31129357126983337</c:v>
                </c:pt>
                <c:pt idx="916" formatCode="0.00">
                  <c:v>0.31513879720385207</c:v>
                </c:pt>
                <c:pt idx="917" formatCode="0.00">
                  <c:v>0.31593271814802731</c:v>
                </c:pt>
                <c:pt idx="918" formatCode="0.00">
                  <c:v>0.31674617182603687</c:v>
                </c:pt>
                <c:pt idx="919" formatCode="0.00">
                  <c:v>0.31758398828118223</c:v>
                </c:pt>
                <c:pt idx="920" formatCode="0.00">
                  <c:v>0.31769897397550445</c:v>
                </c:pt>
                <c:pt idx="921" formatCode="0.00">
                  <c:v>0.31772216516865287</c:v>
                </c:pt>
                <c:pt idx="922" formatCode="0.00">
                  <c:v>0.31787159688199845</c:v>
                </c:pt>
                <c:pt idx="923" formatCode="0.00">
                  <c:v>0.31768798486490935</c:v>
                </c:pt>
                <c:pt idx="924" formatCode="0.00">
                  <c:v>0.3151557923551695</c:v>
                </c:pt>
                <c:pt idx="925" formatCode="0.00">
                  <c:v>0.31513310014991142</c:v>
                </c:pt>
                <c:pt idx="926" formatCode="0.00">
                  <c:v>0.31382274740069238</c:v>
                </c:pt>
                <c:pt idx="927" formatCode="0.00">
                  <c:v>0.31304341493866317</c:v>
                </c:pt>
                <c:pt idx="928" formatCode="0.00">
                  <c:v>0.31371041782848436</c:v>
                </c:pt>
                <c:pt idx="929" formatCode="0.00">
                  <c:v>0.31362966070756482</c:v>
                </c:pt>
                <c:pt idx="930" formatCode="0.00">
                  <c:v>0.31369377353563133</c:v>
                </c:pt>
                <c:pt idx="931" formatCode="0.00">
                  <c:v>0.31123267856811104</c:v>
                </c:pt>
                <c:pt idx="932" formatCode="0.00">
                  <c:v>0.31284486991075983</c:v>
                </c:pt>
                <c:pt idx="933" formatCode="0.00">
                  <c:v>0.31260174613078673</c:v>
                </c:pt>
                <c:pt idx="934" formatCode="0.00">
                  <c:v>0.31232414806690989</c:v>
                </c:pt>
                <c:pt idx="935" formatCode="0.00">
                  <c:v>0.31312882164941391</c:v>
                </c:pt>
                <c:pt idx="936" formatCode="0.00">
                  <c:v>0.31319823498634275</c:v>
                </c:pt>
                <c:pt idx="937" formatCode="0.00">
                  <c:v>0.31354862392127919</c:v>
                </c:pt>
                <c:pt idx="938" formatCode="0.00">
                  <c:v>0.31500865907969777</c:v>
                </c:pt>
                <c:pt idx="939" formatCode="0.00">
                  <c:v>0.31613003087158137</c:v>
                </c:pt>
                <c:pt idx="940" formatCode="0.00">
                  <c:v>0.31585141854264015</c:v>
                </c:pt>
                <c:pt idx="941" formatCode="0.00">
                  <c:v>0.3162967842527698</c:v>
                </c:pt>
                <c:pt idx="942" formatCode="0.00">
                  <c:v>0.31642802459450758</c:v>
                </c:pt>
                <c:pt idx="943" formatCode="0.00">
                  <c:v>0.31569904654829367</c:v>
                </c:pt>
                <c:pt idx="944" formatCode="0.00">
                  <c:v>0.31659993408185799</c:v>
                </c:pt>
                <c:pt idx="945" formatCode="0.00">
                  <c:v>0.31602171368494586</c:v>
                </c:pt>
                <c:pt idx="946" formatCode="0.00">
                  <c:v>0.31574932172609937</c:v>
                </c:pt>
                <c:pt idx="947" formatCode="0.00">
                  <c:v>0.31563483362507272</c:v>
                </c:pt>
                <c:pt idx="948" formatCode="0.00">
                  <c:v>0.31600876574816983</c:v>
                </c:pt>
                <c:pt idx="949" formatCode="0.00">
                  <c:v>0.31919607464262539</c:v>
                </c:pt>
                <c:pt idx="950" formatCode="0.00">
                  <c:v>0.32004160434493534</c:v>
                </c:pt>
                <c:pt idx="951" formatCode="0.00">
                  <c:v>0.31964834066148035</c:v>
                </c:pt>
                <c:pt idx="952" formatCode="0.00">
                  <c:v>0.31900504334430707</c:v>
                </c:pt>
                <c:pt idx="953" formatCode="0.00">
                  <c:v>0.31934396282941863</c:v>
                </c:pt>
                <c:pt idx="954" formatCode="0.00">
                  <c:v>0.32072580594342814</c:v>
                </c:pt>
                <c:pt idx="955" formatCode="0.00">
                  <c:v>0.31956894288229143</c:v>
                </c:pt>
                <c:pt idx="956" formatCode="0.00">
                  <c:v>0.31935656039546356</c:v>
                </c:pt>
                <c:pt idx="957" formatCode="0.00">
                  <c:v>0.32264122845543458</c:v>
                </c:pt>
                <c:pt idx="958" formatCode="0.00">
                  <c:v>0.32375000220306438</c:v>
                </c:pt>
                <c:pt idx="959" formatCode="0.00">
                  <c:v>0.32192790018214418</c:v>
                </c:pt>
                <c:pt idx="960" formatCode="0.00">
                  <c:v>0.32212079870284055</c:v>
                </c:pt>
                <c:pt idx="961" formatCode="0.00">
                  <c:v>0.32135272730620784</c:v>
                </c:pt>
                <c:pt idx="962" formatCode="0.00">
                  <c:v>0.32084066520408028</c:v>
                </c:pt>
                <c:pt idx="963" formatCode="0.00">
                  <c:v>0.32069611596070213</c:v>
                </c:pt>
                <c:pt idx="964" formatCode="0.00">
                  <c:v>0.31977352576046164</c:v>
                </c:pt>
                <c:pt idx="965" formatCode="0.00">
                  <c:v>0.31884957362292443</c:v>
                </c:pt>
                <c:pt idx="966" formatCode="0.00">
                  <c:v>0.3190400385838113</c:v>
                </c:pt>
                <c:pt idx="967" formatCode="0.00">
                  <c:v>0.32118573109366638</c:v>
                </c:pt>
                <c:pt idx="968" formatCode="0.00">
                  <c:v>0.32135697018194898</c:v>
                </c:pt>
                <c:pt idx="969" formatCode="0.00">
                  <c:v>0.32136744479131302</c:v>
                </c:pt>
                <c:pt idx="970" formatCode="0.00">
                  <c:v>0.3145489089779393</c:v>
                </c:pt>
                <c:pt idx="971" formatCode="0.00">
                  <c:v>0.31480949544605147</c:v>
                </c:pt>
                <c:pt idx="972" formatCode="0.00">
                  <c:v>0.32075196304937226</c:v>
                </c:pt>
                <c:pt idx="973" formatCode="0.00">
                  <c:v>0.32091408647562458</c:v>
                </c:pt>
                <c:pt idx="974" formatCode="0.00">
                  <c:v>0.32109727646349995</c:v>
                </c:pt>
                <c:pt idx="975" formatCode="0.00">
                  <c:v>0.32165170209900174</c:v>
                </c:pt>
                <c:pt idx="976" formatCode="0.00">
                  <c:v>0.32197189828715339</c:v>
                </c:pt>
                <c:pt idx="977" formatCode="0.00">
                  <c:v>0.3223575384824951</c:v>
                </c:pt>
                <c:pt idx="978" formatCode="0.00">
                  <c:v>0.32254839446713529</c:v>
                </c:pt>
                <c:pt idx="979" formatCode="0.00">
                  <c:v>0.32465517391704374</c:v>
                </c:pt>
                <c:pt idx="980" formatCode="0.00">
                  <c:v>0.32467252503294414</c:v>
                </c:pt>
                <c:pt idx="981" formatCode="0.00">
                  <c:v>0.32467141184566412</c:v>
                </c:pt>
                <c:pt idx="982" formatCode="0.00">
                  <c:v>0.32805725401138325</c:v>
                </c:pt>
                <c:pt idx="983" formatCode="0.00">
                  <c:v>0.32725633172546592</c:v>
                </c:pt>
                <c:pt idx="984" formatCode="0.00">
                  <c:v>0.32681935952910035</c:v>
                </c:pt>
                <c:pt idx="985" formatCode="0.00">
                  <c:v>0.32679498976422017</c:v>
                </c:pt>
                <c:pt idx="986" formatCode="0.00">
                  <c:v>0.3267939741985551</c:v>
                </c:pt>
                <c:pt idx="987" formatCode="0.00">
                  <c:v>0.32630631794305198</c:v>
                </c:pt>
                <c:pt idx="988" formatCode="0.00">
                  <c:v>0.32634878981605592</c:v>
                </c:pt>
                <c:pt idx="989" formatCode="0.00">
                  <c:v>0.3262939378580022</c:v>
                </c:pt>
                <c:pt idx="990" formatCode="0.00">
                  <c:v>0.32537652886410917</c:v>
                </c:pt>
                <c:pt idx="991" formatCode="0.00">
                  <c:v>0.32472216652529706</c:v>
                </c:pt>
                <c:pt idx="992" formatCode="0.00">
                  <c:v>0.32518201027328369</c:v>
                </c:pt>
                <c:pt idx="993" formatCode="0.00">
                  <c:v>0.32517255817691149</c:v>
                </c:pt>
                <c:pt idx="994" formatCode="0.00">
                  <c:v>0.32724287454577489</c:v>
                </c:pt>
                <c:pt idx="995" formatCode="0.00">
                  <c:v>0.33047049487277702</c:v>
                </c:pt>
                <c:pt idx="996" formatCode="0.00">
                  <c:v>0.33404283926912792</c:v>
                </c:pt>
                <c:pt idx="997" formatCode="0.00">
                  <c:v>0.33379144493636642</c:v>
                </c:pt>
                <c:pt idx="998" formatCode="0.00">
                  <c:v>0.33407431769920415</c:v>
                </c:pt>
                <c:pt idx="999" formatCode="0.00">
                  <c:v>0.33370009976751303</c:v>
                </c:pt>
                <c:pt idx="1000" formatCode="0.00">
                  <c:v>0.33370872883849184</c:v>
                </c:pt>
                <c:pt idx="1001" formatCode="0.00">
                  <c:v>0.33324755407034928</c:v>
                </c:pt>
                <c:pt idx="1002" formatCode="0.00">
                  <c:v>0.33377375631334283</c:v>
                </c:pt>
                <c:pt idx="1003" formatCode="0.00">
                  <c:v>0.33958373997736857</c:v>
                </c:pt>
                <c:pt idx="1004" formatCode="0.00">
                  <c:v>0.3395686984404282</c:v>
                </c:pt>
                <c:pt idx="1005" formatCode="0.00">
                  <c:v>0.34015516182199051</c:v>
                </c:pt>
                <c:pt idx="1006" formatCode="0.00">
                  <c:v>0.34148242300723092</c:v>
                </c:pt>
                <c:pt idx="1007" formatCode="0.00">
                  <c:v>0.33759366388404211</c:v>
                </c:pt>
                <c:pt idx="1008" formatCode="0.00">
                  <c:v>0.33766070381028007</c:v>
                </c:pt>
                <c:pt idx="1009" formatCode="0.00">
                  <c:v>0.3371353730632029</c:v>
                </c:pt>
                <c:pt idx="1010" formatCode="0.00">
                  <c:v>0.33507879772879479</c:v>
                </c:pt>
                <c:pt idx="1011" formatCode="0.00">
                  <c:v>0.33504076379788428</c:v>
                </c:pt>
                <c:pt idx="1012" formatCode="0.00">
                  <c:v>0.33762928834437106</c:v>
                </c:pt>
                <c:pt idx="1013" formatCode="0.00">
                  <c:v>0.33737280760167437</c:v>
                </c:pt>
                <c:pt idx="1014" formatCode="0.00">
                  <c:v>0.33762327352578481</c:v>
                </c:pt>
                <c:pt idx="1015" formatCode="0.00">
                  <c:v>0.33745717771991118</c:v>
                </c:pt>
                <c:pt idx="1016" formatCode="0.00">
                  <c:v>0.33802887119677916</c:v>
                </c:pt>
                <c:pt idx="1017" formatCode="0.00">
                  <c:v>0.33793022036057796</c:v>
                </c:pt>
                <c:pt idx="1018" formatCode="0.00">
                  <c:v>0.33803297510513319</c:v>
                </c:pt>
                <c:pt idx="1019" formatCode="0.00">
                  <c:v>0.33811897628345777</c:v>
                </c:pt>
                <c:pt idx="1020" formatCode="0.00">
                  <c:v>0.33829999576960679</c:v>
                </c:pt>
                <c:pt idx="1021" formatCode="0.00">
                  <c:v>0.33981530591005821</c:v>
                </c:pt>
                <c:pt idx="1022" formatCode="0.00">
                  <c:v>0.33986933474325987</c:v>
                </c:pt>
                <c:pt idx="1023" formatCode="0.00">
                  <c:v>0.3373437392337954</c:v>
                </c:pt>
                <c:pt idx="1024" formatCode="0.00">
                  <c:v>0.33750709657900563</c:v>
                </c:pt>
                <c:pt idx="1025" formatCode="0.00">
                  <c:v>0.33835913551962316</c:v>
                </c:pt>
                <c:pt idx="1026" formatCode="0.00">
                  <c:v>0.33832344813750592</c:v>
                </c:pt>
                <c:pt idx="1027" formatCode="0.00">
                  <c:v>0.33704955757118749</c:v>
                </c:pt>
                <c:pt idx="1028" formatCode="0.00">
                  <c:v>0.3346955381074464</c:v>
                </c:pt>
                <c:pt idx="1029" formatCode="0.00">
                  <c:v>0.33413503215581059</c:v>
                </c:pt>
                <c:pt idx="1030" formatCode="0.00">
                  <c:v>0.3346859423849754</c:v>
                </c:pt>
                <c:pt idx="1031" formatCode="0.00">
                  <c:v>0.33431448021925869</c:v>
                </c:pt>
                <c:pt idx="1032" formatCode="0.00">
                  <c:v>0.33814350899650708</c:v>
                </c:pt>
                <c:pt idx="1033" formatCode="0.00">
                  <c:v>0.33955996378695791</c:v>
                </c:pt>
                <c:pt idx="1034" formatCode="0.00">
                  <c:v>0.34452652518346633</c:v>
                </c:pt>
                <c:pt idx="1035" formatCode="0.00">
                  <c:v>0.34357476007816812</c:v>
                </c:pt>
                <c:pt idx="1036" formatCode="0.00">
                  <c:v>0.34360516634113375</c:v>
                </c:pt>
                <c:pt idx="1037" formatCode="0.00">
                  <c:v>0.34354577999243674</c:v>
                </c:pt>
                <c:pt idx="1038" formatCode="0.00">
                  <c:v>0.34321660899288603</c:v>
                </c:pt>
                <c:pt idx="1039" formatCode="0.00">
                  <c:v>0.34251521043019717</c:v>
                </c:pt>
                <c:pt idx="1040" formatCode="0.00">
                  <c:v>0.34394772708273724</c:v>
                </c:pt>
                <c:pt idx="1041" formatCode="0.00">
                  <c:v>0.34404042616735275</c:v>
                </c:pt>
                <c:pt idx="1042" formatCode="0.00">
                  <c:v>0.34402426779786455</c:v>
                </c:pt>
                <c:pt idx="1043" formatCode="0.00">
                  <c:v>0.34486240833047455</c:v>
                </c:pt>
                <c:pt idx="1044" formatCode="0.00">
                  <c:v>0.34491924909967703</c:v>
                </c:pt>
                <c:pt idx="1045" formatCode="0.00">
                  <c:v>0.34651908794426201</c:v>
                </c:pt>
                <c:pt idx="1046" formatCode="0.00">
                  <c:v>0.34708978093315068</c:v>
                </c:pt>
                <c:pt idx="1047" formatCode="0.00">
                  <c:v>0.34726226808880023</c:v>
                </c:pt>
                <c:pt idx="1048" formatCode="0.00">
                  <c:v>0.34764732977036722</c:v>
                </c:pt>
                <c:pt idx="1049" formatCode="0.00">
                  <c:v>0.34735923180885064</c:v>
                </c:pt>
                <c:pt idx="1050" formatCode="0.00">
                  <c:v>0.34724402588581915</c:v>
                </c:pt>
                <c:pt idx="1051" formatCode="0.00">
                  <c:v>0.3467668599874848</c:v>
                </c:pt>
                <c:pt idx="1052" formatCode="0.00">
                  <c:v>0.34593523545622551</c:v>
                </c:pt>
                <c:pt idx="1053" formatCode="0.00">
                  <c:v>0.34595885423784206</c:v>
                </c:pt>
                <c:pt idx="1054" formatCode="0.00">
                  <c:v>0.34594744611915174</c:v>
                </c:pt>
                <c:pt idx="1055" formatCode="0.00">
                  <c:v>0.34583564742863659</c:v>
                </c:pt>
                <c:pt idx="1056" formatCode="0.00">
                  <c:v>0.34601180361020817</c:v>
                </c:pt>
                <c:pt idx="1057" formatCode="0.00">
                  <c:v>0.34517377893004392</c:v>
                </c:pt>
                <c:pt idx="1058" formatCode="0.00">
                  <c:v>0.34627146582549556</c:v>
                </c:pt>
                <c:pt idx="1059" formatCode="0.00">
                  <c:v>0.34659655104803078</c:v>
                </c:pt>
                <c:pt idx="1060" formatCode="0.00">
                  <c:v>0.34755458299455011</c:v>
                </c:pt>
                <c:pt idx="1061" formatCode="0.00">
                  <c:v>0.34664971940673245</c:v>
                </c:pt>
                <c:pt idx="1062" formatCode="0.00">
                  <c:v>0.34643679357458029</c:v>
                </c:pt>
                <c:pt idx="1063" formatCode="0.00">
                  <c:v>0.34635324998158196</c:v>
                </c:pt>
                <c:pt idx="1064" formatCode="0.00">
                  <c:v>0.34611116794807695</c:v>
                </c:pt>
                <c:pt idx="1065" formatCode="0.00">
                  <c:v>0.34875249535263902</c:v>
                </c:pt>
                <c:pt idx="1066" formatCode="0.00">
                  <c:v>0.34975315442741106</c:v>
                </c:pt>
                <c:pt idx="1067" formatCode="0.00">
                  <c:v>0.34902211951053153</c:v>
                </c:pt>
                <c:pt idx="1068" formatCode="0.00">
                  <c:v>0.34910470115563208</c:v>
                </c:pt>
                <c:pt idx="1069" formatCode="0.00">
                  <c:v>0.34717242721967001</c:v>
                </c:pt>
                <c:pt idx="1070" formatCode="0.00">
                  <c:v>0.34713127338855471</c:v>
                </c:pt>
                <c:pt idx="1071" formatCode="0.00">
                  <c:v>0.34630791572646302</c:v>
                </c:pt>
                <c:pt idx="1072" formatCode="0.00">
                  <c:v>0.34431543716254637</c:v>
                </c:pt>
                <c:pt idx="1073" formatCode="0.00">
                  <c:v>0.34521309168892073</c:v>
                </c:pt>
                <c:pt idx="1074" formatCode="0.00">
                  <c:v>0.34478048286679319</c:v>
                </c:pt>
                <c:pt idx="1075" formatCode="0.00">
                  <c:v>0.34321058601832599</c:v>
                </c:pt>
                <c:pt idx="1076" formatCode="0.00">
                  <c:v>0.34503348909163001</c:v>
                </c:pt>
                <c:pt idx="1077" formatCode="0.00">
                  <c:v>0.3427731840263275</c:v>
                </c:pt>
                <c:pt idx="1078" formatCode="0.00">
                  <c:v>0.34143013047535764</c:v>
                </c:pt>
                <c:pt idx="1079" formatCode="0.00">
                  <c:v>0.34140079102682008</c:v>
                </c:pt>
                <c:pt idx="1080" formatCode="0.00">
                  <c:v>0.34123267200187307</c:v>
                </c:pt>
                <c:pt idx="1081" formatCode="0.00">
                  <c:v>0.34084907911598</c:v>
                </c:pt>
                <c:pt idx="1082" formatCode="0.00">
                  <c:v>0.34128494216966021</c:v>
                </c:pt>
                <c:pt idx="1083" formatCode="0.00">
                  <c:v>0.34235022243731106</c:v>
                </c:pt>
                <c:pt idx="1084" formatCode="0.00">
                  <c:v>0.34275417614007742</c:v>
                </c:pt>
                <c:pt idx="1085" formatCode="0.00">
                  <c:v>0.34274984482499327</c:v>
                </c:pt>
                <c:pt idx="1086" formatCode="0.00">
                  <c:v>0.34289050915143277</c:v>
                </c:pt>
                <c:pt idx="1087" formatCode="0.00">
                  <c:v>0.34300890372347109</c:v>
                </c:pt>
                <c:pt idx="1088" formatCode="0.00">
                  <c:v>0.34318136888833628</c:v>
                </c:pt>
                <c:pt idx="1089" formatCode="0.00">
                  <c:v>0.3427960588232134</c:v>
                </c:pt>
                <c:pt idx="1090" formatCode="0.00">
                  <c:v>0.3429370263456048</c:v>
                </c:pt>
                <c:pt idx="1091" formatCode="0.00">
                  <c:v>0.34282580187017747</c:v>
                </c:pt>
                <c:pt idx="1092" formatCode="0.00">
                  <c:v>0.3440580989865531</c:v>
                </c:pt>
                <c:pt idx="1093" formatCode="0.00">
                  <c:v>0.3439044793673498</c:v>
                </c:pt>
                <c:pt idx="1094" formatCode="0.00">
                  <c:v>0.34361098311692978</c:v>
                </c:pt>
                <c:pt idx="1095" formatCode="0.00">
                  <c:v>0.34263826880303794</c:v>
                </c:pt>
                <c:pt idx="1096" formatCode="0.00">
                  <c:v>0.34154230718551881</c:v>
                </c:pt>
                <c:pt idx="1097" formatCode="0.00">
                  <c:v>0.34149548003481278</c:v>
                </c:pt>
                <c:pt idx="1098" formatCode="0.00">
                  <c:v>0.34148540985047943</c:v>
                </c:pt>
                <c:pt idx="1099" formatCode="0.00">
                  <c:v>0.34211487103017529</c:v>
                </c:pt>
                <c:pt idx="1100" formatCode="0.00">
                  <c:v>0.34283478580386301</c:v>
                </c:pt>
                <c:pt idx="1101" formatCode="0.00">
                  <c:v>0.3451556382929476</c:v>
                </c:pt>
                <c:pt idx="1102" formatCode="0.00">
                  <c:v>0.34603691214631199</c:v>
                </c:pt>
                <c:pt idx="1103" formatCode="0.00">
                  <c:v>0.34641630630895298</c:v>
                </c:pt>
                <c:pt idx="1104" formatCode="0.00">
                  <c:v>0.3452586229154177</c:v>
                </c:pt>
                <c:pt idx="1105" formatCode="0.00">
                  <c:v>0.34550691446335302</c:v>
                </c:pt>
                <c:pt idx="1106" formatCode="0.00">
                  <c:v>0.34562032437951146</c:v>
                </c:pt>
                <c:pt idx="1107" formatCode="0.00">
                  <c:v>0.34523452704379504</c:v>
                </c:pt>
                <c:pt idx="1108" formatCode="0.00">
                  <c:v>0.34520214439109231</c:v>
                </c:pt>
                <c:pt idx="1109" formatCode="0.00">
                  <c:v>0.34608497132954025</c:v>
                </c:pt>
                <c:pt idx="1110" formatCode="0.00">
                  <c:v>0.34632677886245566</c:v>
                </c:pt>
                <c:pt idx="1111" formatCode="0.00">
                  <c:v>0.34624257058145019</c:v>
                </c:pt>
                <c:pt idx="1112" formatCode="0.00">
                  <c:v>0.34616796481955298</c:v>
                </c:pt>
                <c:pt idx="1113" formatCode="0.00">
                  <c:v>0.34676931024762692</c:v>
                </c:pt>
                <c:pt idx="1114" formatCode="0.00">
                  <c:v>0.34593430710348994</c:v>
                </c:pt>
                <c:pt idx="1115" formatCode="0.00">
                  <c:v>0.34576810430085708</c:v>
                </c:pt>
                <c:pt idx="1116" formatCode="0.00">
                  <c:v>0.34577114910341039</c:v>
                </c:pt>
                <c:pt idx="1117" formatCode="0.00">
                  <c:v>0.34547131598329739</c:v>
                </c:pt>
                <c:pt idx="1118" formatCode="0.00">
                  <c:v>0.34527264802050189</c:v>
                </c:pt>
                <c:pt idx="1119" formatCode="0.00">
                  <c:v>0.34517440680799821</c:v>
                </c:pt>
                <c:pt idx="1120" formatCode="0.00">
                  <c:v>0.34524818666291596</c:v>
                </c:pt>
                <c:pt idx="1121" formatCode="0.00">
                  <c:v>0.34508294263724126</c:v>
                </c:pt>
                <c:pt idx="1122" formatCode="0.00">
                  <c:v>0.34516796024432095</c:v>
                </c:pt>
                <c:pt idx="1123" formatCode="0.00">
                  <c:v>0.34434526632795925</c:v>
                </c:pt>
                <c:pt idx="1124" formatCode="0.00">
                  <c:v>0.34449816261326704</c:v>
                </c:pt>
                <c:pt idx="1125" formatCode="0.00">
                  <c:v>0.34455058280113959</c:v>
                </c:pt>
                <c:pt idx="1126" formatCode="0.00">
                  <c:v>0.34146204398722274</c:v>
                </c:pt>
                <c:pt idx="1127" formatCode="0.00">
                  <c:v>0.34169769177107262</c:v>
                </c:pt>
                <c:pt idx="1128" formatCode="0.00">
                  <c:v>0.34215697590145455</c:v>
                </c:pt>
                <c:pt idx="1129" formatCode="0.00">
                  <c:v>0.34034939062424219</c:v>
                </c:pt>
                <c:pt idx="1130" formatCode="0.00">
                  <c:v>0.33855779909413553</c:v>
                </c:pt>
                <c:pt idx="1131" formatCode="0.00">
                  <c:v>0.33672155448828556</c:v>
                </c:pt>
                <c:pt idx="1132" formatCode="0.00">
                  <c:v>0.33714948744455331</c:v>
                </c:pt>
                <c:pt idx="1133" formatCode="0.00">
                  <c:v>0.33729523293859948</c:v>
                </c:pt>
                <c:pt idx="1134" formatCode="0.00">
                  <c:v>0.33743449545090964</c:v>
                </c:pt>
                <c:pt idx="1135" formatCode="0.00">
                  <c:v>0.33740670383319787</c:v>
                </c:pt>
                <c:pt idx="1136" formatCode="0.00">
                  <c:v>0.33668231968606815</c:v>
                </c:pt>
                <c:pt idx="1137" formatCode="0.00">
                  <c:v>0.33786610871420364</c:v>
                </c:pt>
                <c:pt idx="1138" formatCode="0.00">
                  <c:v>0.33767085008715891</c:v>
                </c:pt>
                <c:pt idx="1139" formatCode="0.00">
                  <c:v>0.33636386412906905</c:v>
                </c:pt>
                <c:pt idx="1140" formatCode="0.00">
                  <c:v>0.33818172244152439</c:v>
                </c:pt>
                <c:pt idx="1141" formatCode="0.00">
                  <c:v>0.34029805140176461</c:v>
                </c:pt>
                <c:pt idx="1142" formatCode="0.00">
                  <c:v>0.34024243986179237</c:v>
                </c:pt>
                <c:pt idx="1143" formatCode="0.00">
                  <c:v>0.34004980496746295</c:v>
                </c:pt>
                <c:pt idx="1144" formatCode="0.00">
                  <c:v>0.33916657611298123</c:v>
                </c:pt>
                <c:pt idx="1145" formatCode="0.00">
                  <c:v>0.33893345370603667</c:v>
                </c:pt>
                <c:pt idx="1146" formatCode="0.00">
                  <c:v>0.33826336752774944</c:v>
                </c:pt>
                <c:pt idx="1147" formatCode="0.00">
                  <c:v>0.33743955699258282</c:v>
                </c:pt>
                <c:pt idx="1148" formatCode="0.00">
                  <c:v>0.3356038623962882</c:v>
                </c:pt>
                <c:pt idx="1149" formatCode="0.00">
                  <c:v>0.33184173144146112</c:v>
                </c:pt>
                <c:pt idx="1150" formatCode="0.00">
                  <c:v>0.33267016766051416</c:v>
                </c:pt>
                <c:pt idx="1151" formatCode="0.00">
                  <c:v>0.33021125954316272</c:v>
                </c:pt>
                <c:pt idx="1152" formatCode="0.00">
                  <c:v>0.33009248421865384</c:v>
                </c:pt>
                <c:pt idx="1153" formatCode="0.00">
                  <c:v>0.33039483229637551</c:v>
                </c:pt>
                <c:pt idx="1154" formatCode="0.00">
                  <c:v>0.33068196688067442</c:v>
                </c:pt>
                <c:pt idx="1155" formatCode="0.00">
                  <c:v>0.33032315393105949</c:v>
                </c:pt>
                <c:pt idx="1156" formatCode="0.00">
                  <c:v>0.33171000429129688</c:v>
                </c:pt>
                <c:pt idx="1157" formatCode="0.00">
                  <c:v>0.33188175414511611</c:v>
                </c:pt>
                <c:pt idx="1158" formatCode="0.00">
                  <c:v>0.33186776839100229</c:v>
                </c:pt>
                <c:pt idx="1159" formatCode="0.00">
                  <c:v>0.33201162320355831</c:v>
                </c:pt>
                <c:pt idx="1160" formatCode="0.00">
                  <c:v>0.33200657456662602</c:v>
                </c:pt>
                <c:pt idx="1161" formatCode="0.00">
                  <c:v>0.33154239749222519</c:v>
                </c:pt>
                <c:pt idx="1162" formatCode="0.00">
                  <c:v>0.33225543382701994</c:v>
                </c:pt>
                <c:pt idx="1163" formatCode="0.00">
                  <c:v>0.329770245655853</c:v>
                </c:pt>
                <c:pt idx="1164" formatCode="0.00">
                  <c:v>0.32893078875347992</c:v>
                </c:pt>
                <c:pt idx="1165" formatCode="0.00">
                  <c:v>0.32881276889022576</c:v>
                </c:pt>
                <c:pt idx="1166" formatCode="0.00">
                  <c:v>0.32681869910726835</c:v>
                </c:pt>
                <c:pt idx="1167" formatCode="0.00">
                  <c:v>0.32675447762764165</c:v>
                </c:pt>
                <c:pt idx="1168" formatCode="0.00">
                  <c:v>0.3286276079587041</c:v>
                </c:pt>
                <c:pt idx="1169" formatCode="0.00">
                  <c:v>0.32421179795499788</c:v>
                </c:pt>
                <c:pt idx="1170" formatCode="0.00">
                  <c:v>0.32505795179749353</c:v>
                </c:pt>
                <c:pt idx="1171" formatCode="0.00">
                  <c:v>0.32457840464115284</c:v>
                </c:pt>
                <c:pt idx="1172" formatCode="0.00">
                  <c:v>0.32392763150749571</c:v>
                </c:pt>
                <c:pt idx="1173" formatCode="0.00">
                  <c:v>0.32387804422201849</c:v>
                </c:pt>
                <c:pt idx="1174" formatCode="0.00">
                  <c:v>0.32384266585234767</c:v>
                </c:pt>
                <c:pt idx="1175" formatCode="0.00">
                  <c:v>0.32362568693133958</c:v>
                </c:pt>
                <c:pt idx="1176" formatCode="0.00">
                  <c:v>0.32372555027160149</c:v>
                </c:pt>
                <c:pt idx="1177" formatCode="0.00">
                  <c:v>0.32474292485772976</c:v>
                </c:pt>
                <c:pt idx="1178" formatCode="0.00">
                  <c:v>0.32497172931367607</c:v>
                </c:pt>
                <c:pt idx="1179" formatCode="0.00">
                  <c:v>0.325005722227312</c:v>
                </c:pt>
                <c:pt idx="1180" formatCode="0.00">
                  <c:v>0.32553232606288734</c:v>
                </c:pt>
                <c:pt idx="1181" formatCode="0.00">
                  <c:v>0.32455478939261012</c:v>
                </c:pt>
                <c:pt idx="1182" formatCode="0.00">
                  <c:v>0.32584031277308434</c:v>
                </c:pt>
                <c:pt idx="1183" formatCode="0.00">
                  <c:v>0.32695997961499795</c:v>
                </c:pt>
                <c:pt idx="1184" formatCode="0.00">
                  <c:v>0.32697993601509312</c:v>
                </c:pt>
                <c:pt idx="1185" formatCode="0.00">
                  <c:v>0.32563228229591173</c:v>
                </c:pt>
                <c:pt idx="1186" formatCode="0.00">
                  <c:v>0.32688205181660657</c:v>
                </c:pt>
                <c:pt idx="1187" formatCode="0.00">
                  <c:v>0.32703220066945637</c:v>
                </c:pt>
                <c:pt idx="1188" formatCode="0.00">
                  <c:v>0.3262323348445797</c:v>
                </c:pt>
                <c:pt idx="1189" formatCode="0.00">
                  <c:v>0.32495989054294239</c:v>
                </c:pt>
                <c:pt idx="1190" formatCode="0.00">
                  <c:v>0.32505894827402815</c:v>
                </c:pt>
                <c:pt idx="1191" formatCode="0.00">
                  <c:v>0.32402979767924156</c:v>
                </c:pt>
                <c:pt idx="1192" formatCode="0.00">
                  <c:v>0.32072036859045255</c:v>
                </c:pt>
                <c:pt idx="1193" formatCode="0.00">
                  <c:v>0.32023283630766886</c:v>
                </c:pt>
                <c:pt idx="1194" formatCode="0.00">
                  <c:v>0.31914313717322557</c:v>
                </c:pt>
                <c:pt idx="1195" formatCode="0.00">
                  <c:v>0.31892017308661857</c:v>
                </c:pt>
                <c:pt idx="1196" formatCode="0.00">
                  <c:v>0.31713723533019561</c:v>
                </c:pt>
                <c:pt idx="1197" formatCode="0.00">
                  <c:v>0.31653296560934213</c:v>
                </c:pt>
                <c:pt idx="1198" formatCode="0.00">
                  <c:v>0.31727636884670074</c:v>
                </c:pt>
                <c:pt idx="1199" formatCode="0.00">
                  <c:v>0.31687295079222522</c:v>
                </c:pt>
                <c:pt idx="1200" formatCode="0.00">
                  <c:v>0.31689568730121076</c:v>
                </c:pt>
                <c:pt idx="1201" formatCode="0.00">
                  <c:v>0.31684733829752704</c:v>
                </c:pt>
                <c:pt idx="1202" formatCode="0.00">
                  <c:v>0.31305890904537714</c:v>
                </c:pt>
                <c:pt idx="1203" formatCode="0.00">
                  <c:v>0.31364526090373007</c:v>
                </c:pt>
                <c:pt idx="1204" formatCode="0.00">
                  <c:v>0.31288646578697216</c:v>
                </c:pt>
                <c:pt idx="1205" formatCode="0.00">
                  <c:v>0.31331916756798139</c:v>
                </c:pt>
                <c:pt idx="1206" formatCode="0.00">
                  <c:v>0.31285269115859338</c:v>
                </c:pt>
                <c:pt idx="1207" formatCode="0.00">
                  <c:v>0.31402726652842317</c:v>
                </c:pt>
                <c:pt idx="1208" formatCode="0.00">
                  <c:v>0.31393881390500705</c:v>
                </c:pt>
                <c:pt idx="1209" formatCode="0.00">
                  <c:v>0.31378113084430065</c:v>
                </c:pt>
                <c:pt idx="1210" formatCode="0.00">
                  <c:v>0.3098964724872097</c:v>
                </c:pt>
                <c:pt idx="1211" formatCode="0.00">
                  <c:v>0.31027365053027139</c:v>
                </c:pt>
                <c:pt idx="1212" formatCode="0.00">
                  <c:v>0.30984314996477763</c:v>
                </c:pt>
                <c:pt idx="1213" formatCode="0.00">
                  <c:v>0.30948611570150825</c:v>
                </c:pt>
                <c:pt idx="1214" formatCode="0.00">
                  <c:v>0.31035689348634538</c:v>
                </c:pt>
                <c:pt idx="1215" formatCode="0.00">
                  <c:v>0.31396059077345401</c:v>
                </c:pt>
                <c:pt idx="1216" formatCode="0.00">
                  <c:v>0.31408502912303521</c:v>
                </c:pt>
                <c:pt idx="1217" formatCode="0.00">
                  <c:v>0.31602461714551927</c:v>
                </c:pt>
                <c:pt idx="1218" formatCode="0.00">
                  <c:v>0.31628104677582869</c:v>
                </c:pt>
                <c:pt idx="1219" formatCode="0.00">
                  <c:v>0.31887352377439232</c:v>
                </c:pt>
                <c:pt idx="1220" formatCode="0.00">
                  <c:v>0.31635028772398099</c:v>
                </c:pt>
                <c:pt idx="1221" formatCode="0.00">
                  <c:v>0.31618766894787409</c:v>
                </c:pt>
                <c:pt idx="1222" formatCode="0.00">
                  <c:v>0.31537522499526821</c:v>
                </c:pt>
                <c:pt idx="1223" formatCode="0.00">
                  <c:v>0.31534487718901161</c:v>
                </c:pt>
                <c:pt idx="1224" formatCode="0.00">
                  <c:v>0.31376668963838422</c:v>
                </c:pt>
                <c:pt idx="1225" formatCode="0.00">
                  <c:v>0.30904883302359354</c:v>
                </c:pt>
                <c:pt idx="1226" formatCode="0.00">
                  <c:v>0.30888334896999731</c:v>
                </c:pt>
                <c:pt idx="1227" formatCode="0.00">
                  <c:v>0.30983441390443561</c:v>
                </c:pt>
                <c:pt idx="1228" formatCode="0.00">
                  <c:v>0.31080785768687713</c:v>
                </c:pt>
                <c:pt idx="1229" formatCode="0.00">
                  <c:v>0.3108240305699797</c:v>
                </c:pt>
                <c:pt idx="1230" formatCode="0.00">
                  <c:v>0.31038545970924014</c:v>
                </c:pt>
                <c:pt idx="1231" formatCode="0.00">
                  <c:v>0.31091031140607861</c:v>
                </c:pt>
                <c:pt idx="1232" formatCode="0.00">
                  <c:v>0.31198846640556249</c:v>
                </c:pt>
                <c:pt idx="1233" formatCode="0.00">
                  <c:v>0.31186309202375284</c:v>
                </c:pt>
                <c:pt idx="1234" formatCode="0.00">
                  <c:v>0.31174183856716897</c:v>
                </c:pt>
                <c:pt idx="1235" formatCode="0.00">
                  <c:v>0.30899819642376142</c:v>
                </c:pt>
                <c:pt idx="1236" formatCode="0.00">
                  <c:v>0.30897681832668988</c:v>
                </c:pt>
                <c:pt idx="1237" formatCode="0.00">
                  <c:v>0.31280093393523795</c:v>
                </c:pt>
                <c:pt idx="1238" formatCode="0.00">
                  <c:v>0.31287194618682784</c:v>
                </c:pt>
                <c:pt idx="1239" formatCode="0.00">
                  <c:v>0.31270977945780076</c:v>
                </c:pt>
                <c:pt idx="1240" formatCode="0.00">
                  <c:v>0.31261263009735457</c:v>
                </c:pt>
                <c:pt idx="1241" formatCode="0.00">
                  <c:v>0.31335304157613086</c:v>
                </c:pt>
                <c:pt idx="1242" formatCode="0.00">
                  <c:v>0.31338110562500737</c:v>
                </c:pt>
                <c:pt idx="1243" formatCode="0.00">
                  <c:v>0.31340687078022339</c:v>
                </c:pt>
                <c:pt idx="1244" formatCode="0.00">
                  <c:v>0.31122243175816972</c:v>
                </c:pt>
                <c:pt idx="1245" formatCode="0.00">
                  <c:v>0.31042680803794076</c:v>
                </c:pt>
                <c:pt idx="1246" formatCode="0.00">
                  <c:v>0.31046362604365846</c:v>
                </c:pt>
                <c:pt idx="1247" formatCode="0.00">
                  <c:v>0.30877739284135625</c:v>
                </c:pt>
                <c:pt idx="1248" formatCode="0.00">
                  <c:v>0.30421583308086381</c:v>
                </c:pt>
                <c:pt idx="1249" formatCode="0.00">
                  <c:v>0.29923657735369702</c:v>
                </c:pt>
                <c:pt idx="1250" formatCode="0.00">
                  <c:v>0.29921283632579965</c:v>
                </c:pt>
                <c:pt idx="1251" formatCode="0.00">
                  <c:v>0.30297163942409688</c:v>
                </c:pt>
                <c:pt idx="1252" formatCode="0.00">
                  <c:v>0.30287147787500202</c:v>
                </c:pt>
                <c:pt idx="1253" formatCode="0.00">
                  <c:v>0.30293228805490724</c:v>
                </c:pt>
                <c:pt idx="1254" formatCode="0.00">
                  <c:v>0.30276915565971058</c:v>
                </c:pt>
                <c:pt idx="1255" formatCode="0.00">
                  <c:v>0.30333512792543088</c:v>
                </c:pt>
                <c:pt idx="1256" formatCode="0.00">
                  <c:v>0.297989364793941</c:v>
                </c:pt>
                <c:pt idx="1257" formatCode="0.00">
                  <c:v>0.29869376404144404</c:v>
                </c:pt>
                <c:pt idx="1258" formatCode="0.00">
                  <c:v>0.29749132073642087</c:v>
                </c:pt>
                <c:pt idx="1259" formatCode="0.00">
                  <c:v>0.29574150308933211</c:v>
                </c:pt>
                <c:pt idx="1260" formatCode="0.00">
                  <c:v>0.29509395741116634</c:v>
                </c:pt>
                <c:pt idx="1261" formatCode="0.00">
                  <c:v>0.29474440116192602</c:v>
                </c:pt>
                <c:pt idx="1262" formatCode="0.00">
                  <c:v>0.29393829065376176</c:v>
                </c:pt>
                <c:pt idx="1263" formatCode="0.00">
                  <c:v>0.29318756988117378</c:v>
                </c:pt>
                <c:pt idx="1264" formatCode="0.00">
                  <c:v>0.29423925697891556</c:v>
                </c:pt>
                <c:pt idx="1265" formatCode="0.00">
                  <c:v>0.29216932616193958</c:v>
                </c:pt>
                <c:pt idx="1266" formatCode="0.00">
                  <c:v>0.29606409839317988</c:v>
                </c:pt>
                <c:pt idx="1267" formatCode="0.00">
                  <c:v>0.29588183363467813</c:v>
                </c:pt>
                <c:pt idx="1268" formatCode="0.00">
                  <c:v>0.29782003143432706</c:v>
                </c:pt>
                <c:pt idx="1269" formatCode="0.00">
                  <c:v>0.29899888124367163</c:v>
                </c:pt>
                <c:pt idx="1270" formatCode="0.00">
                  <c:v>0.30027927598676213</c:v>
                </c:pt>
                <c:pt idx="1271" formatCode="0.00">
                  <c:v>0.30025659058616172</c:v>
                </c:pt>
                <c:pt idx="1272" formatCode="0.00">
                  <c:v>0.30074572601622718</c:v>
                </c:pt>
                <c:pt idx="1273" formatCode="0.00">
                  <c:v>0.30091572002857531</c:v>
                </c:pt>
                <c:pt idx="1274" formatCode="0.00">
                  <c:v>0.29829267632691209</c:v>
                </c:pt>
                <c:pt idx="1275" formatCode="0.00">
                  <c:v>0.29872862694147218</c:v>
                </c:pt>
                <c:pt idx="1276" formatCode="0.00">
                  <c:v>0.29921124244933178</c:v>
                </c:pt>
                <c:pt idx="1277" formatCode="0.00">
                  <c:v>0.29882209238951091</c:v>
                </c:pt>
                <c:pt idx="1278" formatCode="0.00">
                  <c:v>0.29877371987897688</c:v>
                </c:pt>
                <c:pt idx="1279" formatCode="0.00">
                  <c:v>0.29908937429008259</c:v>
                </c:pt>
                <c:pt idx="1280" formatCode="0.00">
                  <c:v>0.29901130800556769</c:v>
                </c:pt>
                <c:pt idx="1281" formatCode="0.00">
                  <c:v>0.30069459161865913</c:v>
                </c:pt>
                <c:pt idx="1282" formatCode="0.00">
                  <c:v>0.30007666374129016</c:v>
                </c:pt>
                <c:pt idx="1283" formatCode="0.00">
                  <c:v>0.29952324399652425</c:v>
                </c:pt>
                <c:pt idx="1284" formatCode="0.00">
                  <c:v>0.29944293240425646</c:v>
                </c:pt>
                <c:pt idx="1285" formatCode="0.00">
                  <c:v>0.29560675002853709</c:v>
                </c:pt>
                <c:pt idx="1286" formatCode="0.00">
                  <c:v>0.29363609214530617</c:v>
                </c:pt>
                <c:pt idx="1287" formatCode="0.00">
                  <c:v>0.28826501318281089</c:v>
                </c:pt>
                <c:pt idx="1288" formatCode="0.00">
                  <c:v>0.28865690714022935</c:v>
                </c:pt>
                <c:pt idx="1289" formatCode="0.00">
                  <c:v>0.29011088735099178</c:v>
                </c:pt>
                <c:pt idx="1290" formatCode="0.00">
                  <c:v>0.29015157265766667</c:v>
                </c:pt>
                <c:pt idx="1291" formatCode="0.00">
                  <c:v>0.28992753876392119</c:v>
                </c:pt>
                <c:pt idx="1292" formatCode="0.00">
                  <c:v>0.28979149270884785</c:v>
                </c:pt>
                <c:pt idx="1293" formatCode="0.00">
                  <c:v>0.28946776904417798</c:v>
                </c:pt>
                <c:pt idx="1294" formatCode="0.00">
                  <c:v>0.28919105792730671</c:v>
                </c:pt>
                <c:pt idx="1295" formatCode="0.00">
                  <c:v>0.28946528675033978</c:v>
                </c:pt>
                <c:pt idx="1296" formatCode="0.00">
                  <c:v>0.28883046222147962</c:v>
                </c:pt>
                <c:pt idx="1297" formatCode="0.00">
                  <c:v>0.29587093454554897</c:v>
                </c:pt>
                <c:pt idx="1298" formatCode="0.00">
                  <c:v>0.29371417538683164</c:v>
                </c:pt>
                <c:pt idx="1299" formatCode="0.00">
                  <c:v>0.29386551034597735</c:v>
                </c:pt>
                <c:pt idx="1300" formatCode="0.00">
                  <c:v>0.29418792060746657</c:v>
                </c:pt>
                <c:pt idx="1301" formatCode="0.00">
                  <c:v>0.29393311907928382</c:v>
                </c:pt>
                <c:pt idx="1302" formatCode="0.00">
                  <c:v>0.2940550125690522</c:v>
                </c:pt>
                <c:pt idx="1303" formatCode="0.00">
                  <c:v>0.29387446526964195</c:v>
                </c:pt>
                <c:pt idx="1304" formatCode="0.00">
                  <c:v>0.29368790044083287</c:v>
                </c:pt>
                <c:pt idx="1305" formatCode="0.00">
                  <c:v>0.29357409177998328</c:v>
                </c:pt>
                <c:pt idx="1306" formatCode="0.00">
                  <c:v>0.29351014228695144</c:v>
                </c:pt>
                <c:pt idx="1307" formatCode="0.00">
                  <c:v>0.29341033714097881</c:v>
                </c:pt>
                <c:pt idx="1308" formatCode="0.00">
                  <c:v>0.2935429121172819</c:v>
                </c:pt>
                <c:pt idx="1309" formatCode="0.00">
                  <c:v>0.29317300105648531</c:v>
                </c:pt>
                <c:pt idx="1310" formatCode="0.00">
                  <c:v>0.29438985878993207</c:v>
                </c:pt>
                <c:pt idx="1311" formatCode="0.00">
                  <c:v>0.29294217715497883</c:v>
                </c:pt>
                <c:pt idx="1312" formatCode="0.00">
                  <c:v>0.29251765457175694</c:v>
                </c:pt>
                <c:pt idx="1313" formatCode="0.00">
                  <c:v>0.29223077831555472</c:v>
                </c:pt>
                <c:pt idx="1314" formatCode="0.00">
                  <c:v>0.29304617957856122</c:v>
                </c:pt>
                <c:pt idx="1315" formatCode="0.00">
                  <c:v>0.2925087745633298</c:v>
                </c:pt>
                <c:pt idx="1316" formatCode="0.00">
                  <c:v>0.29309924235594775</c:v>
                </c:pt>
                <c:pt idx="1317" formatCode="0.00">
                  <c:v>0.29323143002152074</c:v>
                </c:pt>
                <c:pt idx="1318" formatCode="0.00">
                  <c:v>0.29012827802593111</c:v>
                </c:pt>
                <c:pt idx="1319" formatCode="0.00">
                  <c:v>0.28923176403881573</c:v>
                </c:pt>
                <c:pt idx="1320" formatCode="0.00">
                  <c:v>0.29098489513808873</c:v>
                </c:pt>
                <c:pt idx="1321" formatCode="0.00">
                  <c:v>0.29147625735869725</c:v>
                </c:pt>
                <c:pt idx="1322" formatCode="0.00">
                  <c:v>0.29217945843808141</c:v>
                </c:pt>
                <c:pt idx="1323" formatCode="0.00">
                  <c:v>0.29255024785578254</c:v>
                </c:pt>
                <c:pt idx="1324" formatCode="0.00">
                  <c:v>0.2925560726271963</c:v>
                </c:pt>
                <c:pt idx="1325" formatCode="0.00">
                  <c:v>0.28885744061189594</c:v>
                </c:pt>
                <c:pt idx="1326" formatCode="0.00">
                  <c:v>0.28768877235859835</c:v>
                </c:pt>
                <c:pt idx="1327" formatCode="0.00">
                  <c:v>0.28770159621067759</c:v>
                </c:pt>
                <c:pt idx="1328" formatCode="0.00">
                  <c:v>0.28771722993082177</c:v>
                </c:pt>
                <c:pt idx="1329" formatCode="0.00">
                  <c:v>0.28761514766753893</c:v>
                </c:pt>
                <c:pt idx="1330" formatCode="0.00">
                  <c:v>0.28761826050054645</c:v>
                </c:pt>
                <c:pt idx="1331" formatCode="0.00">
                  <c:v>0.28777864774721995</c:v>
                </c:pt>
                <c:pt idx="1332" formatCode="0.00">
                  <c:v>0.28900688055034252</c:v>
                </c:pt>
                <c:pt idx="1333" formatCode="0.00">
                  <c:v>0.28963574864007774</c:v>
                </c:pt>
                <c:pt idx="1334" formatCode="0.00">
                  <c:v>0.28957075886231898</c:v>
                </c:pt>
                <c:pt idx="1335" formatCode="0.00">
                  <c:v>0.28908655875068567</c:v>
                </c:pt>
                <c:pt idx="1336" formatCode="0.00">
                  <c:v>0.28829430278604545</c:v>
                </c:pt>
                <c:pt idx="1337" formatCode="0.00">
                  <c:v>0.28782835727296374</c:v>
                </c:pt>
                <c:pt idx="1338" formatCode="0.00">
                  <c:v>0.28745524922775006</c:v>
                </c:pt>
                <c:pt idx="1339" formatCode="0.00">
                  <c:v>0.28727440712552205</c:v>
                </c:pt>
                <c:pt idx="1340" formatCode="0.00">
                  <c:v>0.28850189456073932</c:v>
                </c:pt>
                <c:pt idx="1341" formatCode="0.00">
                  <c:v>0.28858795948473343</c:v>
                </c:pt>
                <c:pt idx="1342" formatCode="0.00">
                  <c:v>0.28916605458580097</c:v>
                </c:pt>
                <c:pt idx="1343" formatCode="0.00">
                  <c:v>0.28925949274517898</c:v>
                </c:pt>
                <c:pt idx="1344" formatCode="0.00">
                  <c:v>0.28986671353126087</c:v>
                </c:pt>
                <c:pt idx="1345" formatCode="0.00">
                  <c:v>0.28854358241015987</c:v>
                </c:pt>
                <c:pt idx="1346" formatCode="0.00">
                  <c:v>0.28854128308552041</c:v>
                </c:pt>
                <c:pt idx="1347" formatCode="0.00">
                  <c:v>0.28857948769377484</c:v>
                </c:pt>
                <c:pt idx="1348" formatCode="0.00">
                  <c:v>0.28908693802987967</c:v>
                </c:pt>
                <c:pt idx="1349" formatCode="0.00">
                  <c:v>0.28910421703934852</c:v>
                </c:pt>
                <c:pt idx="1350" formatCode="0.00">
                  <c:v>0.28947528526174604</c:v>
                </c:pt>
                <c:pt idx="1351" formatCode="0.00">
                  <c:v>0.28955719145883341</c:v>
                </c:pt>
                <c:pt idx="1352" formatCode="0.00">
                  <c:v>0.2890481453105716</c:v>
                </c:pt>
                <c:pt idx="1353" formatCode="0.00">
                  <c:v>0.28868979312487286</c:v>
                </c:pt>
                <c:pt idx="1354" formatCode="0.00">
                  <c:v>0.28594311082700868</c:v>
                </c:pt>
                <c:pt idx="1355" formatCode="0.00">
                  <c:v>0.28481020605633445</c:v>
                </c:pt>
                <c:pt idx="1356" formatCode="0.00">
                  <c:v>0.28440941040176759</c:v>
                </c:pt>
                <c:pt idx="1357" formatCode="0.00">
                  <c:v>0.28547265231530655</c:v>
                </c:pt>
                <c:pt idx="1358" formatCode="0.00">
                  <c:v>0.28506954353392927</c:v>
                </c:pt>
                <c:pt idx="1359" formatCode="0.00">
                  <c:v>0.28503515400698048</c:v>
                </c:pt>
                <c:pt idx="1360" formatCode="0.00">
                  <c:v>0.28529142427059873</c:v>
                </c:pt>
                <c:pt idx="1361" formatCode="0.00">
                  <c:v>0.28576934904105461</c:v>
                </c:pt>
                <c:pt idx="1362" formatCode="0.00">
                  <c:v>0.28475936143467179</c:v>
                </c:pt>
                <c:pt idx="1363" formatCode="0.00">
                  <c:v>0.28471238703279722</c:v>
                </c:pt>
                <c:pt idx="1364" formatCode="0.00">
                  <c:v>0.28551735929148025</c:v>
                </c:pt>
                <c:pt idx="1365" formatCode="0.00">
                  <c:v>0.28586605943426446</c:v>
                </c:pt>
                <c:pt idx="1366" formatCode="0.00">
                  <c:v>0.28511360768011484</c:v>
                </c:pt>
                <c:pt idx="1367" formatCode="0.00">
                  <c:v>0.28615290623291662</c:v>
                </c:pt>
                <c:pt idx="1368" formatCode="0.00">
                  <c:v>0.28626180014553632</c:v>
                </c:pt>
                <c:pt idx="1369" formatCode="0.00">
                  <c:v>0.28675054449537907</c:v>
                </c:pt>
                <c:pt idx="1370" formatCode="0.00">
                  <c:v>0.28729154950077607</c:v>
                </c:pt>
                <c:pt idx="1371" formatCode="0.00">
                  <c:v>0.28694629716685804</c:v>
                </c:pt>
                <c:pt idx="1372" formatCode="0.00">
                  <c:v>0.28700019217035416</c:v>
                </c:pt>
                <c:pt idx="1373" formatCode="0.00">
                  <c:v>0.28697066770912161</c:v>
                </c:pt>
                <c:pt idx="1374" formatCode="0.00">
                  <c:v>0.28709907956495467</c:v>
                </c:pt>
                <c:pt idx="1375" formatCode="0.00">
                  <c:v>0.28713843205064488</c:v>
                </c:pt>
                <c:pt idx="1376" formatCode="0.00">
                  <c:v>0.28636560298629199</c:v>
                </c:pt>
                <c:pt idx="1377" formatCode="0.00">
                  <c:v>0.28618950540870153</c:v>
                </c:pt>
                <c:pt idx="1378" formatCode="0.00">
                  <c:v>0.28612840788459204</c:v>
                </c:pt>
                <c:pt idx="1379" formatCode="0.00">
                  <c:v>0.28596340327927261</c:v>
                </c:pt>
                <c:pt idx="1380" formatCode="0.00">
                  <c:v>0.28632656119788041</c:v>
                </c:pt>
                <c:pt idx="1381" formatCode="0.00">
                  <c:v>0.2858139832541528</c:v>
                </c:pt>
                <c:pt idx="1382" formatCode="0.00">
                  <c:v>0.28524905540193363</c:v>
                </c:pt>
                <c:pt idx="1383" formatCode="0.00">
                  <c:v>0.2851734619743847</c:v>
                </c:pt>
                <c:pt idx="1384" formatCode="0.00">
                  <c:v>0.28450182928613071</c:v>
                </c:pt>
                <c:pt idx="1385" formatCode="0.00">
                  <c:v>0.28427407119888881</c:v>
                </c:pt>
                <c:pt idx="1386" formatCode="0.00">
                  <c:v>0.28408299631832457</c:v>
                </c:pt>
                <c:pt idx="1387" formatCode="0.00">
                  <c:v>0.28625734041762407</c:v>
                </c:pt>
                <c:pt idx="1388" formatCode="0.00">
                  <c:v>0.28697270240289191</c:v>
                </c:pt>
                <c:pt idx="1389" formatCode="0.00">
                  <c:v>0.28697277085084377</c:v>
                </c:pt>
                <c:pt idx="1390" formatCode="0.00">
                  <c:v>0.28553237986788887</c:v>
                </c:pt>
                <c:pt idx="1391" formatCode="0.00">
                  <c:v>0.28522396088819257</c:v>
                </c:pt>
                <c:pt idx="1392" formatCode="0.00">
                  <c:v>0.28527304938527248</c:v>
                </c:pt>
                <c:pt idx="1393" formatCode="0.00">
                  <c:v>0.28255175295588519</c:v>
                </c:pt>
                <c:pt idx="1394" formatCode="0.00">
                  <c:v>0.27935961226881217</c:v>
                </c:pt>
                <c:pt idx="1395" formatCode="0.00">
                  <c:v>0.2793880085865571</c:v>
                </c:pt>
                <c:pt idx="1396" formatCode="0.00">
                  <c:v>0.27956041679345672</c:v>
                </c:pt>
                <c:pt idx="1397" formatCode="0.00">
                  <c:v>0.27968316427594603</c:v>
                </c:pt>
                <c:pt idx="1398" formatCode="0.00">
                  <c:v>0.27989234668160634</c:v>
                </c:pt>
                <c:pt idx="1399" formatCode="0.00">
                  <c:v>0.28014719839820817</c:v>
                </c:pt>
                <c:pt idx="1400" formatCode="0.00">
                  <c:v>0.27986944805047975</c:v>
                </c:pt>
                <c:pt idx="1401" formatCode="0.00">
                  <c:v>0.27984865113096624</c:v>
                </c:pt>
                <c:pt idx="1402" formatCode="0.00">
                  <c:v>0.28004293558619614</c:v>
                </c:pt>
                <c:pt idx="1403" formatCode="0.00">
                  <c:v>0.27825851678903013</c:v>
                </c:pt>
                <c:pt idx="1404" formatCode="0.00">
                  <c:v>0.28025314018325925</c:v>
                </c:pt>
                <c:pt idx="1405" formatCode="0.00">
                  <c:v>0.28017921289484954</c:v>
                </c:pt>
                <c:pt idx="1406" formatCode="0.00">
                  <c:v>0.27965628846043211</c:v>
                </c:pt>
                <c:pt idx="1407" formatCode="0.00">
                  <c:v>0.27822548711533079</c:v>
                </c:pt>
                <c:pt idx="1408" formatCode="0.00">
                  <c:v>0.27900186965734736</c:v>
                </c:pt>
                <c:pt idx="1409" formatCode="0.00">
                  <c:v>0.27775153677891007</c:v>
                </c:pt>
                <c:pt idx="1410" formatCode="0.00">
                  <c:v>0.27758797150102971</c:v>
                </c:pt>
                <c:pt idx="1411" formatCode="0.00">
                  <c:v>0.27824337936270904</c:v>
                </c:pt>
                <c:pt idx="1412" formatCode="0.00">
                  <c:v>0.27823804254771595</c:v>
                </c:pt>
                <c:pt idx="1413" formatCode="0.00">
                  <c:v>0.27907678979652234</c:v>
                </c:pt>
                <c:pt idx="1414" formatCode="0.00">
                  <c:v>0.27925023398011101</c:v>
                </c:pt>
                <c:pt idx="1415" formatCode="0.00">
                  <c:v>0.27832976969208206</c:v>
                </c:pt>
                <c:pt idx="1416" formatCode="0.00">
                  <c:v>0.27811282958227895</c:v>
                </c:pt>
                <c:pt idx="1417" formatCode="0.00">
                  <c:v>0.27898353018702343</c:v>
                </c:pt>
                <c:pt idx="1418" formatCode="0.00">
                  <c:v>0.27897946690013398</c:v>
                </c:pt>
                <c:pt idx="1419" formatCode="0.00">
                  <c:v>0.27792610243022375</c:v>
                </c:pt>
                <c:pt idx="1420" formatCode="0.00">
                  <c:v>0.27814062702924158</c:v>
                </c:pt>
                <c:pt idx="1421" formatCode="0.00">
                  <c:v>0.27603712130301111</c:v>
                </c:pt>
                <c:pt idx="1422" formatCode="0.00">
                  <c:v>0.27530519751931742</c:v>
                </c:pt>
                <c:pt idx="1423" formatCode="0.00">
                  <c:v>0.27317291892572088</c:v>
                </c:pt>
                <c:pt idx="1424" formatCode="0.00">
                  <c:v>0.27295279073362605</c:v>
                </c:pt>
                <c:pt idx="1425" formatCode="0.00">
                  <c:v>0.27298467218943939</c:v>
                </c:pt>
                <c:pt idx="1426" formatCode="0.00">
                  <c:v>0.27377411445632172</c:v>
                </c:pt>
                <c:pt idx="1427" formatCode="0.00">
                  <c:v>0.27494493847044327</c:v>
                </c:pt>
                <c:pt idx="1428" formatCode="0.00">
                  <c:v>0.27631055513228736</c:v>
                </c:pt>
                <c:pt idx="1429" formatCode="0.00">
                  <c:v>0.2756940783876129</c:v>
                </c:pt>
                <c:pt idx="1430" formatCode="0.00">
                  <c:v>0.27487479058661624</c:v>
                </c:pt>
                <c:pt idx="1431" formatCode="0.00">
                  <c:v>0.27519467655723223</c:v>
                </c:pt>
                <c:pt idx="1432" formatCode="0.00">
                  <c:v>0.27528636278122393</c:v>
                </c:pt>
                <c:pt idx="1433" formatCode="0.00">
                  <c:v>0.27475063944846767</c:v>
                </c:pt>
                <c:pt idx="1434" formatCode="0.00">
                  <c:v>0.27464787723864736</c:v>
                </c:pt>
                <c:pt idx="1435" formatCode="0.00">
                  <c:v>0.27436440717821314</c:v>
                </c:pt>
                <c:pt idx="1436" formatCode="0.00">
                  <c:v>0.27321109118493264</c:v>
                </c:pt>
                <c:pt idx="1437" formatCode="0.00">
                  <c:v>0.27321274855920635</c:v>
                </c:pt>
                <c:pt idx="1438" formatCode="0.00">
                  <c:v>0.27327271400690001</c:v>
                </c:pt>
                <c:pt idx="1439" formatCode="0.00">
                  <c:v>0.27309793905264335</c:v>
                </c:pt>
                <c:pt idx="1440" formatCode="0.00">
                  <c:v>0.2731851897277372</c:v>
                </c:pt>
                <c:pt idx="1441" formatCode="0.00">
                  <c:v>0.27315588999544027</c:v>
                </c:pt>
                <c:pt idx="1442" formatCode="0.00">
                  <c:v>0.27321896917451821</c:v>
                </c:pt>
                <c:pt idx="1443" formatCode="0.00">
                  <c:v>0.27267288495411723</c:v>
                </c:pt>
                <c:pt idx="1444" formatCode="0.00">
                  <c:v>0.2724547862323366</c:v>
                </c:pt>
                <c:pt idx="1445" formatCode="0.00">
                  <c:v>0.27153176803897844</c:v>
                </c:pt>
                <c:pt idx="1446" formatCode="0.00">
                  <c:v>0.27148519096458196</c:v>
                </c:pt>
                <c:pt idx="1447" formatCode="0.00">
                  <c:v>0.27144783845422449</c:v>
                </c:pt>
                <c:pt idx="1448" formatCode="0.00">
                  <c:v>0.27148076215398076</c:v>
                </c:pt>
                <c:pt idx="1449" formatCode="0.00">
                  <c:v>0.27148790979435505</c:v>
                </c:pt>
                <c:pt idx="1450" formatCode="0.00">
                  <c:v>0.2718698605220532</c:v>
                </c:pt>
                <c:pt idx="1451" formatCode="0.00">
                  <c:v>0.27051999042070979</c:v>
                </c:pt>
                <c:pt idx="1452" formatCode="0.00">
                  <c:v>0.27047860322787948</c:v>
                </c:pt>
                <c:pt idx="1453" formatCode="0.00">
                  <c:v>0.27052101765501346</c:v>
                </c:pt>
                <c:pt idx="1454" formatCode="0.00">
                  <c:v>0.27163736828090346</c:v>
                </c:pt>
                <c:pt idx="1455" formatCode="0.00">
                  <c:v>0.27238597035379858</c:v>
                </c:pt>
                <c:pt idx="1456" formatCode="0.00">
                  <c:v>0.27108648491879545</c:v>
                </c:pt>
                <c:pt idx="1457" formatCode="0.00">
                  <c:v>0.27111014996328203</c:v>
                </c:pt>
                <c:pt idx="1458" formatCode="0.00">
                  <c:v>0.27065128024625529</c:v>
                </c:pt>
                <c:pt idx="1459" formatCode="0.00">
                  <c:v>0.27059394166848522</c:v>
                </c:pt>
                <c:pt idx="1460" formatCode="0.00">
                  <c:v>0.27010131177425911</c:v>
                </c:pt>
                <c:pt idx="1461" formatCode="0.00">
                  <c:v>0.27058285777349006</c:v>
                </c:pt>
                <c:pt idx="1462" formatCode="0.00">
                  <c:v>0.27259106755789847</c:v>
                </c:pt>
                <c:pt idx="1463" formatCode="0.00">
                  <c:v>0.27499896651312711</c:v>
                </c:pt>
                <c:pt idx="1464" formatCode="0.00">
                  <c:v>0.27392005665760777</c:v>
                </c:pt>
                <c:pt idx="1465" formatCode="0.00">
                  <c:v>0.2722942314742236</c:v>
                </c:pt>
                <c:pt idx="1466" formatCode="0.00">
                  <c:v>0.27229512464096756</c:v>
                </c:pt>
                <c:pt idx="1467" formatCode="0.00">
                  <c:v>0.27117890732320593</c:v>
                </c:pt>
                <c:pt idx="1468" formatCode="0.00">
                  <c:v>0.26943828675325771</c:v>
                </c:pt>
                <c:pt idx="1469" formatCode="0.00">
                  <c:v>0.27001379242754336</c:v>
                </c:pt>
                <c:pt idx="1470" formatCode="0.00">
                  <c:v>0.27124919742349096</c:v>
                </c:pt>
                <c:pt idx="1471" formatCode="0.00">
                  <c:v>0.27134945616567657</c:v>
                </c:pt>
                <c:pt idx="1472" formatCode="0.00">
                  <c:v>0.26933108422039781</c:v>
                </c:pt>
                <c:pt idx="1473" formatCode="0.00">
                  <c:v>0.26976216720738455</c:v>
                </c:pt>
                <c:pt idx="1474" formatCode="0.00">
                  <c:v>0.26944068382721759</c:v>
                </c:pt>
                <c:pt idx="1475" formatCode="0.00">
                  <c:v>0.27025242842644359</c:v>
                </c:pt>
                <c:pt idx="1476" formatCode="0.00">
                  <c:v>0.27021132548213733</c:v>
                </c:pt>
                <c:pt idx="1477" formatCode="0.00">
                  <c:v>0.27031169357963708</c:v>
                </c:pt>
                <c:pt idx="1478" formatCode="0.00">
                  <c:v>0.26989730279729346</c:v>
                </c:pt>
                <c:pt idx="1479" formatCode="0.00">
                  <c:v>0.26967142764820395</c:v>
                </c:pt>
                <c:pt idx="1480" formatCode="0.00">
                  <c:v>0.26853403422459693</c:v>
                </c:pt>
                <c:pt idx="1481" formatCode="0.00">
                  <c:v>0.26706218871472526</c:v>
                </c:pt>
                <c:pt idx="1482" formatCode="0.00">
                  <c:v>0.26697635486508148</c:v>
                </c:pt>
                <c:pt idx="1483" formatCode="0.00">
                  <c:v>0.26796535411157152</c:v>
                </c:pt>
                <c:pt idx="1484" formatCode="0.00">
                  <c:v>0.26698175887055242</c:v>
                </c:pt>
                <c:pt idx="1485" formatCode="0.00">
                  <c:v>0.26370894230868197</c:v>
                </c:pt>
                <c:pt idx="1486" formatCode="0.00">
                  <c:v>0.26422540449193277</c:v>
                </c:pt>
                <c:pt idx="1487" formatCode="0.00">
                  <c:v>0.26648116545595607</c:v>
                </c:pt>
                <c:pt idx="1488" formatCode="0.00">
                  <c:v>0.26637069815137487</c:v>
                </c:pt>
                <c:pt idx="1489" formatCode="0.00">
                  <c:v>0.26648890451211554</c:v>
                </c:pt>
                <c:pt idx="1490" formatCode="0.00">
                  <c:v>0.26316922911921969</c:v>
                </c:pt>
                <c:pt idx="1491" formatCode="0.00">
                  <c:v>0.2634808491178961</c:v>
                </c:pt>
                <c:pt idx="1492" formatCode="0.00">
                  <c:v>0.26349074690443586</c:v>
                </c:pt>
                <c:pt idx="1493" formatCode="0.00">
                  <c:v>0.26364199504771052</c:v>
                </c:pt>
                <c:pt idx="1494" formatCode="0.00">
                  <c:v>0.26317702118638264</c:v>
                </c:pt>
                <c:pt idx="1495" formatCode="0.00">
                  <c:v>0.26329674703720285</c:v>
                </c:pt>
                <c:pt idx="1496" formatCode="0.00">
                  <c:v>0.26387556685104541</c:v>
                </c:pt>
                <c:pt idx="1497" formatCode="0.00">
                  <c:v>0.26441325388453446</c:v>
                </c:pt>
                <c:pt idx="1498" formatCode="0.00">
                  <c:v>0.26437792358427192</c:v>
                </c:pt>
                <c:pt idx="1499" formatCode="0.00">
                  <c:v>0.26588723273996223</c:v>
                </c:pt>
                <c:pt idx="1500" formatCode="0.00">
                  <c:v>0.26578631998947666</c:v>
                </c:pt>
                <c:pt idx="1501" formatCode="0.00">
                  <c:v>0.26578820058239239</c:v>
                </c:pt>
                <c:pt idx="1502" formatCode="0.00">
                  <c:v>0.2662059199937849</c:v>
                </c:pt>
                <c:pt idx="1503" formatCode="0.00">
                  <c:v>0.2663325174418586</c:v>
                </c:pt>
                <c:pt idx="1504" formatCode="0.00">
                  <c:v>0.26183219432987842</c:v>
                </c:pt>
                <c:pt idx="1505" formatCode="0.00">
                  <c:v>0.26178832040510364</c:v>
                </c:pt>
                <c:pt idx="1506" formatCode="0.00">
                  <c:v>0.26175895073868621</c:v>
                </c:pt>
                <c:pt idx="1507" formatCode="0.00">
                  <c:v>0.26190579771590644</c:v>
                </c:pt>
                <c:pt idx="1508" formatCode="0.00">
                  <c:v>0.26013801140883003</c:v>
                </c:pt>
                <c:pt idx="1509" formatCode="0.00">
                  <c:v>0.25979674876915221</c:v>
                </c:pt>
                <c:pt idx="1510" formatCode="0.00">
                  <c:v>0.25903282687535756</c:v>
                </c:pt>
                <c:pt idx="1511" formatCode="0.00">
                  <c:v>0.25898667447993884</c:v>
                </c:pt>
                <c:pt idx="1512" formatCode="0.00">
                  <c:v>0.25928865487060088</c:v>
                </c:pt>
                <c:pt idx="1513" formatCode="0.00">
                  <c:v>0.25991165472749411</c:v>
                </c:pt>
                <c:pt idx="1514" formatCode="0.00">
                  <c:v>0.2641802280259371</c:v>
                </c:pt>
                <c:pt idx="1515" formatCode="0.00">
                  <c:v>0.26461090974145035</c:v>
                </c:pt>
                <c:pt idx="1516" formatCode="0.00">
                  <c:v>0.26461751438363029</c:v>
                </c:pt>
                <c:pt idx="1517" formatCode="0.00">
                  <c:v>0.26675293098094832</c:v>
                </c:pt>
                <c:pt idx="1518" formatCode="0.00">
                  <c:v>0.26559862356330621</c:v>
                </c:pt>
                <c:pt idx="1519" formatCode="0.00">
                  <c:v>0.26129292292891698</c:v>
                </c:pt>
                <c:pt idx="1520" formatCode="0.00">
                  <c:v>0.2612611252512767</c:v>
                </c:pt>
                <c:pt idx="1521" formatCode="0.00">
                  <c:v>0.25970167326270055</c:v>
                </c:pt>
                <c:pt idx="1522" formatCode="0.00">
                  <c:v>0.25799940839990643</c:v>
                </c:pt>
                <c:pt idx="1523" formatCode="0.00">
                  <c:v>0.25652188773547618</c:v>
                </c:pt>
                <c:pt idx="1524" formatCode="0.00">
                  <c:v>0.25703143308354309</c:v>
                </c:pt>
                <c:pt idx="1525" formatCode="0.00">
                  <c:v>0.25743449215637387</c:v>
                </c:pt>
                <c:pt idx="1526" formatCode="0.00">
                  <c:v>0.25714020747527938</c:v>
                </c:pt>
                <c:pt idx="1527" formatCode="0.00">
                  <c:v>0.25596369982307243</c:v>
                </c:pt>
                <c:pt idx="1528" formatCode="0.00">
                  <c:v>0.25535745928224057</c:v>
                </c:pt>
                <c:pt idx="1529" formatCode="0.00">
                  <c:v>0.25410329919378499</c:v>
                </c:pt>
                <c:pt idx="1530" formatCode="0.00">
                  <c:v>0.25414014788331651</c:v>
                </c:pt>
                <c:pt idx="1531" formatCode="0.00">
                  <c:v>0.25398486857607738</c:v>
                </c:pt>
                <c:pt idx="1532" formatCode="0.00">
                  <c:v>0.25358052511714757</c:v>
                </c:pt>
                <c:pt idx="1533" formatCode="0.00">
                  <c:v>0.25556236574102531</c:v>
                </c:pt>
                <c:pt idx="1534" formatCode="0.00">
                  <c:v>0.2554947213257921</c:v>
                </c:pt>
                <c:pt idx="1535" formatCode="0.00">
                  <c:v>0.25566567878151947</c:v>
                </c:pt>
                <c:pt idx="1536" formatCode="0.00">
                  <c:v>0.25572249186552964</c:v>
                </c:pt>
                <c:pt idx="1537" formatCode="0.00">
                  <c:v>0.26045030376075906</c:v>
                </c:pt>
                <c:pt idx="1538" formatCode="0.00">
                  <c:v>0.26045574948325811</c:v>
                </c:pt>
                <c:pt idx="1539" formatCode="0.00">
                  <c:v>0.26178280038527085</c:v>
                </c:pt>
                <c:pt idx="1540" formatCode="0.00">
                  <c:v>0.26160591269115613</c:v>
                </c:pt>
                <c:pt idx="1541" formatCode="0.00">
                  <c:v>0.2604288984892501</c:v>
                </c:pt>
                <c:pt idx="1542" formatCode="0.00">
                  <c:v>0.25821600900748365</c:v>
                </c:pt>
                <c:pt idx="1543" formatCode="0.00">
                  <c:v>0.25840356932586128</c:v>
                </c:pt>
                <c:pt idx="1544" formatCode="0.00">
                  <c:v>0.25829493263563097</c:v>
                </c:pt>
                <c:pt idx="1545" formatCode="0.00">
                  <c:v>0.25863517991784196</c:v>
                </c:pt>
                <c:pt idx="1546" formatCode="0.00">
                  <c:v>0.25737000914604141</c:v>
                </c:pt>
                <c:pt idx="1547" formatCode="0.00">
                  <c:v>0.25825957270345096</c:v>
                </c:pt>
                <c:pt idx="1548" formatCode="0.00">
                  <c:v>0.25798611099977597</c:v>
                </c:pt>
                <c:pt idx="1549" formatCode="0.00">
                  <c:v>0.25758685967976147</c:v>
                </c:pt>
                <c:pt idx="1550" formatCode="0.00">
                  <c:v>0.25131451469604194</c:v>
                </c:pt>
                <c:pt idx="1551" formatCode="0.00">
                  <c:v>0.25150210925204131</c:v>
                </c:pt>
                <c:pt idx="1552" formatCode="0.00">
                  <c:v>0.25056827358051043</c:v>
                </c:pt>
                <c:pt idx="1553" formatCode="0.00">
                  <c:v>0.25024563955254825</c:v>
                </c:pt>
                <c:pt idx="1554" formatCode="0.00">
                  <c:v>0.25062277835383145</c:v>
                </c:pt>
                <c:pt idx="1555" formatCode="0.00">
                  <c:v>0.25050697172848374</c:v>
                </c:pt>
                <c:pt idx="1556" formatCode="0.00">
                  <c:v>0.25057860020022255</c:v>
                </c:pt>
                <c:pt idx="1557" formatCode="0.00">
                  <c:v>0.25173817040567087</c:v>
                </c:pt>
                <c:pt idx="1558" formatCode="0.00">
                  <c:v>0.25172196157372334</c:v>
                </c:pt>
                <c:pt idx="1559" formatCode="0.00">
                  <c:v>0.25174353274836164</c:v>
                </c:pt>
                <c:pt idx="1560" formatCode="0.00">
                  <c:v>0.25185029464640857</c:v>
                </c:pt>
                <c:pt idx="1561" formatCode="0.00">
                  <c:v>0.25165302622536007</c:v>
                </c:pt>
                <c:pt idx="1562" formatCode="0.00">
                  <c:v>0.25194977920843886</c:v>
                </c:pt>
                <c:pt idx="1563" formatCode="0.00">
                  <c:v>0.25103119161662235</c:v>
                </c:pt>
                <c:pt idx="1564" formatCode="0.00">
                  <c:v>0.25080418626757317</c:v>
                </c:pt>
                <c:pt idx="1565" formatCode="0.00">
                  <c:v>0.2506048331448914</c:v>
                </c:pt>
                <c:pt idx="1566" formatCode="0.00">
                  <c:v>0.25029363850809777</c:v>
                </c:pt>
                <c:pt idx="1567" formatCode="0.00">
                  <c:v>0.25006336388674982</c:v>
                </c:pt>
                <c:pt idx="1568" formatCode="0.00">
                  <c:v>0.25031491079704754</c:v>
                </c:pt>
                <c:pt idx="1569" formatCode="0.00">
                  <c:v>0.25006245579620001</c:v>
                </c:pt>
                <c:pt idx="1570" formatCode="0.00">
                  <c:v>0.2500679218792134</c:v>
                </c:pt>
                <c:pt idx="1571" formatCode="0.00">
                  <c:v>0.25084331466918314</c:v>
                </c:pt>
                <c:pt idx="1572" formatCode="0.00">
                  <c:v>0.25059654856335511</c:v>
                </c:pt>
                <c:pt idx="1573" formatCode="0.00">
                  <c:v>0.24852740784450031</c:v>
                </c:pt>
                <c:pt idx="1574" formatCode="0.00">
                  <c:v>0.24755136758946078</c:v>
                </c:pt>
                <c:pt idx="1575" formatCode="0.00">
                  <c:v>0.2461197865616587</c:v>
                </c:pt>
                <c:pt idx="1576" formatCode="0.00">
                  <c:v>0.24576681922013702</c:v>
                </c:pt>
                <c:pt idx="1577" formatCode="0.00">
                  <c:v>0.24727584977599495</c:v>
                </c:pt>
                <c:pt idx="1578" formatCode="0.00">
                  <c:v>0.24752563929543342</c:v>
                </c:pt>
                <c:pt idx="1579" formatCode="0.00">
                  <c:v>0.24784712768648168</c:v>
                </c:pt>
                <c:pt idx="1580" formatCode="0.00">
                  <c:v>0.24791617327135868</c:v>
                </c:pt>
                <c:pt idx="1581" formatCode="0.00">
                  <c:v>0.24888359242893959</c:v>
                </c:pt>
                <c:pt idx="1582" formatCode="0.00">
                  <c:v>0.24603031923052249</c:v>
                </c:pt>
                <c:pt idx="1583" formatCode="0.00">
                  <c:v>0.24625789944341805</c:v>
                </c:pt>
                <c:pt idx="1584" formatCode="0.00">
                  <c:v>0.24622548063650573</c:v>
                </c:pt>
                <c:pt idx="1585" formatCode="0.00">
                  <c:v>0.24456304285518493</c:v>
                </c:pt>
                <c:pt idx="1586" formatCode="0.00">
                  <c:v>0.24385372030599492</c:v>
                </c:pt>
                <c:pt idx="1587" formatCode="0.00">
                  <c:v>0.2443359139555471</c:v>
                </c:pt>
                <c:pt idx="1588" formatCode="0.00">
                  <c:v>0.24434569506278564</c:v>
                </c:pt>
                <c:pt idx="1589" formatCode="0.00">
                  <c:v>0.24418786920342073</c:v>
                </c:pt>
                <c:pt idx="1590" formatCode="0.00">
                  <c:v>0.24419915043113666</c:v>
                </c:pt>
                <c:pt idx="1591" formatCode="0.00">
                  <c:v>0.24398386382545667</c:v>
                </c:pt>
                <c:pt idx="1592" formatCode="0.00">
                  <c:v>0.24626963745527786</c:v>
                </c:pt>
                <c:pt idx="1593" formatCode="0.00">
                  <c:v>0.2446921363934855</c:v>
                </c:pt>
                <c:pt idx="1594" formatCode="0.00">
                  <c:v>0.24450360421682277</c:v>
                </c:pt>
                <c:pt idx="1595" formatCode="0.00">
                  <c:v>0.2444678907760682</c:v>
                </c:pt>
                <c:pt idx="1596" formatCode="0.00">
                  <c:v>0.24480147456338122</c:v>
                </c:pt>
                <c:pt idx="1597" formatCode="0.00">
                  <c:v>0.24448252265159978</c:v>
                </c:pt>
                <c:pt idx="1598" formatCode="0.00">
                  <c:v>0.24470514194276163</c:v>
                </c:pt>
                <c:pt idx="1599" formatCode="0.00">
                  <c:v>0.2448468488263302</c:v>
                </c:pt>
                <c:pt idx="1600" formatCode="0.00">
                  <c:v>0.24472833692611529</c:v>
                </c:pt>
                <c:pt idx="1601" formatCode="0.00">
                  <c:v>0.24404160083084825</c:v>
                </c:pt>
                <c:pt idx="1602" formatCode="0.00">
                  <c:v>0.24441470851224817</c:v>
                </c:pt>
                <c:pt idx="1603" formatCode="0.00">
                  <c:v>0.24561257223130842</c:v>
                </c:pt>
                <c:pt idx="1604" formatCode="0.00">
                  <c:v>0.24533535531973211</c:v>
                </c:pt>
                <c:pt idx="1605" formatCode="0.00">
                  <c:v>0.24562244330721816</c:v>
                </c:pt>
                <c:pt idx="1606" formatCode="0.00">
                  <c:v>0.24519503432487444</c:v>
                </c:pt>
                <c:pt idx="1607" formatCode="0.00">
                  <c:v>0.24510271258510205</c:v>
                </c:pt>
                <c:pt idx="1608" formatCode="0.00">
                  <c:v>0.24609683773368671</c:v>
                </c:pt>
                <c:pt idx="1609" formatCode="0.00">
                  <c:v>0.24742189029672054</c:v>
                </c:pt>
                <c:pt idx="1610" formatCode="0.00">
                  <c:v>0.24560766329615991</c:v>
                </c:pt>
                <c:pt idx="1611" formatCode="0.00">
                  <c:v>0.24595740553096435</c:v>
                </c:pt>
                <c:pt idx="1612" formatCode="0.00">
                  <c:v>0.24590566564183503</c:v>
                </c:pt>
                <c:pt idx="1613" formatCode="0.00">
                  <c:v>0.24758781514461753</c:v>
                </c:pt>
                <c:pt idx="1614" formatCode="0.00">
                  <c:v>0.24717348007087683</c:v>
                </c:pt>
                <c:pt idx="1615" formatCode="0.00">
                  <c:v>0.24713285537269089</c:v>
                </c:pt>
                <c:pt idx="1616" formatCode="0.00">
                  <c:v>0.24898824726500901</c:v>
                </c:pt>
                <c:pt idx="1617" formatCode="0.00">
                  <c:v>0.25131534538480932</c:v>
                </c:pt>
                <c:pt idx="1618" formatCode="0.00">
                  <c:v>0.25143784166091626</c:v>
                </c:pt>
                <c:pt idx="1619" formatCode="0.00">
                  <c:v>0.25149420582019177</c:v>
                </c:pt>
                <c:pt idx="1620" formatCode="0.00">
                  <c:v>0.25344089068944192</c:v>
                </c:pt>
                <c:pt idx="1621" formatCode="0.00">
                  <c:v>0.25372547185109467</c:v>
                </c:pt>
                <c:pt idx="1622" formatCode="0.00">
                  <c:v>0.25330615666417305</c:v>
                </c:pt>
                <c:pt idx="1623" formatCode="0.00">
                  <c:v>0.25314900938349266</c:v>
                </c:pt>
                <c:pt idx="1624" formatCode="0.00">
                  <c:v>0.25314343395782579</c:v>
                </c:pt>
                <c:pt idx="1625" formatCode="0.00">
                  <c:v>0.2534549086060387</c:v>
                </c:pt>
                <c:pt idx="1626" formatCode="0.00">
                  <c:v>0.25337394040719485</c:v>
                </c:pt>
                <c:pt idx="1627" formatCode="0.00">
                  <c:v>0.25425238218570612</c:v>
                </c:pt>
                <c:pt idx="1628" formatCode="0.00">
                  <c:v>0.25478787231671757</c:v>
                </c:pt>
                <c:pt idx="1629" formatCode="0.00">
                  <c:v>0.25486873045392616</c:v>
                </c:pt>
                <c:pt idx="1630" formatCode="0.00">
                  <c:v>0.25479496422395986</c:v>
                </c:pt>
                <c:pt idx="1631" formatCode="0.00">
                  <c:v>0.25524709003238305</c:v>
                </c:pt>
                <c:pt idx="1632" formatCode="0.00">
                  <c:v>0.25534828626863637</c:v>
                </c:pt>
                <c:pt idx="1633" formatCode="0.00">
                  <c:v>0.25462890181767939</c:v>
                </c:pt>
                <c:pt idx="1634" formatCode="0.00">
                  <c:v>0.25527488578592483</c:v>
                </c:pt>
                <c:pt idx="1635" formatCode="0.00">
                  <c:v>0.2561856580484359</c:v>
                </c:pt>
                <c:pt idx="1636" formatCode="0.00">
                  <c:v>0.25675342129269485</c:v>
                </c:pt>
                <c:pt idx="1637" formatCode="0.00">
                  <c:v>0.25740106665725349</c:v>
                </c:pt>
                <c:pt idx="1638" formatCode="0.00">
                  <c:v>0.25828056421615997</c:v>
                </c:pt>
                <c:pt idx="1639" formatCode="0.00">
                  <c:v>0.25833233533357908</c:v>
                </c:pt>
                <c:pt idx="1640" formatCode="0.00">
                  <c:v>0.25590283254755875</c:v>
                </c:pt>
                <c:pt idx="1641" formatCode="0.00">
                  <c:v>0.25504799229159814</c:v>
                </c:pt>
                <c:pt idx="1642" formatCode="0.00">
                  <c:v>0.25505257607486626</c:v>
                </c:pt>
                <c:pt idx="1643" formatCode="0.00">
                  <c:v>0.25487493310198556</c:v>
                </c:pt>
                <c:pt idx="1644" formatCode="0.00">
                  <c:v>0.25534204951749434</c:v>
                </c:pt>
                <c:pt idx="1645" formatCode="0.00">
                  <c:v>0.25640694144860959</c:v>
                </c:pt>
                <c:pt idx="1646" formatCode="0.00">
                  <c:v>0.25652496235338829</c:v>
                </c:pt>
                <c:pt idx="1647" formatCode="0.00">
                  <c:v>0.25782252261380839</c:v>
                </c:pt>
                <c:pt idx="1648" formatCode="0.00">
                  <c:v>0.25840064271783009</c:v>
                </c:pt>
                <c:pt idx="1649" formatCode="0.00">
                  <c:v>0.25825525077765255</c:v>
                </c:pt>
                <c:pt idx="1650" formatCode="0.00">
                  <c:v>0.25903192333720354</c:v>
                </c:pt>
                <c:pt idx="1651" formatCode="0.00">
                  <c:v>0.25883095204691792</c:v>
                </c:pt>
                <c:pt idx="1652" formatCode="0.00">
                  <c:v>0.26154265423560791</c:v>
                </c:pt>
                <c:pt idx="1653" formatCode="0.00">
                  <c:v>0.26165444372954316</c:v>
                </c:pt>
                <c:pt idx="1654" formatCode="0.00">
                  <c:v>0.26179844597455548</c:v>
                </c:pt>
                <c:pt idx="1655" formatCode="0.00">
                  <c:v>0.2615532480010529</c:v>
                </c:pt>
                <c:pt idx="1656" formatCode="0.00">
                  <c:v>0.2614494627717554</c:v>
                </c:pt>
                <c:pt idx="1657" formatCode="0.00">
                  <c:v>0.26052084569697043</c:v>
                </c:pt>
                <c:pt idx="1658" formatCode="0.00">
                  <c:v>0.26054446706101692</c:v>
                </c:pt>
                <c:pt idx="1659" formatCode="0.00">
                  <c:v>0.26048262815351031</c:v>
                </c:pt>
                <c:pt idx="1660" formatCode="0.00">
                  <c:v>0.26120452663168248</c:v>
                </c:pt>
                <c:pt idx="1661" formatCode="0.00">
                  <c:v>0.26092839354121267</c:v>
                </c:pt>
                <c:pt idx="1662" formatCode="0.00">
                  <c:v>0.26471233081221646</c:v>
                </c:pt>
                <c:pt idx="1663" formatCode="0.00">
                  <c:v>0.2649633469594036</c:v>
                </c:pt>
                <c:pt idx="1664" formatCode="0.00">
                  <c:v>0.26448659414786951</c:v>
                </c:pt>
                <c:pt idx="1665" formatCode="0.00">
                  <c:v>0.26429598410596455</c:v>
                </c:pt>
                <c:pt idx="1666" formatCode="0.00">
                  <c:v>0.26339373084458245</c:v>
                </c:pt>
                <c:pt idx="1667" formatCode="0.00">
                  <c:v>0.26465388779955079</c:v>
                </c:pt>
                <c:pt idx="1668" formatCode="0.00">
                  <c:v>0.26464981984959951</c:v>
                </c:pt>
                <c:pt idx="1669" formatCode="0.00">
                  <c:v>0.26537500062466024</c:v>
                </c:pt>
                <c:pt idx="1670" formatCode="0.00">
                  <c:v>0.26442313284793106</c:v>
                </c:pt>
                <c:pt idx="1671" formatCode="0.00">
                  <c:v>0.26446974078782282</c:v>
                </c:pt>
                <c:pt idx="1672" formatCode="0.00">
                  <c:v>0.26445251622486826</c:v>
                </c:pt>
                <c:pt idx="1673" formatCode="0.00">
                  <c:v>0.26469217934578104</c:v>
                </c:pt>
                <c:pt idx="1674" formatCode="0.00">
                  <c:v>0.26502480814656371</c:v>
                </c:pt>
                <c:pt idx="1675" formatCode="0.00">
                  <c:v>0.26498033028605855</c:v>
                </c:pt>
                <c:pt idx="1676" formatCode="0.00">
                  <c:v>0.26533369619333941</c:v>
                </c:pt>
                <c:pt idx="1677" formatCode="0.00">
                  <c:v>0.26584439074961791</c:v>
                </c:pt>
                <c:pt idx="1678" formatCode="0.00">
                  <c:v>0.26583957939347258</c:v>
                </c:pt>
                <c:pt idx="1679" formatCode="0.00">
                  <c:v>0.26500807306773605</c:v>
                </c:pt>
                <c:pt idx="1680" formatCode="0.00">
                  <c:v>0.26381879786346163</c:v>
                </c:pt>
                <c:pt idx="1681" formatCode="0.00">
                  <c:v>0.26225438103501914</c:v>
                </c:pt>
                <c:pt idx="1682" formatCode="0.00">
                  <c:v>0.26224155825108975</c:v>
                </c:pt>
                <c:pt idx="1683" formatCode="0.00">
                  <c:v>0.26176734010986147</c:v>
                </c:pt>
                <c:pt idx="1684" formatCode="0.00">
                  <c:v>0.26152985170369625</c:v>
                </c:pt>
                <c:pt idx="1685" formatCode="0.00">
                  <c:v>0.26126698273587462</c:v>
                </c:pt>
                <c:pt idx="1686" formatCode="0.00">
                  <c:v>0.26126008213336788</c:v>
                </c:pt>
                <c:pt idx="1687" formatCode="0.00">
                  <c:v>0.26672246513747894</c:v>
                </c:pt>
                <c:pt idx="1688" formatCode="0.00">
                  <c:v>0.2673562874006028</c:v>
                </c:pt>
                <c:pt idx="1689" formatCode="0.00">
                  <c:v>0.26742192732609604</c:v>
                </c:pt>
                <c:pt idx="1690" formatCode="0.00">
                  <c:v>0.26812989367073714</c:v>
                </c:pt>
                <c:pt idx="1691" formatCode="0.00">
                  <c:v>0.27201106987374452</c:v>
                </c:pt>
                <c:pt idx="1692" formatCode="0.00">
                  <c:v>0.27136782298649798</c:v>
                </c:pt>
                <c:pt idx="1693" formatCode="0.00">
                  <c:v>0.27122268484825746</c:v>
                </c:pt>
                <c:pt idx="1694" formatCode="0.00">
                  <c:v>0.27136448549517173</c:v>
                </c:pt>
                <c:pt idx="1695" formatCode="0.00">
                  <c:v>0.27254305664104667</c:v>
                </c:pt>
                <c:pt idx="1696" formatCode="0.00">
                  <c:v>0.27264559627689533</c:v>
                </c:pt>
                <c:pt idx="1697" formatCode="0.00">
                  <c:v>0.27255336450665968</c:v>
                </c:pt>
                <c:pt idx="1698" formatCode="0.00">
                  <c:v>0.27286071443530646</c:v>
                </c:pt>
                <c:pt idx="1699" formatCode="0.00">
                  <c:v>0.27254534177567041</c:v>
                </c:pt>
                <c:pt idx="1700" formatCode="0.00">
                  <c:v>0.27286052724814425</c:v>
                </c:pt>
                <c:pt idx="1701" formatCode="0.00">
                  <c:v>0.27323577294163559</c:v>
                </c:pt>
                <c:pt idx="1702" formatCode="0.00">
                  <c:v>0.27327561056929056</c:v>
                </c:pt>
                <c:pt idx="1703" formatCode="0.00">
                  <c:v>0.27275775121317991</c:v>
                </c:pt>
                <c:pt idx="1704" formatCode="0.00">
                  <c:v>0.27314647467375863</c:v>
                </c:pt>
                <c:pt idx="1705" formatCode="0.00">
                  <c:v>0.27322322811650007</c:v>
                </c:pt>
                <c:pt idx="1706" formatCode="0.00">
                  <c:v>0.27368393492344661</c:v>
                </c:pt>
                <c:pt idx="1707" formatCode="0.00">
                  <c:v>0.27214280568098631</c:v>
                </c:pt>
                <c:pt idx="1708" formatCode="0.00">
                  <c:v>0.27133635453733129</c:v>
                </c:pt>
                <c:pt idx="1709" formatCode="0.00">
                  <c:v>0.27141739893717443</c:v>
                </c:pt>
                <c:pt idx="1710" formatCode="0.00">
                  <c:v>0.27196965950222707</c:v>
                </c:pt>
                <c:pt idx="1711" formatCode="0.00">
                  <c:v>0.27243557518758144</c:v>
                </c:pt>
                <c:pt idx="1712" formatCode="0.00">
                  <c:v>0.27273722687492913</c:v>
                </c:pt>
                <c:pt idx="1713" formatCode="0.00">
                  <c:v>0.27050678306279613</c:v>
                </c:pt>
                <c:pt idx="1714" formatCode="0.00">
                  <c:v>0.27008206711157862</c:v>
                </c:pt>
                <c:pt idx="1715" formatCode="0.00">
                  <c:v>0.26835354768034081</c:v>
                </c:pt>
                <c:pt idx="1716" formatCode="0.00">
                  <c:v>0.266128313939755</c:v>
                </c:pt>
                <c:pt idx="1717" formatCode="0.00">
                  <c:v>0.26657871821323925</c:v>
                </c:pt>
                <c:pt idx="1718" formatCode="0.00">
                  <c:v>0.2678426573166971</c:v>
                </c:pt>
                <c:pt idx="1719" formatCode="0.00">
                  <c:v>0.26804900683934668</c:v>
                </c:pt>
                <c:pt idx="1720" formatCode="0.00">
                  <c:v>0.26791382536313846</c:v>
                </c:pt>
                <c:pt idx="1721" formatCode="0.00">
                  <c:v>0.27103628057107543</c:v>
                </c:pt>
                <c:pt idx="1722" formatCode="0.00">
                  <c:v>0.27065010144151752</c:v>
                </c:pt>
                <c:pt idx="1723" formatCode="0.00">
                  <c:v>0.27103272450317517</c:v>
                </c:pt>
                <c:pt idx="1724" formatCode="0.00">
                  <c:v>0.27121672849100625</c:v>
                </c:pt>
                <c:pt idx="1725" formatCode="0.00">
                  <c:v>0.27407855432407024</c:v>
                </c:pt>
                <c:pt idx="1726" formatCode="0.00">
                  <c:v>0.27543188156056908</c:v>
                </c:pt>
                <c:pt idx="1727" formatCode="0.00">
                  <c:v>0.27815357022338011</c:v>
                </c:pt>
                <c:pt idx="1728" formatCode="0.00">
                  <c:v>0.2829935268775553</c:v>
                </c:pt>
                <c:pt idx="1729" formatCode="0.00">
                  <c:v>0.28666453498607158</c:v>
                </c:pt>
                <c:pt idx="1730" formatCode="0.00">
                  <c:v>0.28898604147364282</c:v>
                </c:pt>
                <c:pt idx="1731" formatCode="0.00">
                  <c:v>0.2892426609480413</c:v>
                </c:pt>
                <c:pt idx="1732" formatCode="0.00">
                  <c:v>0.28932048767521501</c:v>
                </c:pt>
                <c:pt idx="1733" formatCode="0.00">
                  <c:v>0.28972605195614748</c:v>
                </c:pt>
                <c:pt idx="1734" formatCode="0.00">
                  <c:v>0.30261367178430582</c:v>
                </c:pt>
                <c:pt idx="1735" formatCode="0.00">
                  <c:v>0.309138248845229</c:v>
                </c:pt>
                <c:pt idx="1736" formatCode="0.00">
                  <c:v>0.30858509632270226</c:v>
                </c:pt>
                <c:pt idx="1737" formatCode="0.00">
                  <c:v>0.31081734101139202</c:v>
                </c:pt>
                <c:pt idx="1738" formatCode="0.00">
                  <c:v>0.31866953041521318</c:v>
                </c:pt>
                <c:pt idx="1739" formatCode="0.00">
                  <c:v>0.31831501148183067</c:v>
                </c:pt>
                <c:pt idx="1740" formatCode="0.00">
                  <c:v>0.32230651822106199</c:v>
                </c:pt>
                <c:pt idx="1741" formatCode="0.00">
                  <c:v>0.32322307762694547</c:v>
                </c:pt>
                <c:pt idx="1742" formatCode="0.00">
                  <c:v>0.3231062671512161</c:v>
                </c:pt>
                <c:pt idx="1743" formatCode="0.00">
                  <c:v>0.32252822053146402</c:v>
                </c:pt>
                <c:pt idx="1744" formatCode="0.00">
                  <c:v>0.32241217816781464</c:v>
                </c:pt>
                <c:pt idx="1745" formatCode="0.00">
                  <c:v>0.32333565668050174</c:v>
                </c:pt>
                <c:pt idx="1746" formatCode="0.00">
                  <c:v>0.32346884499874834</c:v>
                </c:pt>
                <c:pt idx="1747" formatCode="0.00">
                  <c:v>0.32579460010644939</c:v>
                </c:pt>
                <c:pt idx="1748" formatCode="0.00">
                  <c:v>0.32623003513837789</c:v>
                </c:pt>
                <c:pt idx="1749" formatCode="0.00">
                  <c:v>0.32585338156067351</c:v>
                </c:pt>
                <c:pt idx="1750" formatCode="0.00">
                  <c:v>0.32775770157626011</c:v>
                </c:pt>
                <c:pt idx="1751" formatCode="0.00">
                  <c:v>0.32792710393102359</c:v>
                </c:pt>
                <c:pt idx="1752" formatCode="0.00">
                  <c:v>0.32733008102161415</c:v>
                </c:pt>
                <c:pt idx="1753" formatCode="0.00">
                  <c:v>0.32754941382552205</c:v>
                </c:pt>
                <c:pt idx="1754" formatCode="0.00">
                  <c:v>0.32754912767193783</c:v>
                </c:pt>
                <c:pt idx="1755" formatCode="0.00">
                  <c:v>0.32733960602663298</c:v>
                </c:pt>
                <c:pt idx="1756" formatCode="0.00">
                  <c:v>0.32821649589292456</c:v>
                </c:pt>
                <c:pt idx="1757" formatCode="0.00">
                  <c:v>0.32980332050242589</c:v>
                </c:pt>
                <c:pt idx="1758" formatCode="0.00">
                  <c:v>0.32983846658418459</c:v>
                </c:pt>
                <c:pt idx="1759" formatCode="0.00">
                  <c:v>0.33076304040361848</c:v>
                </c:pt>
                <c:pt idx="1760" formatCode="0.00">
                  <c:v>0.33030447822232001</c:v>
                </c:pt>
                <c:pt idx="1761" formatCode="0.00">
                  <c:v>0.33018446004945184</c:v>
                </c:pt>
                <c:pt idx="1762" formatCode="0.00">
                  <c:v>0.33030892255794625</c:v>
                </c:pt>
                <c:pt idx="1763" formatCode="0.00">
                  <c:v>0.33069970276217203</c:v>
                </c:pt>
                <c:pt idx="1764" formatCode="0.00">
                  <c:v>0.34126610784149475</c:v>
                </c:pt>
                <c:pt idx="1765" formatCode="0.00">
                  <c:v>0.34543724761420991</c:v>
                </c:pt>
                <c:pt idx="1766" formatCode="0.00">
                  <c:v>0.34499076335879747</c:v>
                </c:pt>
                <c:pt idx="1767" formatCode="0.00">
                  <c:v>0.34183505994125118</c:v>
                </c:pt>
                <c:pt idx="1768" formatCode="0.00">
                  <c:v>0.34341869597095309</c:v>
                </c:pt>
                <c:pt idx="1769" formatCode="0.00">
                  <c:v>0.34367542853390914</c:v>
                </c:pt>
                <c:pt idx="1770" formatCode="0.00">
                  <c:v>0.3416333654643362</c:v>
                </c:pt>
                <c:pt idx="1771" formatCode="0.00">
                  <c:v>0.34161233143667163</c:v>
                </c:pt>
                <c:pt idx="1772" formatCode="0.00">
                  <c:v>0.34158719847840757</c:v>
                </c:pt>
                <c:pt idx="1773" formatCode="0.00">
                  <c:v>0.34281687605213235</c:v>
                </c:pt>
                <c:pt idx="1774" formatCode="0.00">
                  <c:v>0.34235927615435452</c:v>
                </c:pt>
                <c:pt idx="1775" formatCode="0.00">
                  <c:v>0.34405871129768967</c:v>
                </c:pt>
                <c:pt idx="1776" formatCode="0.00">
                  <c:v>0.34419396110880585</c:v>
                </c:pt>
                <c:pt idx="1777" formatCode="0.00">
                  <c:v>0.34392560040988129</c:v>
                </c:pt>
                <c:pt idx="1778" formatCode="0.00">
                  <c:v>0.34341997060057078</c:v>
                </c:pt>
                <c:pt idx="1779" formatCode="0.00">
                  <c:v>0.34437425466067506</c:v>
                </c:pt>
                <c:pt idx="1780" formatCode="0.00">
                  <c:v>0.34430697303612612</c:v>
                </c:pt>
                <c:pt idx="1781" formatCode="0.00">
                  <c:v>0.34437004013744055</c:v>
                </c:pt>
                <c:pt idx="1782" formatCode="0.00">
                  <c:v>0.34477133865917481</c:v>
                </c:pt>
                <c:pt idx="1783" formatCode="0.00">
                  <c:v>0.34487823562306658</c:v>
                </c:pt>
                <c:pt idx="1784" formatCode="0.00">
                  <c:v>0.34540225241174727</c:v>
                </c:pt>
                <c:pt idx="1785" formatCode="0.00">
                  <c:v>0.34549116873839386</c:v>
                </c:pt>
                <c:pt idx="1786" formatCode="0.00">
                  <c:v>0.34406982998693308</c:v>
                </c:pt>
                <c:pt idx="1787" formatCode="0.00">
                  <c:v>0.342832303031604</c:v>
                </c:pt>
                <c:pt idx="1788" formatCode="0.00">
                  <c:v>0.34434525424637735</c:v>
                </c:pt>
                <c:pt idx="1789" formatCode="0.00">
                  <c:v>0.34511862217952544</c:v>
                </c:pt>
                <c:pt idx="1790" formatCode="0.00">
                  <c:v>0.3415675984209805</c:v>
                </c:pt>
                <c:pt idx="1791" formatCode="0.00">
                  <c:v>0.34153079124118169</c:v>
                </c:pt>
                <c:pt idx="1792" formatCode="0.00">
                  <c:v>0.34148963464363502</c:v>
                </c:pt>
                <c:pt idx="1793" formatCode="0.00">
                  <c:v>0.34337534168186168</c:v>
                </c:pt>
                <c:pt idx="1794" formatCode="0.00">
                  <c:v>0.34504766034103063</c:v>
                </c:pt>
                <c:pt idx="1795" formatCode="0.00">
                  <c:v>0.3472759293119646</c:v>
                </c:pt>
                <c:pt idx="1796" formatCode="0.00">
                  <c:v>0.35053490934790765</c:v>
                </c:pt>
                <c:pt idx="1797" formatCode="0.00">
                  <c:v>0.35074638276199482</c:v>
                </c:pt>
                <c:pt idx="1798" formatCode="0.00">
                  <c:v>0.35063932082829929</c:v>
                </c:pt>
                <c:pt idx="1799" formatCode="0.00">
                  <c:v>0.35187133851324959</c:v>
                </c:pt>
                <c:pt idx="1800" formatCode="0.00">
                  <c:v>0.35172769585852165</c:v>
                </c:pt>
                <c:pt idx="1801" formatCode="0.00">
                  <c:v>0.35172881725610095</c:v>
                </c:pt>
                <c:pt idx="1802" formatCode="0.00">
                  <c:v>0.35176288626453273</c:v>
                </c:pt>
                <c:pt idx="1803" formatCode="0.00">
                  <c:v>0.35047220973688509</c:v>
                </c:pt>
                <c:pt idx="1804" formatCode="0.00">
                  <c:v>0.35035430511156473</c:v>
                </c:pt>
                <c:pt idx="1805" formatCode="0.00">
                  <c:v>0.35012397473990897</c:v>
                </c:pt>
                <c:pt idx="1806" formatCode="0.00">
                  <c:v>0.3500428233679706</c:v>
                </c:pt>
                <c:pt idx="1807" formatCode="0.00">
                  <c:v>0.35036516606955909</c:v>
                </c:pt>
                <c:pt idx="1808" formatCode="0.00">
                  <c:v>0.35044129657445355</c:v>
                </c:pt>
                <c:pt idx="1809" formatCode="0.00">
                  <c:v>0.35168682936218748</c:v>
                </c:pt>
                <c:pt idx="1810" formatCode="0.00">
                  <c:v>0.35147863643963984</c:v>
                </c:pt>
                <c:pt idx="1811" formatCode="0.00">
                  <c:v>0.35182662382784363</c:v>
                </c:pt>
                <c:pt idx="1812" formatCode="0.00">
                  <c:v>0.35196003454745645</c:v>
                </c:pt>
                <c:pt idx="1813" formatCode="0.00">
                  <c:v>0.35203454928376238</c:v>
                </c:pt>
                <c:pt idx="1814" formatCode="0.00">
                  <c:v>0.35227971755898585</c:v>
                </c:pt>
                <c:pt idx="1815" formatCode="0.00">
                  <c:v>0.35390679340185854</c:v>
                </c:pt>
                <c:pt idx="1816" formatCode="0.00">
                  <c:v>0.3535423235533745</c:v>
                </c:pt>
                <c:pt idx="1817" formatCode="0.00">
                  <c:v>0.35347052177427235</c:v>
                </c:pt>
                <c:pt idx="1818" formatCode="0.00">
                  <c:v>0.3536936638419878</c:v>
                </c:pt>
                <c:pt idx="1819" formatCode="0.00">
                  <c:v>0.35343255398376522</c:v>
                </c:pt>
                <c:pt idx="1820" formatCode="0.00">
                  <c:v>0.35292348161941811</c:v>
                </c:pt>
                <c:pt idx="1821" formatCode="0.00">
                  <c:v>0.35259509638793129</c:v>
                </c:pt>
                <c:pt idx="1822" formatCode="0.00">
                  <c:v>0.35250128433355615</c:v>
                </c:pt>
                <c:pt idx="1823" formatCode="0.00">
                  <c:v>0.35295152779840133</c:v>
                </c:pt>
                <c:pt idx="1824" formatCode="0.00">
                  <c:v>0.35243506471703578</c:v>
                </c:pt>
                <c:pt idx="1825" formatCode="0.00">
                  <c:v>0.35248249176806185</c:v>
                </c:pt>
                <c:pt idx="1826" formatCode="0.00">
                  <c:v>0.35313524226106158</c:v>
                </c:pt>
                <c:pt idx="1827" formatCode="0.00">
                  <c:v>0.35379212909092855</c:v>
                </c:pt>
                <c:pt idx="1828" formatCode="0.00">
                  <c:v>0.35468318757034789</c:v>
                </c:pt>
                <c:pt idx="1829" formatCode="0.00">
                  <c:v>0.35511590815934224</c:v>
                </c:pt>
                <c:pt idx="1830" formatCode="0.00">
                  <c:v>0.35419873479334152</c:v>
                </c:pt>
                <c:pt idx="1831" formatCode="0.00">
                  <c:v>0.35443079295245922</c:v>
                </c:pt>
                <c:pt idx="1832" formatCode="0.00">
                  <c:v>0.35416813907685873</c:v>
                </c:pt>
                <c:pt idx="1833" formatCode="0.00">
                  <c:v>0.35407824375517127</c:v>
                </c:pt>
                <c:pt idx="1834" formatCode="0.00">
                  <c:v>0.35335878152915084</c:v>
                </c:pt>
                <c:pt idx="1835" formatCode="0.00">
                  <c:v>0.35337668790182164</c:v>
                </c:pt>
                <c:pt idx="1836" formatCode="0.00">
                  <c:v>0.35348085465466084</c:v>
                </c:pt>
                <c:pt idx="1837" formatCode="0.00">
                  <c:v>0.35354454826629239</c:v>
                </c:pt>
                <c:pt idx="1838" formatCode="0.00">
                  <c:v>0.3540005951762924</c:v>
                </c:pt>
                <c:pt idx="1839" formatCode="0.00">
                  <c:v>0.35420643012658393</c:v>
                </c:pt>
                <c:pt idx="1840" formatCode="0.00">
                  <c:v>0.35395476446549468</c:v>
                </c:pt>
                <c:pt idx="1841" formatCode="0.00">
                  <c:v>0.35396543944543069</c:v>
                </c:pt>
                <c:pt idx="1842" formatCode="0.00">
                  <c:v>0.35381994787224602</c:v>
                </c:pt>
                <c:pt idx="1843" formatCode="0.00">
                  <c:v>0.35403724529408681</c:v>
                </c:pt>
                <c:pt idx="1844" formatCode="0.00">
                  <c:v>0.35560873242223012</c:v>
                </c:pt>
                <c:pt idx="1845" formatCode="0.00">
                  <c:v>0.35550956213491719</c:v>
                </c:pt>
                <c:pt idx="1846" formatCode="0.00">
                  <c:v>0.35535130080639138</c:v>
                </c:pt>
                <c:pt idx="1847" formatCode="0.00">
                  <c:v>0.3554815196170068</c:v>
                </c:pt>
                <c:pt idx="1848" formatCode="0.00">
                  <c:v>0.35573709334928227</c:v>
                </c:pt>
                <c:pt idx="1849" formatCode="0.00">
                  <c:v>0.35534117027779122</c:v>
                </c:pt>
                <c:pt idx="1850" formatCode="0.00">
                  <c:v>0.35539094707179075</c:v>
                </c:pt>
                <c:pt idx="1851" formatCode="0.00">
                  <c:v>0.35695867473270992</c:v>
                </c:pt>
                <c:pt idx="1852" formatCode="0.00">
                  <c:v>0.35697726913593436</c:v>
                </c:pt>
                <c:pt idx="1853" formatCode="0.00">
                  <c:v>0.35750221313084224</c:v>
                </c:pt>
                <c:pt idx="1854" formatCode="0.00">
                  <c:v>0.35887339228624821</c:v>
                </c:pt>
                <c:pt idx="1855" formatCode="0.00">
                  <c:v>0.35900412024823636</c:v>
                </c:pt>
                <c:pt idx="1856" formatCode="0.00">
                  <c:v>0.35985421766789549</c:v>
                </c:pt>
                <c:pt idx="1857" formatCode="0.00">
                  <c:v>0.35997647762108409</c:v>
                </c:pt>
                <c:pt idx="1858" formatCode="0.00">
                  <c:v>0.3599623122420168</c:v>
                </c:pt>
                <c:pt idx="1859" formatCode="0.00">
                  <c:v>0.35992453914883549</c:v>
                </c:pt>
                <c:pt idx="1860" formatCode="0.00">
                  <c:v>0.36077089930792172</c:v>
                </c:pt>
                <c:pt idx="1861" formatCode="0.00">
                  <c:v>0.36045171942687981</c:v>
                </c:pt>
                <c:pt idx="1862" formatCode="0.00">
                  <c:v>0.35956244642290874</c:v>
                </c:pt>
                <c:pt idx="1863" formatCode="0.00">
                  <c:v>0.35972591108602331</c:v>
                </c:pt>
                <c:pt idx="1864" formatCode="0.00">
                  <c:v>0.3614834822058221</c:v>
                </c:pt>
                <c:pt idx="1865" formatCode="0.00">
                  <c:v>0.36361562835186961</c:v>
                </c:pt>
                <c:pt idx="1866" formatCode="0.00">
                  <c:v>0.36287533444898873</c:v>
                </c:pt>
                <c:pt idx="1867" formatCode="0.00">
                  <c:v>0.36282498119886425</c:v>
                </c:pt>
                <c:pt idx="1868" formatCode="0.00">
                  <c:v>0.36358475635073612</c:v>
                </c:pt>
                <c:pt idx="1869" formatCode="0.00">
                  <c:v>0.36212932727171093</c:v>
                </c:pt>
                <c:pt idx="1870" formatCode="0.00">
                  <c:v>0.36168293885617836</c:v>
                </c:pt>
                <c:pt idx="1871" formatCode="0.00">
                  <c:v>0.36220487143915014</c:v>
                </c:pt>
                <c:pt idx="1872" formatCode="0.00">
                  <c:v>0.36217197959686631</c:v>
                </c:pt>
                <c:pt idx="1873" formatCode="0.00">
                  <c:v>0.35992180389704992</c:v>
                </c:pt>
                <c:pt idx="1874" formatCode="0.00">
                  <c:v>0.35960775177625748</c:v>
                </c:pt>
                <c:pt idx="1875" formatCode="0.00">
                  <c:v>0.3595597017527804</c:v>
                </c:pt>
                <c:pt idx="1876" formatCode="0.00">
                  <c:v>0.3608155559815267</c:v>
                </c:pt>
                <c:pt idx="1877" formatCode="0.00">
                  <c:v>0.36094103020911078</c:v>
                </c:pt>
                <c:pt idx="1878" formatCode="0.00">
                  <c:v>0.36053482664814018</c:v>
                </c:pt>
                <c:pt idx="1879" formatCode="0.00">
                  <c:v>0.36049228418154083</c:v>
                </c:pt>
              </c:numCache>
            </c:numRef>
          </c:val>
          <c:smooth val="0"/>
        </c:ser>
        <c:ser>
          <c:idx val="0"/>
          <c:order val="3"/>
          <c:tx>
            <c:strRef>
              <c:f>'fixed target'!$L$18</c:f>
              <c:strCache>
                <c:ptCount val="1"/>
                <c:pt idx="0">
                  <c:v>50% reduction target</c:v>
                </c:pt>
              </c:strCache>
            </c:strRef>
          </c:tx>
          <c:marker>
            <c:symbol val="none"/>
          </c:marker>
          <c:cat>
            <c:numRef>
              <c:f>'fixed target'!$B$19:$B$1898</c:f>
              <c:numCache>
                <c:formatCode>m/d/yyyy</c:formatCode>
                <c:ptCount val="1880"/>
                <c:pt idx="0">
                  <c:v>40987</c:v>
                </c:pt>
                <c:pt idx="1">
                  <c:v>40988</c:v>
                </c:pt>
                <c:pt idx="2">
                  <c:v>40989</c:v>
                </c:pt>
                <c:pt idx="3">
                  <c:v>40990</c:v>
                </c:pt>
                <c:pt idx="4">
                  <c:v>40991</c:v>
                </c:pt>
                <c:pt idx="5">
                  <c:v>40994</c:v>
                </c:pt>
                <c:pt idx="6">
                  <c:v>40995</c:v>
                </c:pt>
                <c:pt idx="7">
                  <c:v>40996</c:v>
                </c:pt>
                <c:pt idx="8">
                  <c:v>40997</c:v>
                </c:pt>
                <c:pt idx="9">
                  <c:v>40998</c:v>
                </c:pt>
                <c:pt idx="10">
                  <c:v>41001</c:v>
                </c:pt>
                <c:pt idx="11">
                  <c:v>41002</c:v>
                </c:pt>
                <c:pt idx="12">
                  <c:v>41003</c:v>
                </c:pt>
                <c:pt idx="13">
                  <c:v>41004</c:v>
                </c:pt>
                <c:pt idx="14">
                  <c:v>41005</c:v>
                </c:pt>
                <c:pt idx="15">
                  <c:v>41008</c:v>
                </c:pt>
                <c:pt idx="16">
                  <c:v>41009</c:v>
                </c:pt>
                <c:pt idx="17">
                  <c:v>41010</c:v>
                </c:pt>
                <c:pt idx="18">
                  <c:v>41011</c:v>
                </c:pt>
                <c:pt idx="19">
                  <c:v>41012</c:v>
                </c:pt>
                <c:pt idx="20">
                  <c:v>41015</c:v>
                </c:pt>
                <c:pt idx="21">
                  <c:v>41016</c:v>
                </c:pt>
                <c:pt idx="22">
                  <c:v>41017</c:v>
                </c:pt>
                <c:pt idx="23">
                  <c:v>41018</c:v>
                </c:pt>
                <c:pt idx="24">
                  <c:v>41019</c:v>
                </c:pt>
                <c:pt idx="25">
                  <c:v>41022</c:v>
                </c:pt>
                <c:pt idx="26">
                  <c:v>41023</c:v>
                </c:pt>
                <c:pt idx="27">
                  <c:v>41024</c:v>
                </c:pt>
                <c:pt idx="28">
                  <c:v>41025</c:v>
                </c:pt>
                <c:pt idx="29">
                  <c:v>41026</c:v>
                </c:pt>
                <c:pt idx="30">
                  <c:v>41029</c:v>
                </c:pt>
                <c:pt idx="31">
                  <c:v>41030</c:v>
                </c:pt>
                <c:pt idx="32">
                  <c:v>41031</c:v>
                </c:pt>
                <c:pt idx="33">
                  <c:v>41032</c:v>
                </c:pt>
                <c:pt idx="34">
                  <c:v>41033</c:v>
                </c:pt>
                <c:pt idx="35">
                  <c:v>41036</c:v>
                </c:pt>
                <c:pt idx="36">
                  <c:v>41037</c:v>
                </c:pt>
                <c:pt idx="37">
                  <c:v>41038</c:v>
                </c:pt>
                <c:pt idx="38">
                  <c:v>41039</c:v>
                </c:pt>
                <c:pt idx="39">
                  <c:v>41040</c:v>
                </c:pt>
                <c:pt idx="40">
                  <c:v>41043</c:v>
                </c:pt>
                <c:pt idx="41">
                  <c:v>41044</c:v>
                </c:pt>
                <c:pt idx="42">
                  <c:v>41045</c:v>
                </c:pt>
                <c:pt idx="43">
                  <c:v>41046</c:v>
                </c:pt>
                <c:pt idx="44">
                  <c:v>41047</c:v>
                </c:pt>
                <c:pt idx="45">
                  <c:v>41050</c:v>
                </c:pt>
                <c:pt idx="46">
                  <c:v>41051</c:v>
                </c:pt>
                <c:pt idx="47">
                  <c:v>41052</c:v>
                </c:pt>
                <c:pt idx="48">
                  <c:v>41053</c:v>
                </c:pt>
                <c:pt idx="49">
                  <c:v>41054</c:v>
                </c:pt>
                <c:pt idx="50">
                  <c:v>41057</c:v>
                </c:pt>
                <c:pt idx="51">
                  <c:v>41058</c:v>
                </c:pt>
                <c:pt idx="52">
                  <c:v>41059</c:v>
                </c:pt>
                <c:pt idx="53">
                  <c:v>41060</c:v>
                </c:pt>
                <c:pt idx="54">
                  <c:v>41061</c:v>
                </c:pt>
                <c:pt idx="55">
                  <c:v>41064</c:v>
                </c:pt>
                <c:pt idx="56">
                  <c:v>41065</c:v>
                </c:pt>
                <c:pt idx="57">
                  <c:v>41066</c:v>
                </c:pt>
                <c:pt idx="58">
                  <c:v>41067</c:v>
                </c:pt>
                <c:pt idx="59">
                  <c:v>41068</c:v>
                </c:pt>
                <c:pt idx="60">
                  <c:v>41071</c:v>
                </c:pt>
                <c:pt idx="61">
                  <c:v>41072</c:v>
                </c:pt>
                <c:pt idx="62">
                  <c:v>41073</c:v>
                </c:pt>
                <c:pt idx="63">
                  <c:v>41074</c:v>
                </c:pt>
                <c:pt idx="64">
                  <c:v>41075</c:v>
                </c:pt>
                <c:pt idx="65">
                  <c:v>41078</c:v>
                </c:pt>
                <c:pt idx="66">
                  <c:v>41079</c:v>
                </c:pt>
                <c:pt idx="67">
                  <c:v>41080</c:v>
                </c:pt>
                <c:pt idx="68">
                  <c:v>41081</c:v>
                </c:pt>
                <c:pt idx="69">
                  <c:v>41082</c:v>
                </c:pt>
                <c:pt idx="70">
                  <c:v>41085</c:v>
                </c:pt>
                <c:pt idx="71">
                  <c:v>41086</c:v>
                </c:pt>
                <c:pt idx="72">
                  <c:v>41087</c:v>
                </c:pt>
                <c:pt idx="73">
                  <c:v>41088</c:v>
                </c:pt>
                <c:pt idx="74">
                  <c:v>41089</c:v>
                </c:pt>
                <c:pt idx="75">
                  <c:v>41092</c:v>
                </c:pt>
                <c:pt idx="76">
                  <c:v>41093</c:v>
                </c:pt>
                <c:pt idx="77">
                  <c:v>41094</c:v>
                </c:pt>
                <c:pt idx="78">
                  <c:v>41095</c:v>
                </c:pt>
                <c:pt idx="79">
                  <c:v>41096</c:v>
                </c:pt>
                <c:pt idx="80">
                  <c:v>41099</c:v>
                </c:pt>
                <c:pt idx="81">
                  <c:v>41100</c:v>
                </c:pt>
                <c:pt idx="82">
                  <c:v>41101</c:v>
                </c:pt>
                <c:pt idx="83">
                  <c:v>41102</c:v>
                </c:pt>
                <c:pt idx="84">
                  <c:v>41103</c:v>
                </c:pt>
                <c:pt idx="85">
                  <c:v>41106</c:v>
                </c:pt>
                <c:pt idx="86">
                  <c:v>41107</c:v>
                </c:pt>
                <c:pt idx="87">
                  <c:v>41108</c:v>
                </c:pt>
                <c:pt idx="88">
                  <c:v>41109</c:v>
                </c:pt>
                <c:pt idx="89">
                  <c:v>41110</c:v>
                </c:pt>
                <c:pt idx="90">
                  <c:v>41113</c:v>
                </c:pt>
                <c:pt idx="91">
                  <c:v>41114</c:v>
                </c:pt>
                <c:pt idx="92">
                  <c:v>41115</c:v>
                </c:pt>
                <c:pt idx="93">
                  <c:v>41116</c:v>
                </c:pt>
                <c:pt idx="94">
                  <c:v>41117</c:v>
                </c:pt>
                <c:pt idx="95">
                  <c:v>41120</c:v>
                </c:pt>
                <c:pt idx="96">
                  <c:v>41121</c:v>
                </c:pt>
                <c:pt idx="97">
                  <c:v>41122</c:v>
                </c:pt>
                <c:pt idx="98">
                  <c:v>41123</c:v>
                </c:pt>
                <c:pt idx="99">
                  <c:v>41124</c:v>
                </c:pt>
                <c:pt idx="100">
                  <c:v>41127</c:v>
                </c:pt>
                <c:pt idx="101">
                  <c:v>41128</c:v>
                </c:pt>
                <c:pt idx="102">
                  <c:v>41129</c:v>
                </c:pt>
                <c:pt idx="103">
                  <c:v>41130</c:v>
                </c:pt>
                <c:pt idx="104">
                  <c:v>41131</c:v>
                </c:pt>
                <c:pt idx="105">
                  <c:v>41134</c:v>
                </c:pt>
                <c:pt idx="106">
                  <c:v>41135</c:v>
                </c:pt>
                <c:pt idx="107">
                  <c:v>41136</c:v>
                </c:pt>
                <c:pt idx="108">
                  <c:v>41137</c:v>
                </c:pt>
                <c:pt idx="109">
                  <c:v>41138</c:v>
                </c:pt>
                <c:pt idx="110">
                  <c:v>41141</c:v>
                </c:pt>
                <c:pt idx="111">
                  <c:v>41142</c:v>
                </c:pt>
                <c:pt idx="112">
                  <c:v>41143</c:v>
                </c:pt>
                <c:pt idx="113">
                  <c:v>41144</c:v>
                </c:pt>
                <c:pt idx="114">
                  <c:v>41145</c:v>
                </c:pt>
                <c:pt idx="115">
                  <c:v>41148</c:v>
                </c:pt>
                <c:pt idx="116">
                  <c:v>41149</c:v>
                </c:pt>
                <c:pt idx="117">
                  <c:v>41150</c:v>
                </c:pt>
                <c:pt idx="118">
                  <c:v>41151</c:v>
                </c:pt>
                <c:pt idx="119">
                  <c:v>41152</c:v>
                </c:pt>
                <c:pt idx="120">
                  <c:v>41155</c:v>
                </c:pt>
                <c:pt idx="121">
                  <c:v>41156</c:v>
                </c:pt>
                <c:pt idx="122">
                  <c:v>41157</c:v>
                </c:pt>
                <c:pt idx="123">
                  <c:v>41158</c:v>
                </c:pt>
                <c:pt idx="124">
                  <c:v>41159</c:v>
                </c:pt>
                <c:pt idx="125">
                  <c:v>41162</c:v>
                </c:pt>
                <c:pt idx="126">
                  <c:v>41163</c:v>
                </c:pt>
                <c:pt idx="127">
                  <c:v>41164</c:v>
                </c:pt>
                <c:pt idx="128">
                  <c:v>41165</c:v>
                </c:pt>
                <c:pt idx="129">
                  <c:v>41166</c:v>
                </c:pt>
                <c:pt idx="130">
                  <c:v>41169</c:v>
                </c:pt>
                <c:pt idx="131">
                  <c:v>41170</c:v>
                </c:pt>
                <c:pt idx="132">
                  <c:v>41171</c:v>
                </c:pt>
                <c:pt idx="133">
                  <c:v>41172</c:v>
                </c:pt>
                <c:pt idx="134">
                  <c:v>41173</c:v>
                </c:pt>
                <c:pt idx="135">
                  <c:v>41176</c:v>
                </c:pt>
                <c:pt idx="136">
                  <c:v>41177</c:v>
                </c:pt>
                <c:pt idx="137">
                  <c:v>41178</c:v>
                </c:pt>
                <c:pt idx="138">
                  <c:v>41179</c:v>
                </c:pt>
                <c:pt idx="139">
                  <c:v>41180</c:v>
                </c:pt>
                <c:pt idx="140">
                  <c:v>41183</c:v>
                </c:pt>
                <c:pt idx="141">
                  <c:v>41184</c:v>
                </c:pt>
                <c:pt idx="142">
                  <c:v>41185</c:v>
                </c:pt>
                <c:pt idx="143">
                  <c:v>41186</c:v>
                </c:pt>
                <c:pt idx="144">
                  <c:v>41187</c:v>
                </c:pt>
                <c:pt idx="145">
                  <c:v>41190</c:v>
                </c:pt>
                <c:pt idx="146">
                  <c:v>41191</c:v>
                </c:pt>
                <c:pt idx="147">
                  <c:v>41192</c:v>
                </c:pt>
                <c:pt idx="148">
                  <c:v>41193</c:v>
                </c:pt>
                <c:pt idx="149">
                  <c:v>41194</c:v>
                </c:pt>
                <c:pt idx="150">
                  <c:v>41197</c:v>
                </c:pt>
                <c:pt idx="151">
                  <c:v>41198</c:v>
                </c:pt>
                <c:pt idx="152">
                  <c:v>41199</c:v>
                </c:pt>
                <c:pt idx="153">
                  <c:v>41200</c:v>
                </c:pt>
                <c:pt idx="154">
                  <c:v>41201</c:v>
                </c:pt>
                <c:pt idx="155">
                  <c:v>41204</c:v>
                </c:pt>
                <c:pt idx="156">
                  <c:v>41205</c:v>
                </c:pt>
                <c:pt idx="157">
                  <c:v>41206</c:v>
                </c:pt>
                <c:pt idx="158">
                  <c:v>41207</c:v>
                </c:pt>
                <c:pt idx="159">
                  <c:v>41208</c:v>
                </c:pt>
                <c:pt idx="160">
                  <c:v>41211</c:v>
                </c:pt>
                <c:pt idx="161">
                  <c:v>41212</c:v>
                </c:pt>
                <c:pt idx="162">
                  <c:v>41213</c:v>
                </c:pt>
                <c:pt idx="163">
                  <c:v>41214</c:v>
                </c:pt>
                <c:pt idx="164">
                  <c:v>41215</c:v>
                </c:pt>
                <c:pt idx="165">
                  <c:v>41218</c:v>
                </c:pt>
                <c:pt idx="166">
                  <c:v>41219</c:v>
                </c:pt>
                <c:pt idx="167">
                  <c:v>41220</c:v>
                </c:pt>
                <c:pt idx="168">
                  <c:v>41221</c:v>
                </c:pt>
                <c:pt idx="169">
                  <c:v>41222</c:v>
                </c:pt>
                <c:pt idx="170">
                  <c:v>41225</c:v>
                </c:pt>
                <c:pt idx="171">
                  <c:v>41226</c:v>
                </c:pt>
                <c:pt idx="172">
                  <c:v>41227</c:v>
                </c:pt>
                <c:pt idx="173">
                  <c:v>41228</c:v>
                </c:pt>
                <c:pt idx="174">
                  <c:v>41229</c:v>
                </c:pt>
                <c:pt idx="175">
                  <c:v>41232</c:v>
                </c:pt>
                <c:pt idx="176">
                  <c:v>41233</c:v>
                </c:pt>
                <c:pt idx="177">
                  <c:v>41234</c:v>
                </c:pt>
                <c:pt idx="178">
                  <c:v>41235</c:v>
                </c:pt>
                <c:pt idx="179">
                  <c:v>41236</c:v>
                </c:pt>
                <c:pt idx="180">
                  <c:v>41239</c:v>
                </c:pt>
                <c:pt idx="181">
                  <c:v>41240</c:v>
                </c:pt>
                <c:pt idx="182">
                  <c:v>41241</c:v>
                </c:pt>
                <c:pt idx="183">
                  <c:v>41242</c:v>
                </c:pt>
                <c:pt idx="184">
                  <c:v>41243</c:v>
                </c:pt>
                <c:pt idx="185">
                  <c:v>41246</c:v>
                </c:pt>
                <c:pt idx="186">
                  <c:v>41247</c:v>
                </c:pt>
                <c:pt idx="187">
                  <c:v>41248</c:v>
                </c:pt>
                <c:pt idx="188">
                  <c:v>41249</c:v>
                </c:pt>
                <c:pt idx="189">
                  <c:v>41250</c:v>
                </c:pt>
                <c:pt idx="190">
                  <c:v>41253</c:v>
                </c:pt>
                <c:pt idx="191">
                  <c:v>41254</c:v>
                </c:pt>
                <c:pt idx="192">
                  <c:v>41255</c:v>
                </c:pt>
                <c:pt idx="193">
                  <c:v>41256</c:v>
                </c:pt>
                <c:pt idx="194">
                  <c:v>41257</c:v>
                </c:pt>
                <c:pt idx="195">
                  <c:v>41260</c:v>
                </c:pt>
                <c:pt idx="196">
                  <c:v>41261</c:v>
                </c:pt>
                <c:pt idx="197">
                  <c:v>41262</c:v>
                </c:pt>
                <c:pt idx="198">
                  <c:v>41263</c:v>
                </c:pt>
                <c:pt idx="199">
                  <c:v>41264</c:v>
                </c:pt>
                <c:pt idx="200">
                  <c:v>41267</c:v>
                </c:pt>
                <c:pt idx="201">
                  <c:v>41268</c:v>
                </c:pt>
                <c:pt idx="202">
                  <c:v>41269</c:v>
                </c:pt>
                <c:pt idx="203">
                  <c:v>41270</c:v>
                </c:pt>
                <c:pt idx="204">
                  <c:v>41271</c:v>
                </c:pt>
                <c:pt idx="205">
                  <c:v>41274</c:v>
                </c:pt>
                <c:pt idx="206">
                  <c:v>41275</c:v>
                </c:pt>
                <c:pt idx="207">
                  <c:v>41276</c:v>
                </c:pt>
                <c:pt idx="208">
                  <c:v>41277</c:v>
                </c:pt>
                <c:pt idx="209">
                  <c:v>41278</c:v>
                </c:pt>
                <c:pt idx="210">
                  <c:v>41281</c:v>
                </c:pt>
                <c:pt idx="211">
                  <c:v>41282</c:v>
                </c:pt>
                <c:pt idx="212">
                  <c:v>41283</c:v>
                </c:pt>
                <c:pt idx="213">
                  <c:v>41284</c:v>
                </c:pt>
                <c:pt idx="214">
                  <c:v>41285</c:v>
                </c:pt>
                <c:pt idx="215">
                  <c:v>41288</c:v>
                </c:pt>
                <c:pt idx="216">
                  <c:v>41289</c:v>
                </c:pt>
                <c:pt idx="217">
                  <c:v>41290</c:v>
                </c:pt>
                <c:pt idx="218">
                  <c:v>41291</c:v>
                </c:pt>
                <c:pt idx="219">
                  <c:v>41292</c:v>
                </c:pt>
                <c:pt idx="220">
                  <c:v>41295</c:v>
                </c:pt>
                <c:pt idx="221">
                  <c:v>41296</c:v>
                </c:pt>
                <c:pt idx="222">
                  <c:v>41297</c:v>
                </c:pt>
                <c:pt idx="223">
                  <c:v>41298</c:v>
                </c:pt>
                <c:pt idx="224">
                  <c:v>41299</c:v>
                </c:pt>
                <c:pt idx="225">
                  <c:v>41302</c:v>
                </c:pt>
                <c:pt idx="226">
                  <c:v>41303</c:v>
                </c:pt>
                <c:pt idx="227">
                  <c:v>41304</c:v>
                </c:pt>
                <c:pt idx="228">
                  <c:v>41305</c:v>
                </c:pt>
                <c:pt idx="229">
                  <c:v>41306</c:v>
                </c:pt>
                <c:pt idx="230">
                  <c:v>41309</c:v>
                </c:pt>
                <c:pt idx="231">
                  <c:v>41310</c:v>
                </c:pt>
                <c:pt idx="232">
                  <c:v>41311</c:v>
                </c:pt>
                <c:pt idx="233">
                  <c:v>41312</c:v>
                </c:pt>
                <c:pt idx="234">
                  <c:v>41313</c:v>
                </c:pt>
                <c:pt idx="235">
                  <c:v>41316</c:v>
                </c:pt>
                <c:pt idx="236">
                  <c:v>41317</c:v>
                </c:pt>
                <c:pt idx="237">
                  <c:v>41318</c:v>
                </c:pt>
                <c:pt idx="238">
                  <c:v>41319</c:v>
                </c:pt>
                <c:pt idx="239">
                  <c:v>41320</c:v>
                </c:pt>
                <c:pt idx="240">
                  <c:v>41323</c:v>
                </c:pt>
                <c:pt idx="241">
                  <c:v>41324</c:v>
                </c:pt>
                <c:pt idx="242">
                  <c:v>41325</c:v>
                </c:pt>
                <c:pt idx="243">
                  <c:v>41326</c:v>
                </c:pt>
                <c:pt idx="244">
                  <c:v>41327</c:v>
                </c:pt>
                <c:pt idx="245">
                  <c:v>41330</c:v>
                </c:pt>
                <c:pt idx="246">
                  <c:v>41331</c:v>
                </c:pt>
                <c:pt idx="247">
                  <c:v>41332</c:v>
                </c:pt>
                <c:pt idx="248">
                  <c:v>41333</c:v>
                </c:pt>
                <c:pt idx="249">
                  <c:v>41334</c:v>
                </c:pt>
                <c:pt idx="250">
                  <c:v>41337</c:v>
                </c:pt>
                <c:pt idx="251">
                  <c:v>41338</c:v>
                </c:pt>
                <c:pt idx="252">
                  <c:v>41339</c:v>
                </c:pt>
                <c:pt idx="253">
                  <c:v>41340</c:v>
                </c:pt>
                <c:pt idx="254">
                  <c:v>41341</c:v>
                </c:pt>
                <c:pt idx="255">
                  <c:v>41344</c:v>
                </c:pt>
                <c:pt idx="256">
                  <c:v>41345</c:v>
                </c:pt>
                <c:pt idx="257">
                  <c:v>41346</c:v>
                </c:pt>
                <c:pt idx="258">
                  <c:v>41347</c:v>
                </c:pt>
                <c:pt idx="259">
                  <c:v>41348</c:v>
                </c:pt>
                <c:pt idx="260">
                  <c:v>41351</c:v>
                </c:pt>
                <c:pt idx="261">
                  <c:v>41352</c:v>
                </c:pt>
                <c:pt idx="262">
                  <c:v>41353</c:v>
                </c:pt>
                <c:pt idx="263">
                  <c:v>41354</c:v>
                </c:pt>
                <c:pt idx="264">
                  <c:v>41355</c:v>
                </c:pt>
                <c:pt idx="265">
                  <c:v>41358</c:v>
                </c:pt>
                <c:pt idx="266">
                  <c:v>41359</c:v>
                </c:pt>
                <c:pt idx="267">
                  <c:v>41360</c:v>
                </c:pt>
                <c:pt idx="268">
                  <c:v>41361</c:v>
                </c:pt>
                <c:pt idx="269">
                  <c:v>41362</c:v>
                </c:pt>
                <c:pt idx="270">
                  <c:v>41365</c:v>
                </c:pt>
                <c:pt idx="271">
                  <c:v>41366</c:v>
                </c:pt>
                <c:pt idx="272">
                  <c:v>41367</c:v>
                </c:pt>
                <c:pt idx="273">
                  <c:v>41368</c:v>
                </c:pt>
                <c:pt idx="274">
                  <c:v>41369</c:v>
                </c:pt>
                <c:pt idx="275">
                  <c:v>41372</c:v>
                </c:pt>
                <c:pt idx="276">
                  <c:v>41373</c:v>
                </c:pt>
                <c:pt idx="277">
                  <c:v>41374</c:v>
                </c:pt>
                <c:pt idx="278">
                  <c:v>41375</c:v>
                </c:pt>
                <c:pt idx="279">
                  <c:v>41376</c:v>
                </c:pt>
                <c:pt idx="280">
                  <c:v>41379</c:v>
                </c:pt>
                <c:pt idx="281">
                  <c:v>41380</c:v>
                </c:pt>
                <c:pt idx="282">
                  <c:v>41381</c:v>
                </c:pt>
                <c:pt idx="283">
                  <c:v>41382</c:v>
                </c:pt>
                <c:pt idx="284">
                  <c:v>41383</c:v>
                </c:pt>
                <c:pt idx="285">
                  <c:v>41386</c:v>
                </c:pt>
                <c:pt idx="286">
                  <c:v>41387</c:v>
                </c:pt>
                <c:pt idx="287">
                  <c:v>41388</c:v>
                </c:pt>
                <c:pt idx="288">
                  <c:v>41389</c:v>
                </c:pt>
                <c:pt idx="289">
                  <c:v>41390</c:v>
                </c:pt>
                <c:pt idx="290">
                  <c:v>41393</c:v>
                </c:pt>
                <c:pt idx="291">
                  <c:v>41394</c:v>
                </c:pt>
                <c:pt idx="292">
                  <c:v>41395</c:v>
                </c:pt>
                <c:pt idx="293">
                  <c:v>41396</c:v>
                </c:pt>
                <c:pt idx="294">
                  <c:v>41397</c:v>
                </c:pt>
                <c:pt idx="295">
                  <c:v>41400</c:v>
                </c:pt>
                <c:pt idx="296">
                  <c:v>41401</c:v>
                </c:pt>
                <c:pt idx="297">
                  <c:v>41402</c:v>
                </c:pt>
                <c:pt idx="298">
                  <c:v>41403</c:v>
                </c:pt>
                <c:pt idx="299">
                  <c:v>41404</c:v>
                </c:pt>
                <c:pt idx="300">
                  <c:v>41407</c:v>
                </c:pt>
                <c:pt idx="301">
                  <c:v>41408</c:v>
                </c:pt>
                <c:pt idx="302">
                  <c:v>41409</c:v>
                </c:pt>
                <c:pt idx="303">
                  <c:v>41410</c:v>
                </c:pt>
                <c:pt idx="304">
                  <c:v>41411</c:v>
                </c:pt>
                <c:pt idx="305">
                  <c:v>41414</c:v>
                </c:pt>
                <c:pt idx="306">
                  <c:v>41415</c:v>
                </c:pt>
                <c:pt idx="307">
                  <c:v>41416</c:v>
                </c:pt>
                <c:pt idx="308">
                  <c:v>41417</c:v>
                </c:pt>
                <c:pt idx="309">
                  <c:v>41418</c:v>
                </c:pt>
                <c:pt idx="310">
                  <c:v>41421</c:v>
                </c:pt>
                <c:pt idx="311">
                  <c:v>41422</c:v>
                </c:pt>
                <c:pt idx="312">
                  <c:v>41423</c:v>
                </c:pt>
                <c:pt idx="313">
                  <c:v>41424</c:v>
                </c:pt>
                <c:pt idx="314">
                  <c:v>41425</c:v>
                </c:pt>
                <c:pt idx="315">
                  <c:v>41428</c:v>
                </c:pt>
                <c:pt idx="316">
                  <c:v>41429</c:v>
                </c:pt>
                <c:pt idx="317">
                  <c:v>41430</c:v>
                </c:pt>
                <c:pt idx="318">
                  <c:v>41431</c:v>
                </c:pt>
                <c:pt idx="319">
                  <c:v>41432</c:v>
                </c:pt>
                <c:pt idx="320">
                  <c:v>41435</c:v>
                </c:pt>
                <c:pt idx="321">
                  <c:v>41436</c:v>
                </c:pt>
                <c:pt idx="322">
                  <c:v>41437</c:v>
                </c:pt>
                <c:pt idx="323">
                  <c:v>41438</c:v>
                </c:pt>
                <c:pt idx="324">
                  <c:v>41439</c:v>
                </c:pt>
                <c:pt idx="325">
                  <c:v>41442</c:v>
                </c:pt>
                <c:pt idx="326">
                  <c:v>41443</c:v>
                </c:pt>
                <c:pt idx="327">
                  <c:v>41444</c:v>
                </c:pt>
                <c:pt idx="328">
                  <c:v>41445</c:v>
                </c:pt>
                <c:pt idx="329">
                  <c:v>41446</c:v>
                </c:pt>
                <c:pt idx="330">
                  <c:v>41449</c:v>
                </c:pt>
                <c:pt idx="331">
                  <c:v>41450</c:v>
                </c:pt>
                <c:pt idx="332">
                  <c:v>41451</c:v>
                </c:pt>
                <c:pt idx="333">
                  <c:v>41452</c:v>
                </c:pt>
                <c:pt idx="334">
                  <c:v>41453</c:v>
                </c:pt>
                <c:pt idx="335">
                  <c:v>41456</c:v>
                </c:pt>
                <c:pt idx="336">
                  <c:v>41457</c:v>
                </c:pt>
                <c:pt idx="337">
                  <c:v>41458</c:v>
                </c:pt>
                <c:pt idx="338">
                  <c:v>41459</c:v>
                </c:pt>
                <c:pt idx="339">
                  <c:v>41460</c:v>
                </c:pt>
                <c:pt idx="340">
                  <c:v>41463</c:v>
                </c:pt>
                <c:pt idx="341">
                  <c:v>41464</c:v>
                </c:pt>
                <c:pt idx="342">
                  <c:v>41465</c:v>
                </c:pt>
                <c:pt idx="343">
                  <c:v>41466</c:v>
                </c:pt>
                <c:pt idx="344">
                  <c:v>41467</c:v>
                </c:pt>
                <c:pt idx="345">
                  <c:v>41470</c:v>
                </c:pt>
                <c:pt idx="346">
                  <c:v>41471</c:v>
                </c:pt>
                <c:pt idx="347">
                  <c:v>41472</c:v>
                </c:pt>
                <c:pt idx="348">
                  <c:v>41473</c:v>
                </c:pt>
                <c:pt idx="349">
                  <c:v>41474</c:v>
                </c:pt>
                <c:pt idx="350">
                  <c:v>41477</c:v>
                </c:pt>
                <c:pt idx="351">
                  <c:v>41478</c:v>
                </c:pt>
                <c:pt idx="352">
                  <c:v>41479</c:v>
                </c:pt>
                <c:pt idx="353">
                  <c:v>41480</c:v>
                </c:pt>
                <c:pt idx="354">
                  <c:v>41481</c:v>
                </c:pt>
                <c:pt idx="355">
                  <c:v>41484</c:v>
                </c:pt>
                <c:pt idx="356">
                  <c:v>41485</c:v>
                </c:pt>
                <c:pt idx="357">
                  <c:v>41486</c:v>
                </c:pt>
                <c:pt idx="358">
                  <c:v>41487</c:v>
                </c:pt>
                <c:pt idx="359">
                  <c:v>41488</c:v>
                </c:pt>
                <c:pt idx="360">
                  <c:v>41491</c:v>
                </c:pt>
                <c:pt idx="361">
                  <c:v>41492</c:v>
                </c:pt>
                <c:pt idx="362">
                  <c:v>41493</c:v>
                </c:pt>
                <c:pt idx="363">
                  <c:v>41494</c:v>
                </c:pt>
                <c:pt idx="364">
                  <c:v>41495</c:v>
                </c:pt>
                <c:pt idx="365">
                  <c:v>41498</c:v>
                </c:pt>
                <c:pt idx="366">
                  <c:v>41499</c:v>
                </c:pt>
                <c:pt idx="367">
                  <c:v>41500</c:v>
                </c:pt>
                <c:pt idx="368">
                  <c:v>41501</c:v>
                </c:pt>
                <c:pt idx="369">
                  <c:v>41502</c:v>
                </c:pt>
                <c:pt idx="370">
                  <c:v>41505</c:v>
                </c:pt>
                <c:pt idx="371">
                  <c:v>41506</c:v>
                </c:pt>
                <c:pt idx="372">
                  <c:v>41507</c:v>
                </c:pt>
                <c:pt idx="373">
                  <c:v>41508</c:v>
                </c:pt>
                <c:pt idx="374">
                  <c:v>41509</c:v>
                </c:pt>
                <c:pt idx="375">
                  <c:v>41512</c:v>
                </c:pt>
                <c:pt idx="376">
                  <c:v>41513</c:v>
                </c:pt>
                <c:pt idx="377">
                  <c:v>41514</c:v>
                </c:pt>
                <c:pt idx="378">
                  <c:v>41515</c:v>
                </c:pt>
                <c:pt idx="379">
                  <c:v>41516</c:v>
                </c:pt>
                <c:pt idx="380">
                  <c:v>41519</c:v>
                </c:pt>
                <c:pt idx="381">
                  <c:v>41520</c:v>
                </c:pt>
                <c:pt idx="382">
                  <c:v>41521</c:v>
                </c:pt>
                <c:pt idx="383">
                  <c:v>41522</c:v>
                </c:pt>
                <c:pt idx="384">
                  <c:v>41523</c:v>
                </c:pt>
                <c:pt idx="385">
                  <c:v>41526</c:v>
                </c:pt>
                <c:pt idx="386">
                  <c:v>41527</c:v>
                </c:pt>
                <c:pt idx="387">
                  <c:v>41528</c:v>
                </c:pt>
                <c:pt idx="388">
                  <c:v>41529</c:v>
                </c:pt>
                <c:pt idx="389">
                  <c:v>41530</c:v>
                </c:pt>
                <c:pt idx="390">
                  <c:v>41533</c:v>
                </c:pt>
                <c:pt idx="391">
                  <c:v>41534</c:v>
                </c:pt>
                <c:pt idx="392">
                  <c:v>41535</c:v>
                </c:pt>
                <c:pt idx="393">
                  <c:v>41536</c:v>
                </c:pt>
                <c:pt idx="394">
                  <c:v>41537</c:v>
                </c:pt>
                <c:pt idx="395">
                  <c:v>41540</c:v>
                </c:pt>
                <c:pt idx="396">
                  <c:v>41541</c:v>
                </c:pt>
                <c:pt idx="397">
                  <c:v>41542</c:v>
                </c:pt>
                <c:pt idx="398">
                  <c:v>41543</c:v>
                </c:pt>
                <c:pt idx="399">
                  <c:v>41544</c:v>
                </c:pt>
                <c:pt idx="400">
                  <c:v>41547</c:v>
                </c:pt>
                <c:pt idx="401">
                  <c:v>41548</c:v>
                </c:pt>
                <c:pt idx="402">
                  <c:v>41549</c:v>
                </c:pt>
                <c:pt idx="403">
                  <c:v>41550</c:v>
                </c:pt>
                <c:pt idx="404">
                  <c:v>41551</c:v>
                </c:pt>
                <c:pt idx="405">
                  <c:v>41554</c:v>
                </c:pt>
                <c:pt idx="406">
                  <c:v>41555</c:v>
                </c:pt>
                <c:pt idx="407">
                  <c:v>41556</c:v>
                </c:pt>
                <c:pt idx="408">
                  <c:v>41557</c:v>
                </c:pt>
                <c:pt idx="409">
                  <c:v>41558</c:v>
                </c:pt>
                <c:pt idx="410">
                  <c:v>41561</c:v>
                </c:pt>
                <c:pt idx="411">
                  <c:v>41562</c:v>
                </c:pt>
                <c:pt idx="412">
                  <c:v>41563</c:v>
                </c:pt>
                <c:pt idx="413">
                  <c:v>41564</c:v>
                </c:pt>
                <c:pt idx="414">
                  <c:v>41565</c:v>
                </c:pt>
                <c:pt idx="415">
                  <c:v>41568</c:v>
                </c:pt>
                <c:pt idx="416">
                  <c:v>41569</c:v>
                </c:pt>
                <c:pt idx="417">
                  <c:v>41570</c:v>
                </c:pt>
                <c:pt idx="418">
                  <c:v>41571</c:v>
                </c:pt>
                <c:pt idx="419">
                  <c:v>41572</c:v>
                </c:pt>
                <c:pt idx="420">
                  <c:v>41575</c:v>
                </c:pt>
                <c:pt idx="421">
                  <c:v>41576</c:v>
                </c:pt>
                <c:pt idx="422">
                  <c:v>41577</c:v>
                </c:pt>
                <c:pt idx="423">
                  <c:v>41578</c:v>
                </c:pt>
                <c:pt idx="424">
                  <c:v>41579</c:v>
                </c:pt>
                <c:pt idx="425">
                  <c:v>41582</c:v>
                </c:pt>
                <c:pt idx="426">
                  <c:v>41583</c:v>
                </c:pt>
                <c:pt idx="427">
                  <c:v>41584</c:v>
                </c:pt>
                <c:pt idx="428">
                  <c:v>41585</c:v>
                </c:pt>
                <c:pt idx="429">
                  <c:v>41586</c:v>
                </c:pt>
                <c:pt idx="430">
                  <c:v>41589</c:v>
                </c:pt>
                <c:pt idx="431">
                  <c:v>41590</c:v>
                </c:pt>
                <c:pt idx="432">
                  <c:v>41591</c:v>
                </c:pt>
                <c:pt idx="433">
                  <c:v>41592</c:v>
                </c:pt>
                <c:pt idx="434">
                  <c:v>41593</c:v>
                </c:pt>
                <c:pt idx="435">
                  <c:v>41596</c:v>
                </c:pt>
                <c:pt idx="436">
                  <c:v>41597</c:v>
                </c:pt>
                <c:pt idx="437">
                  <c:v>41598</c:v>
                </c:pt>
                <c:pt idx="438">
                  <c:v>41599</c:v>
                </c:pt>
                <c:pt idx="439">
                  <c:v>41600</c:v>
                </c:pt>
                <c:pt idx="440">
                  <c:v>41603</c:v>
                </c:pt>
                <c:pt idx="441">
                  <c:v>41604</c:v>
                </c:pt>
                <c:pt idx="442">
                  <c:v>41605</c:v>
                </c:pt>
                <c:pt idx="443">
                  <c:v>41606</c:v>
                </c:pt>
                <c:pt idx="444">
                  <c:v>41607</c:v>
                </c:pt>
                <c:pt idx="445">
                  <c:v>41610</c:v>
                </c:pt>
                <c:pt idx="446">
                  <c:v>41611</c:v>
                </c:pt>
                <c:pt idx="447">
                  <c:v>41612</c:v>
                </c:pt>
                <c:pt idx="448">
                  <c:v>41613</c:v>
                </c:pt>
                <c:pt idx="449">
                  <c:v>41614</c:v>
                </c:pt>
                <c:pt idx="450">
                  <c:v>41617</c:v>
                </c:pt>
                <c:pt idx="451">
                  <c:v>41618</c:v>
                </c:pt>
                <c:pt idx="452">
                  <c:v>41619</c:v>
                </c:pt>
                <c:pt idx="453">
                  <c:v>41620</c:v>
                </c:pt>
                <c:pt idx="454">
                  <c:v>41621</c:v>
                </c:pt>
                <c:pt idx="455">
                  <c:v>41624</c:v>
                </c:pt>
                <c:pt idx="456">
                  <c:v>41625</c:v>
                </c:pt>
                <c:pt idx="457">
                  <c:v>41626</c:v>
                </c:pt>
                <c:pt idx="458">
                  <c:v>41627</c:v>
                </c:pt>
                <c:pt idx="459">
                  <c:v>41628</c:v>
                </c:pt>
                <c:pt idx="460">
                  <c:v>41631</c:v>
                </c:pt>
                <c:pt idx="461">
                  <c:v>41632</c:v>
                </c:pt>
                <c:pt idx="462">
                  <c:v>41633</c:v>
                </c:pt>
                <c:pt idx="463">
                  <c:v>41634</c:v>
                </c:pt>
                <c:pt idx="464">
                  <c:v>41635</c:v>
                </c:pt>
                <c:pt idx="465">
                  <c:v>41638</c:v>
                </c:pt>
                <c:pt idx="466">
                  <c:v>41639</c:v>
                </c:pt>
                <c:pt idx="467">
                  <c:v>41640</c:v>
                </c:pt>
                <c:pt idx="468">
                  <c:v>41641</c:v>
                </c:pt>
                <c:pt idx="469">
                  <c:v>41642</c:v>
                </c:pt>
                <c:pt idx="470">
                  <c:v>41645</c:v>
                </c:pt>
                <c:pt idx="471">
                  <c:v>41646</c:v>
                </c:pt>
                <c:pt idx="472">
                  <c:v>41647</c:v>
                </c:pt>
                <c:pt idx="473">
                  <c:v>41648</c:v>
                </c:pt>
                <c:pt idx="474">
                  <c:v>41649</c:v>
                </c:pt>
                <c:pt idx="475">
                  <c:v>41652</c:v>
                </c:pt>
                <c:pt idx="476">
                  <c:v>41653</c:v>
                </c:pt>
                <c:pt idx="477">
                  <c:v>41654</c:v>
                </c:pt>
                <c:pt idx="478">
                  <c:v>41655</c:v>
                </c:pt>
                <c:pt idx="479">
                  <c:v>41656</c:v>
                </c:pt>
                <c:pt idx="480">
                  <c:v>41659</c:v>
                </c:pt>
                <c:pt idx="481">
                  <c:v>41660</c:v>
                </c:pt>
                <c:pt idx="482">
                  <c:v>41661</c:v>
                </c:pt>
                <c:pt idx="483">
                  <c:v>41662</c:v>
                </c:pt>
                <c:pt idx="484">
                  <c:v>41663</c:v>
                </c:pt>
                <c:pt idx="485">
                  <c:v>41666</c:v>
                </c:pt>
                <c:pt idx="486">
                  <c:v>41667</c:v>
                </c:pt>
                <c:pt idx="487">
                  <c:v>41668</c:v>
                </c:pt>
                <c:pt idx="488">
                  <c:v>41669</c:v>
                </c:pt>
                <c:pt idx="489">
                  <c:v>41670</c:v>
                </c:pt>
                <c:pt idx="490">
                  <c:v>41673</c:v>
                </c:pt>
                <c:pt idx="491">
                  <c:v>41674</c:v>
                </c:pt>
                <c:pt idx="492">
                  <c:v>41675</c:v>
                </c:pt>
                <c:pt idx="493">
                  <c:v>41676</c:v>
                </c:pt>
                <c:pt idx="494">
                  <c:v>41677</c:v>
                </c:pt>
                <c:pt idx="495">
                  <c:v>41680</c:v>
                </c:pt>
                <c:pt idx="496">
                  <c:v>41681</c:v>
                </c:pt>
                <c:pt idx="497">
                  <c:v>41682</c:v>
                </c:pt>
                <c:pt idx="498">
                  <c:v>41683</c:v>
                </c:pt>
                <c:pt idx="499">
                  <c:v>41684</c:v>
                </c:pt>
                <c:pt idx="500">
                  <c:v>41687</c:v>
                </c:pt>
                <c:pt idx="501">
                  <c:v>41688</c:v>
                </c:pt>
                <c:pt idx="502">
                  <c:v>41689</c:v>
                </c:pt>
                <c:pt idx="503">
                  <c:v>41690</c:v>
                </c:pt>
                <c:pt idx="504">
                  <c:v>41691</c:v>
                </c:pt>
                <c:pt idx="505">
                  <c:v>41694</c:v>
                </c:pt>
                <c:pt idx="506">
                  <c:v>41695</c:v>
                </c:pt>
                <c:pt idx="507">
                  <c:v>41696</c:v>
                </c:pt>
                <c:pt idx="508">
                  <c:v>41697</c:v>
                </c:pt>
                <c:pt idx="509">
                  <c:v>41698</c:v>
                </c:pt>
                <c:pt idx="510">
                  <c:v>41701</c:v>
                </c:pt>
                <c:pt idx="511">
                  <c:v>41702</c:v>
                </c:pt>
                <c:pt idx="512">
                  <c:v>41703</c:v>
                </c:pt>
                <c:pt idx="513">
                  <c:v>41704</c:v>
                </c:pt>
                <c:pt idx="514">
                  <c:v>41705</c:v>
                </c:pt>
                <c:pt idx="515">
                  <c:v>41708</c:v>
                </c:pt>
                <c:pt idx="516">
                  <c:v>41709</c:v>
                </c:pt>
                <c:pt idx="517">
                  <c:v>41710</c:v>
                </c:pt>
                <c:pt idx="518">
                  <c:v>41711</c:v>
                </c:pt>
                <c:pt idx="519">
                  <c:v>41712</c:v>
                </c:pt>
                <c:pt idx="520">
                  <c:v>41715</c:v>
                </c:pt>
                <c:pt idx="521">
                  <c:v>41716</c:v>
                </c:pt>
                <c:pt idx="522">
                  <c:v>41717</c:v>
                </c:pt>
                <c:pt idx="523">
                  <c:v>41718</c:v>
                </c:pt>
                <c:pt idx="524">
                  <c:v>41719</c:v>
                </c:pt>
                <c:pt idx="525">
                  <c:v>41722</c:v>
                </c:pt>
                <c:pt idx="526">
                  <c:v>41723</c:v>
                </c:pt>
                <c:pt idx="527">
                  <c:v>41724</c:v>
                </c:pt>
                <c:pt idx="528">
                  <c:v>41725</c:v>
                </c:pt>
                <c:pt idx="529">
                  <c:v>41726</c:v>
                </c:pt>
                <c:pt idx="530">
                  <c:v>41729</c:v>
                </c:pt>
                <c:pt idx="531">
                  <c:v>41730</c:v>
                </c:pt>
                <c:pt idx="532">
                  <c:v>41731</c:v>
                </c:pt>
                <c:pt idx="533">
                  <c:v>41732</c:v>
                </c:pt>
                <c:pt idx="534">
                  <c:v>41733</c:v>
                </c:pt>
                <c:pt idx="535">
                  <c:v>41736</c:v>
                </c:pt>
                <c:pt idx="536">
                  <c:v>41737</c:v>
                </c:pt>
                <c:pt idx="537">
                  <c:v>41738</c:v>
                </c:pt>
                <c:pt idx="538">
                  <c:v>41739</c:v>
                </c:pt>
                <c:pt idx="539">
                  <c:v>41740</c:v>
                </c:pt>
                <c:pt idx="540">
                  <c:v>41743</c:v>
                </c:pt>
                <c:pt idx="541">
                  <c:v>41744</c:v>
                </c:pt>
                <c:pt idx="542">
                  <c:v>41745</c:v>
                </c:pt>
                <c:pt idx="543">
                  <c:v>41746</c:v>
                </c:pt>
                <c:pt idx="544">
                  <c:v>41747</c:v>
                </c:pt>
                <c:pt idx="545">
                  <c:v>41750</c:v>
                </c:pt>
                <c:pt idx="546">
                  <c:v>41751</c:v>
                </c:pt>
                <c:pt idx="547">
                  <c:v>41752</c:v>
                </c:pt>
                <c:pt idx="548">
                  <c:v>41753</c:v>
                </c:pt>
                <c:pt idx="549">
                  <c:v>41754</c:v>
                </c:pt>
                <c:pt idx="550">
                  <c:v>41757</c:v>
                </c:pt>
                <c:pt idx="551">
                  <c:v>41758</c:v>
                </c:pt>
                <c:pt idx="552">
                  <c:v>41759</c:v>
                </c:pt>
                <c:pt idx="553">
                  <c:v>41760</c:v>
                </c:pt>
                <c:pt idx="554">
                  <c:v>41761</c:v>
                </c:pt>
                <c:pt idx="555">
                  <c:v>41764</c:v>
                </c:pt>
                <c:pt idx="556">
                  <c:v>41765</c:v>
                </c:pt>
                <c:pt idx="557">
                  <c:v>41766</c:v>
                </c:pt>
                <c:pt idx="558">
                  <c:v>41767</c:v>
                </c:pt>
                <c:pt idx="559">
                  <c:v>41768</c:v>
                </c:pt>
                <c:pt idx="560">
                  <c:v>41771</c:v>
                </c:pt>
                <c:pt idx="561">
                  <c:v>41772</c:v>
                </c:pt>
                <c:pt idx="562">
                  <c:v>41773</c:v>
                </c:pt>
                <c:pt idx="563">
                  <c:v>41774</c:v>
                </c:pt>
                <c:pt idx="564">
                  <c:v>41775</c:v>
                </c:pt>
                <c:pt idx="565">
                  <c:v>41778</c:v>
                </c:pt>
                <c:pt idx="566">
                  <c:v>41779</c:v>
                </c:pt>
                <c:pt idx="567">
                  <c:v>41780</c:v>
                </c:pt>
                <c:pt idx="568">
                  <c:v>41781</c:v>
                </c:pt>
                <c:pt idx="569">
                  <c:v>41782</c:v>
                </c:pt>
                <c:pt idx="570">
                  <c:v>41785</c:v>
                </c:pt>
                <c:pt idx="571">
                  <c:v>41786</c:v>
                </c:pt>
                <c:pt idx="572">
                  <c:v>41787</c:v>
                </c:pt>
                <c:pt idx="573">
                  <c:v>41788</c:v>
                </c:pt>
                <c:pt idx="574">
                  <c:v>41789</c:v>
                </c:pt>
                <c:pt idx="575">
                  <c:v>41792</c:v>
                </c:pt>
                <c:pt idx="576">
                  <c:v>41793</c:v>
                </c:pt>
                <c:pt idx="577">
                  <c:v>41794</c:v>
                </c:pt>
                <c:pt idx="578">
                  <c:v>41795</c:v>
                </c:pt>
                <c:pt idx="579">
                  <c:v>41796</c:v>
                </c:pt>
                <c:pt idx="580">
                  <c:v>41799</c:v>
                </c:pt>
                <c:pt idx="581">
                  <c:v>41800</c:v>
                </c:pt>
                <c:pt idx="582">
                  <c:v>41801</c:v>
                </c:pt>
                <c:pt idx="583">
                  <c:v>41802</c:v>
                </c:pt>
                <c:pt idx="584">
                  <c:v>41803</c:v>
                </c:pt>
                <c:pt idx="585">
                  <c:v>41806</c:v>
                </c:pt>
                <c:pt idx="586">
                  <c:v>41807</c:v>
                </c:pt>
                <c:pt idx="587">
                  <c:v>41808</c:v>
                </c:pt>
                <c:pt idx="588">
                  <c:v>41809</c:v>
                </c:pt>
                <c:pt idx="589">
                  <c:v>41810</c:v>
                </c:pt>
                <c:pt idx="590">
                  <c:v>41813</c:v>
                </c:pt>
                <c:pt idx="591">
                  <c:v>41814</c:v>
                </c:pt>
                <c:pt idx="592">
                  <c:v>41815</c:v>
                </c:pt>
                <c:pt idx="593">
                  <c:v>41816</c:v>
                </c:pt>
                <c:pt idx="594">
                  <c:v>41817</c:v>
                </c:pt>
                <c:pt idx="595">
                  <c:v>41820</c:v>
                </c:pt>
                <c:pt idx="596">
                  <c:v>41821</c:v>
                </c:pt>
                <c:pt idx="597">
                  <c:v>41822</c:v>
                </c:pt>
                <c:pt idx="598">
                  <c:v>41823</c:v>
                </c:pt>
                <c:pt idx="599">
                  <c:v>41824</c:v>
                </c:pt>
                <c:pt idx="600">
                  <c:v>41827</c:v>
                </c:pt>
                <c:pt idx="601">
                  <c:v>41828</c:v>
                </c:pt>
                <c:pt idx="602">
                  <c:v>41829</c:v>
                </c:pt>
                <c:pt idx="603">
                  <c:v>41830</c:v>
                </c:pt>
                <c:pt idx="604">
                  <c:v>41831</c:v>
                </c:pt>
                <c:pt idx="605">
                  <c:v>41834</c:v>
                </c:pt>
                <c:pt idx="606">
                  <c:v>41835</c:v>
                </c:pt>
                <c:pt idx="607">
                  <c:v>41836</c:v>
                </c:pt>
                <c:pt idx="608">
                  <c:v>41837</c:v>
                </c:pt>
                <c:pt idx="609">
                  <c:v>41838</c:v>
                </c:pt>
                <c:pt idx="610">
                  <c:v>41841</c:v>
                </c:pt>
                <c:pt idx="611">
                  <c:v>41842</c:v>
                </c:pt>
                <c:pt idx="612">
                  <c:v>41843</c:v>
                </c:pt>
                <c:pt idx="613">
                  <c:v>41844</c:v>
                </c:pt>
                <c:pt idx="614">
                  <c:v>41845</c:v>
                </c:pt>
                <c:pt idx="615">
                  <c:v>41848</c:v>
                </c:pt>
                <c:pt idx="616">
                  <c:v>41849</c:v>
                </c:pt>
                <c:pt idx="617">
                  <c:v>41850</c:v>
                </c:pt>
                <c:pt idx="618">
                  <c:v>41851</c:v>
                </c:pt>
                <c:pt idx="619">
                  <c:v>41852</c:v>
                </c:pt>
                <c:pt idx="620">
                  <c:v>41855</c:v>
                </c:pt>
                <c:pt idx="621">
                  <c:v>41856</c:v>
                </c:pt>
                <c:pt idx="622">
                  <c:v>41857</c:v>
                </c:pt>
                <c:pt idx="623">
                  <c:v>41858</c:v>
                </c:pt>
                <c:pt idx="624">
                  <c:v>41859</c:v>
                </c:pt>
                <c:pt idx="625">
                  <c:v>41862</c:v>
                </c:pt>
                <c:pt idx="626">
                  <c:v>41863</c:v>
                </c:pt>
                <c:pt idx="627">
                  <c:v>41864</c:v>
                </c:pt>
                <c:pt idx="628">
                  <c:v>41865</c:v>
                </c:pt>
                <c:pt idx="629">
                  <c:v>41866</c:v>
                </c:pt>
                <c:pt idx="630">
                  <c:v>41869</c:v>
                </c:pt>
                <c:pt idx="631">
                  <c:v>41870</c:v>
                </c:pt>
                <c:pt idx="632">
                  <c:v>41871</c:v>
                </c:pt>
                <c:pt idx="633">
                  <c:v>41872</c:v>
                </c:pt>
                <c:pt idx="634">
                  <c:v>41873</c:v>
                </c:pt>
                <c:pt idx="635">
                  <c:v>41876</c:v>
                </c:pt>
                <c:pt idx="636">
                  <c:v>41877</c:v>
                </c:pt>
                <c:pt idx="637">
                  <c:v>41878</c:v>
                </c:pt>
                <c:pt idx="638">
                  <c:v>41879</c:v>
                </c:pt>
                <c:pt idx="639">
                  <c:v>41880</c:v>
                </c:pt>
                <c:pt idx="640">
                  <c:v>41883</c:v>
                </c:pt>
                <c:pt idx="641">
                  <c:v>41884</c:v>
                </c:pt>
                <c:pt idx="642">
                  <c:v>41885</c:v>
                </c:pt>
                <c:pt idx="643">
                  <c:v>41886</c:v>
                </c:pt>
                <c:pt idx="644">
                  <c:v>41887</c:v>
                </c:pt>
                <c:pt idx="645">
                  <c:v>41890</c:v>
                </c:pt>
                <c:pt idx="646">
                  <c:v>41891</c:v>
                </c:pt>
                <c:pt idx="647">
                  <c:v>41892</c:v>
                </c:pt>
                <c:pt idx="648">
                  <c:v>41893</c:v>
                </c:pt>
                <c:pt idx="649">
                  <c:v>41894</c:v>
                </c:pt>
                <c:pt idx="650">
                  <c:v>41897</c:v>
                </c:pt>
                <c:pt idx="651">
                  <c:v>41898</c:v>
                </c:pt>
                <c:pt idx="652">
                  <c:v>41899</c:v>
                </c:pt>
                <c:pt idx="653">
                  <c:v>41900</c:v>
                </c:pt>
                <c:pt idx="654">
                  <c:v>41901</c:v>
                </c:pt>
                <c:pt idx="655">
                  <c:v>41904</c:v>
                </c:pt>
                <c:pt idx="656">
                  <c:v>41905</c:v>
                </c:pt>
                <c:pt idx="657">
                  <c:v>41906</c:v>
                </c:pt>
                <c:pt idx="658">
                  <c:v>41907</c:v>
                </c:pt>
                <c:pt idx="659">
                  <c:v>41908</c:v>
                </c:pt>
                <c:pt idx="660">
                  <c:v>41911</c:v>
                </c:pt>
                <c:pt idx="661">
                  <c:v>41912</c:v>
                </c:pt>
                <c:pt idx="662">
                  <c:v>41913</c:v>
                </c:pt>
                <c:pt idx="663">
                  <c:v>41914</c:v>
                </c:pt>
                <c:pt idx="664">
                  <c:v>41915</c:v>
                </c:pt>
                <c:pt idx="665">
                  <c:v>41918</c:v>
                </c:pt>
                <c:pt idx="666">
                  <c:v>41919</c:v>
                </c:pt>
                <c:pt idx="667">
                  <c:v>41920</c:v>
                </c:pt>
                <c:pt idx="668">
                  <c:v>41921</c:v>
                </c:pt>
                <c:pt idx="669">
                  <c:v>41922</c:v>
                </c:pt>
                <c:pt idx="670">
                  <c:v>41925</c:v>
                </c:pt>
                <c:pt idx="671">
                  <c:v>41926</c:v>
                </c:pt>
                <c:pt idx="672">
                  <c:v>41927</c:v>
                </c:pt>
                <c:pt idx="673">
                  <c:v>41928</c:v>
                </c:pt>
                <c:pt idx="674">
                  <c:v>41929</c:v>
                </c:pt>
                <c:pt idx="675">
                  <c:v>41932</c:v>
                </c:pt>
                <c:pt idx="676">
                  <c:v>41933</c:v>
                </c:pt>
                <c:pt idx="677">
                  <c:v>41934</c:v>
                </c:pt>
                <c:pt idx="678">
                  <c:v>41935</c:v>
                </c:pt>
                <c:pt idx="679">
                  <c:v>41936</c:v>
                </c:pt>
                <c:pt idx="680">
                  <c:v>41939</c:v>
                </c:pt>
                <c:pt idx="681">
                  <c:v>41940</c:v>
                </c:pt>
                <c:pt idx="682">
                  <c:v>41941</c:v>
                </c:pt>
                <c:pt idx="683">
                  <c:v>41942</c:v>
                </c:pt>
                <c:pt idx="684">
                  <c:v>41943</c:v>
                </c:pt>
                <c:pt idx="685">
                  <c:v>41946</c:v>
                </c:pt>
                <c:pt idx="686">
                  <c:v>41947</c:v>
                </c:pt>
                <c:pt idx="687">
                  <c:v>41948</c:v>
                </c:pt>
                <c:pt idx="688">
                  <c:v>41949</c:v>
                </c:pt>
                <c:pt idx="689">
                  <c:v>41950</c:v>
                </c:pt>
                <c:pt idx="690">
                  <c:v>41953</c:v>
                </c:pt>
                <c:pt idx="691">
                  <c:v>41954</c:v>
                </c:pt>
                <c:pt idx="692">
                  <c:v>41955</c:v>
                </c:pt>
                <c:pt idx="693">
                  <c:v>41956</c:v>
                </c:pt>
                <c:pt idx="694">
                  <c:v>41957</c:v>
                </c:pt>
                <c:pt idx="695">
                  <c:v>41960</c:v>
                </c:pt>
                <c:pt idx="696">
                  <c:v>41961</c:v>
                </c:pt>
                <c:pt idx="697">
                  <c:v>41962</c:v>
                </c:pt>
                <c:pt idx="698">
                  <c:v>41963</c:v>
                </c:pt>
                <c:pt idx="699">
                  <c:v>41964</c:v>
                </c:pt>
                <c:pt idx="700">
                  <c:v>41967</c:v>
                </c:pt>
                <c:pt idx="701">
                  <c:v>41968</c:v>
                </c:pt>
                <c:pt idx="702">
                  <c:v>41969</c:v>
                </c:pt>
                <c:pt idx="703">
                  <c:v>41970</c:v>
                </c:pt>
                <c:pt idx="704">
                  <c:v>41971</c:v>
                </c:pt>
                <c:pt idx="705">
                  <c:v>41974</c:v>
                </c:pt>
                <c:pt idx="706">
                  <c:v>41975</c:v>
                </c:pt>
                <c:pt idx="707">
                  <c:v>41976</c:v>
                </c:pt>
                <c:pt idx="708">
                  <c:v>41977</c:v>
                </c:pt>
                <c:pt idx="709">
                  <c:v>41978</c:v>
                </c:pt>
                <c:pt idx="710">
                  <c:v>41981</c:v>
                </c:pt>
                <c:pt idx="711">
                  <c:v>41982</c:v>
                </c:pt>
                <c:pt idx="712">
                  <c:v>41983</c:v>
                </c:pt>
                <c:pt idx="713">
                  <c:v>41984</c:v>
                </c:pt>
                <c:pt idx="714">
                  <c:v>41985</c:v>
                </c:pt>
                <c:pt idx="715">
                  <c:v>41988</c:v>
                </c:pt>
                <c:pt idx="716">
                  <c:v>41989</c:v>
                </c:pt>
                <c:pt idx="717">
                  <c:v>41990</c:v>
                </c:pt>
                <c:pt idx="718">
                  <c:v>41991</c:v>
                </c:pt>
                <c:pt idx="719">
                  <c:v>41992</c:v>
                </c:pt>
                <c:pt idx="720">
                  <c:v>41995</c:v>
                </c:pt>
                <c:pt idx="721">
                  <c:v>41996</c:v>
                </c:pt>
                <c:pt idx="722">
                  <c:v>41997</c:v>
                </c:pt>
                <c:pt idx="723">
                  <c:v>41998</c:v>
                </c:pt>
                <c:pt idx="724">
                  <c:v>41999</c:v>
                </c:pt>
                <c:pt idx="725">
                  <c:v>42002</c:v>
                </c:pt>
                <c:pt idx="726">
                  <c:v>42003</c:v>
                </c:pt>
                <c:pt idx="727">
                  <c:v>42004</c:v>
                </c:pt>
                <c:pt idx="728">
                  <c:v>42005</c:v>
                </c:pt>
                <c:pt idx="729">
                  <c:v>42006</c:v>
                </c:pt>
                <c:pt idx="730">
                  <c:v>42009</c:v>
                </c:pt>
                <c:pt idx="731">
                  <c:v>42010</c:v>
                </c:pt>
                <c:pt idx="732">
                  <c:v>42011</c:v>
                </c:pt>
                <c:pt idx="733">
                  <c:v>42012</c:v>
                </c:pt>
                <c:pt idx="734">
                  <c:v>42013</c:v>
                </c:pt>
                <c:pt idx="735">
                  <c:v>42016</c:v>
                </c:pt>
                <c:pt idx="736">
                  <c:v>42017</c:v>
                </c:pt>
                <c:pt idx="737">
                  <c:v>42018</c:v>
                </c:pt>
                <c:pt idx="738">
                  <c:v>42019</c:v>
                </c:pt>
                <c:pt idx="739">
                  <c:v>42020</c:v>
                </c:pt>
                <c:pt idx="740">
                  <c:v>42023</c:v>
                </c:pt>
                <c:pt idx="741">
                  <c:v>42024</c:v>
                </c:pt>
                <c:pt idx="742">
                  <c:v>42025</c:v>
                </c:pt>
                <c:pt idx="743">
                  <c:v>42026</c:v>
                </c:pt>
                <c:pt idx="744">
                  <c:v>42027</c:v>
                </c:pt>
                <c:pt idx="745">
                  <c:v>42030</c:v>
                </c:pt>
                <c:pt idx="746">
                  <c:v>42031</c:v>
                </c:pt>
                <c:pt idx="747">
                  <c:v>42032</c:v>
                </c:pt>
                <c:pt idx="748">
                  <c:v>42033</c:v>
                </c:pt>
                <c:pt idx="749">
                  <c:v>42034</c:v>
                </c:pt>
                <c:pt idx="750">
                  <c:v>42037</c:v>
                </c:pt>
                <c:pt idx="751">
                  <c:v>42038</c:v>
                </c:pt>
                <c:pt idx="752">
                  <c:v>42039</c:v>
                </c:pt>
                <c:pt idx="753">
                  <c:v>42040</c:v>
                </c:pt>
                <c:pt idx="754">
                  <c:v>42041</c:v>
                </c:pt>
                <c:pt idx="755">
                  <c:v>42044</c:v>
                </c:pt>
                <c:pt idx="756">
                  <c:v>42045</c:v>
                </c:pt>
                <c:pt idx="757">
                  <c:v>42046</c:v>
                </c:pt>
                <c:pt idx="758">
                  <c:v>42047</c:v>
                </c:pt>
                <c:pt idx="759">
                  <c:v>42048</c:v>
                </c:pt>
                <c:pt idx="760">
                  <c:v>42051</c:v>
                </c:pt>
                <c:pt idx="761">
                  <c:v>42052</c:v>
                </c:pt>
                <c:pt idx="762">
                  <c:v>42053</c:v>
                </c:pt>
                <c:pt idx="763">
                  <c:v>42054</c:v>
                </c:pt>
                <c:pt idx="764">
                  <c:v>42055</c:v>
                </c:pt>
                <c:pt idx="765">
                  <c:v>42058</c:v>
                </c:pt>
                <c:pt idx="766">
                  <c:v>42059</c:v>
                </c:pt>
                <c:pt idx="767">
                  <c:v>42060</c:v>
                </c:pt>
                <c:pt idx="768">
                  <c:v>42061</c:v>
                </c:pt>
                <c:pt idx="769">
                  <c:v>42062</c:v>
                </c:pt>
                <c:pt idx="770">
                  <c:v>42065</c:v>
                </c:pt>
                <c:pt idx="771">
                  <c:v>42066</c:v>
                </c:pt>
                <c:pt idx="772">
                  <c:v>42067</c:v>
                </c:pt>
                <c:pt idx="773">
                  <c:v>42068</c:v>
                </c:pt>
                <c:pt idx="774">
                  <c:v>42069</c:v>
                </c:pt>
                <c:pt idx="775">
                  <c:v>42072</c:v>
                </c:pt>
                <c:pt idx="776">
                  <c:v>42073</c:v>
                </c:pt>
                <c:pt idx="777">
                  <c:v>42074</c:v>
                </c:pt>
                <c:pt idx="778">
                  <c:v>42075</c:v>
                </c:pt>
                <c:pt idx="779">
                  <c:v>42076</c:v>
                </c:pt>
                <c:pt idx="780">
                  <c:v>42079</c:v>
                </c:pt>
                <c:pt idx="781">
                  <c:v>42080</c:v>
                </c:pt>
                <c:pt idx="782">
                  <c:v>42081</c:v>
                </c:pt>
                <c:pt idx="783">
                  <c:v>42082</c:v>
                </c:pt>
                <c:pt idx="784">
                  <c:v>42083</c:v>
                </c:pt>
                <c:pt idx="785">
                  <c:v>42086</c:v>
                </c:pt>
                <c:pt idx="786">
                  <c:v>42087</c:v>
                </c:pt>
                <c:pt idx="787">
                  <c:v>42088</c:v>
                </c:pt>
                <c:pt idx="788">
                  <c:v>42089</c:v>
                </c:pt>
                <c:pt idx="789">
                  <c:v>42090</c:v>
                </c:pt>
                <c:pt idx="790">
                  <c:v>42093</c:v>
                </c:pt>
                <c:pt idx="791">
                  <c:v>42094</c:v>
                </c:pt>
                <c:pt idx="792">
                  <c:v>42095</c:v>
                </c:pt>
                <c:pt idx="793">
                  <c:v>42096</c:v>
                </c:pt>
                <c:pt idx="794">
                  <c:v>42097</c:v>
                </c:pt>
                <c:pt idx="795">
                  <c:v>42100</c:v>
                </c:pt>
                <c:pt idx="796">
                  <c:v>42101</c:v>
                </c:pt>
                <c:pt idx="797">
                  <c:v>42102</c:v>
                </c:pt>
                <c:pt idx="798">
                  <c:v>42103</c:v>
                </c:pt>
                <c:pt idx="799">
                  <c:v>42104</c:v>
                </c:pt>
                <c:pt idx="800">
                  <c:v>42107</c:v>
                </c:pt>
                <c:pt idx="801">
                  <c:v>42108</c:v>
                </c:pt>
                <c:pt idx="802">
                  <c:v>42109</c:v>
                </c:pt>
                <c:pt idx="803">
                  <c:v>42110</c:v>
                </c:pt>
                <c:pt idx="804">
                  <c:v>42111</c:v>
                </c:pt>
                <c:pt idx="805">
                  <c:v>42114</c:v>
                </c:pt>
                <c:pt idx="806">
                  <c:v>42115</c:v>
                </c:pt>
                <c:pt idx="807">
                  <c:v>42116</c:v>
                </c:pt>
                <c:pt idx="808">
                  <c:v>42117</c:v>
                </c:pt>
                <c:pt idx="809">
                  <c:v>42118</c:v>
                </c:pt>
                <c:pt idx="810">
                  <c:v>42121</c:v>
                </c:pt>
                <c:pt idx="811">
                  <c:v>42122</c:v>
                </c:pt>
                <c:pt idx="812">
                  <c:v>42123</c:v>
                </c:pt>
                <c:pt idx="813">
                  <c:v>42124</c:v>
                </c:pt>
                <c:pt idx="814">
                  <c:v>42125</c:v>
                </c:pt>
                <c:pt idx="815">
                  <c:v>42128</c:v>
                </c:pt>
                <c:pt idx="816">
                  <c:v>42129</c:v>
                </c:pt>
                <c:pt idx="817">
                  <c:v>42130</c:v>
                </c:pt>
                <c:pt idx="818">
                  <c:v>42131</c:v>
                </c:pt>
                <c:pt idx="819">
                  <c:v>42132</c:v>
                </c:pt>
                <c:pt idx="820">
                  <c:v>42135</c:v>
                </c:pt>
                <c:pt idx="821">
                  <c:v>42136</c:v>
                </c:pt>
                <c:pt idx="822">
                  <c:v>42137</c:v>
                </c:pt>
                <c:pt idx="823">
                  <c:v>42138</c:v>
                </c:pt>
                <c:pt idx="824">
                  <c:v>42139</c:v>
                </c:pt>
                <c:pt idx="825">
                  <c:v>42142</c:v>
                </c:pt>
                <c:pt idx="826">
                  <c:v>42143</c:v>
                </c:pt>
                <c:pt idx="827">
                  <c:v>42144</c:v>
                </c:pt>
                <c:pt idx="828">
                  <c:v>42145</c:v>
                </c:pt>
                <c:pt idx="829">
                  <c:v>42146</c:v>
                </c:pt>
                <c:pt idx="830">
                  <c:v>42149</c:v>
                </c:pt>
                <c:pt idx="831">
                  <c:v>42150</c:v>
                </c:pt>
                <c:pt idx="832">
                  <c:v>42151</c:v>
                </c:pt>
                <c:pt idx="833">
                  <c:v>42152</c:v>
                </c:pt>
                <c:pt idx="834">
                  <c:v>42153</c:v>
                </c:pt>
                <c:pt idx="835">
                  <c:v>42156</c:v>
                </c:pt>
                <c:pt idx="836">
                  <c:v>42157</c:v>
                </c:pt>
                <c:pt idx="837">
                  <c:v>42158</c:v>
                </c:pt>
                <c:pt idx="838">
                  <c:v>42159</c:v>
                </c:pt>
                <c:pt idx="839">
                  <c:v>42160</c:v>
                </c:pt>
                <c:pt idx="840">
                  <c:v>42163</c:v>
                </c:pt>
                <c:pt idx="841">
                  <c:v>42164</c:v>
                </c:pt>
                <c:pt idx="842">
                  <c:v>42165</c:v>
                </c:pt>
                <c:pt idx="843">
                  <c:v>42166</c:v>
                </c:pt>
                <c:pt idx="844">
                  <c:v>42167</c:v>
                </c:pt>
                <c:pt idx="845">
                  <c:v>42170</c:v>
                </c:pt>
                <c:pt idx="846">
                  <c:v>42171</c:v>
                </c:pt>
                <c:pt idx="847">
                  <c:v>42172</c:v>
                </c:pt>
                <c:pt idx="848">
                  <c:v>42173</c:v>
                </c:pt>
                <c:pt idx="849">
                  <c:v>42174</c:v>
                </c:pt>
                <c:pt idx="850">
                  <c:v>42177</c:v>
                </c:pt>
                <c:pt idx="851">
                  <c:v>42178</c:v>
                </c:pt>
                <c:pt idx="852">
                  <c:v>42179</c:v>
                </c:pt>
                <c:pt idx="853">
                  <c:v>42180</c:v>
                </c:pt>
                <c:pt idx="854">
                  <c:v>42181</c:v>
                </c:pt>
                <c:pt idx="855">
                  <c:v>42184</c:v>
                </c:pt>
                <c:pt idx="856">
                  <c:v>42185</c:v>
                </c:pt>
                <c:pt idx="857">
                  <c:v>42186</c:v>
                </c:pt>
                <c:pt idx="858">
                  <c:v>42187</c:v>
                </c:pt>
                <c:pt idx="859">
                  <c:v>42188</c:v>
                </c:pt>
                <c:pt idx="860">
                  <c:v>42191</c:v>
                </c:pt>
                <c:pt idx="861">
                  <c:v>42192</c:v>
                </c:pt>
                <c:pt idx="862">
                  <c:v>42193</c:v>
                </c:pt>
                <c:pt idx="863">
                  <c:v>42194</c:v>
                </c:pt>
                <c:pt idx="864">
                  <c:v>42195</c:v>
                </c:pt>
                <c:pt idx="865">
                  <c:v>42198</c:v>
                </c:pt>
                <c:pt idx="866">
                  <c:v>42199</c:v>
                </c:pt>
                <c:pt idx="867">
                  <c:v>42200</c:v>
                </c:pt>
                <c:pt idx="868">
                  <c:v>42201</c:v>
                </c:pt>
                <c:pt idx="869">
                  <c:v>42202</c:v>
                </c:pt>
                <c:pt idx="870">
                  <c:v>42205</c:v>
                </c:pt>
                <c:pt idx="871">
                  <c:v>42206</c:v>
                </c:pt>
                <c:pt idx="872">
                  <c:v>42207</c:v>
                </c:pt>
                <c:pt idx="873">
                  <c:v>42208</c:v>
                </c:pt>
                <c:pt idx="874">
                  <c:v>42209</c:v>
                </c:pt>
                <c:pt idx="875">
                  <c:v>42212</c:v>
                </c:pt>
                <c:pt idx="876">
                  <c:v>42213</c:v>
                </c:pt>
                <c:pt idx="877">
                  <c:v>42214</c:v>
                </c:pt>
                <c:pt idx="878">
                  <c:v>42215</c:v>
                </c:pt>
                <c:pt idx="879">
                  <c:v>42216</c:v>
                </c:pt>
                <c:pt idx="880">
                  <c:v>42219</c:v>
                </c:pt>
                <c:pt idx="881">
                  <c:v>42220</c:v>
                </c:pt>
                <c:pt idx="882">
                  <c:v>42221</c:v>
                </c:pt>
                <c:pt idx="883">
                  <c:v>42222</c:v>
                </c:pt>
                <c:pt idx="884">
                  <c:v>42223</c:v>
                </c:pt>
                <c:pt idx="885">
                  <c:v>42226</c:v>
                </c:pt>
                <c:pt idx="886">
                  <c:v>42227</c:v>
                </c:pt>
                <c:pt idx="887">
                  <c:v>42228</c:v>
                </c:pt>
                <c:pt idx="888">
                  <c:v>42229</c:v>
                </c:pt>
                <c:pt idx="889">
                  <c:v>42230</c:v>
                </c:pt>
                <c:pt idx="890">
                  <c:v>42233</c:v>
                </c:pt>
                <c:pt idx="891">
                  <c:v>42234</c:v>
                </c:pt>
                <c:pt idx="892">
                  <c:v>42235</c:v>
                </c:pt>
                <c:pt idx="893">
                  <c:v>42236</c:v>
                </c:pt>
                <c:pt idx="894">
                  <c:v>42237</c:v>
                </c:pt>
                <c:pt idx="895">
                  <c:v>42240</c:v>
                </c:pt>
                <c:pt idx="896">
                  <c:v>42241</c:v>
                </c:pt>
                <c:pt idx="897">
                  <c:v>42242</c:v>
                </c:pt>
                <c:pt idx="898">
                  <c:v>42243</c:v>
                </c:pt>
                <c:pt idx="899">
                  <c:v>42244</c:v>
                </c:pt>
                <c:pt idx="900">
                  <c:v>42247</c:v>
                </c:pt>
                <c:pt idx="901">
                  <c:v>42248</c:v>
                </c:pt>
                <c:pt idx="902">
                  <c:v>42249</c:v>
                </c:pt>
                <c:pt idx="903">
                  <c:v>42250</c:v>
                </c:pt>
                <c:pt idx="904">
                  <c:v>42251</c:v>
                </c:pt>
                <c:pt idx="905">
                  <c:v>42254</c:v>
                </c:pt>
                <c:pt idx="906">
                  <c:v>42255</c:v>
                </c:pt>
                <c:pt idx="907">
                  <c:v>42256</c:v>
                </c:pt>
                <c:pt idx="908">
                  <c:v>42257</c:v>
                </c:pt>
                <c:pt idx="909">
                  <c:v>42258</c:v>
                </c:pt>
                <c:pt idx="910">
                  <c:v>42261</c:v>
                </c:pt>
                <c:pt idx="911">
                  <c:v>42262</c:v>
                </c:pt>
                <c:pt idx="912">
                  <c:v>42263</c:v>
                </c:pt>
                <c:pt idx="913">
                  <c:v>42264</c:v>
                </c:pt>
                <c:pt idx="914">
                  <c:v>42265</c:v>
                </c:pt>
                <c:pt idx="915">
                  <c:v>42268</c:v>
                </c:pt>
                <c:pt idx="916">
                  <c:v>42269</c:v>
                </c:pt>
                <c:pt idx="917">
                  <c:v>42270</c:v>
                </c:pt>
                <c:pt idx="918">
                  <c:v>42271</c:v>
                </c:pt>
                <c:pt idx="919">
                  <c:v>42272</c:v>
                </c:pt>
                <c:pt idx="920">
                  <c:v>42275</c:v>
                </c:pt>
                <c:pt idx="921">
                  <c:v>42276</c:v>
                </c:pt>
                <c:pt idx="922">
                  <c:v>42277</c:v>
                </c:pt>
                <c:pt idx="923">
                  <c:v>42278</c:v>
                </c:pt>
                <c:pt idx="924">
                  <c:v>42279</c:v>
                </c:pt>
                <c:pt idx="925">
                  <c:v>42282</c:v>
                </c:pt>
                <c:pt idx="926">
                  <c:v>42283</c:v>
                </c:pt>
                <c:pt idx="927">
                  <c:v>42284</c:v>
                </c:pt>
                <c:pt idx="928">
                  <c:v>42285</c:v>
                </c:pt>
                <c:pt idx="929">
                  <c:v>42286</c:v>
                </c:pt>
                <c:pt idx="930">
                  <c:v>42289</c:v>
                </c:pt>
                <c:pt idx="931">
                  <c:v>42290</c:v>
                </c:pt>
                <c:pt idx="932">
                  <c:v>42291</c:v>
                </c:pt>
                <c:pt idx="933">
                  <c:v>42292</c:v>
                </c:pt>
                <c:pt idx="934">
                  <c:v>42293</c:v>
                </c:pt>
                <c:pt idx="935">
                  <c:v>42296</c:v>
                </c:pt>
                <c:pt idx="936">
                  <c:v>42297</c:v>
                </c:pt>
                <c:pt idx="937">
                  <c:v>42298</c:v>
                </c:pt>
                <c:pt idx="938">
                  <c:v>42299</c:v>
                </c:pt>
                <c:pt idx="939">
                  <c:v>42300</c:v>
                </c:pt>
                <c:pt idx="940">
                  <c:v>42303</c:v>
                </c:pt>
                <c:pt idx="941">
                  <c:v>42304</c:v>
                </c:pt>
                <c:pt idx="942">
                  <c:v>42305</c:v>
                </c:pt>
                <c:pt idx="943">
                  <c:v>42306</c:v>
                </c:pt>
                <c:pt idx="944">
                  <c:v>42307</c:v>
                </c:pt>
                <c:pt idx="945">
                  <c:v>42310</c:v>
                </c:pt>
                <c:pt idx="946">
                  <c:v>42311</c:v>
                </c:pt>
                <c:pt idx="947">
                  <c:v>42312</c:v>
                </c:pt>
                <c:pt idx="948">
                  <c:v>42313</c:v>
                </c:pt>
                <c:pt idx="949">
                  <c:v>42314</c:v>
                </c:pt>
                <c:pt idx="950">
                  <c:v>42317</c:v>
                </c:pt>
                <c:pt idx="951">
                  <c:v>42318</c:v>
                </c:pt>
                <c:pt idx="952">
                  <c:v>42319</c:v>
                </c:pt>
                <c:pt idx="953">
                  <c:v>42320</c:v>
                </c:pt>
                <c:pt idx="954">
                  <c:v>42321</c:v>
                </c:pt>
                <c:pt idx="955">
                  <c:v>42324</c:v>
                </c:pt>
                <c:pt idx="956">
                  <c:v>42325</c:v>
                </c:pt>
                <c:pt idx="957">
                  <c:v>42326</c:v>
                </c:pt>
                <c:pt idx="958">
                  <c:v>42327</c:v>
                </c:pt>
                <c:pt idx="959">
                  <c:v>42328</c:v>
                </c:pt>
                <c:pt idx="960">
                  <c:v>42331</c:v>
                </c:pt>
                <c:pt idx="961">
                  <c:v>42332</c:v>
                </c:pt>
                <c:pt idx="962">
                  <c:v>42333</c:v>
                </c:pt>
                <c:pt idx="963">
                  <c:v>42334</c:v>
                </c:pt>
                <c:pt idx="964">
                  <c:v>42335</c:v>
                </c:pt>
                <c:pt idx="965">
                  <c:v>42338</c:v>
                </c:pt>
                <c:pt idx="966">
                  <c:v>42339</c:v>
                </c:pt>
                <c:pt idx="967">
                  <c:v>42340</c:v>
                </c:pt>
                <c:pt idx="968">
                  <c:v>42341</c:v>
                </c:pt>
                <c:pt idx="969">
                  <c:v>42342</c:v>
                </c:pt>
                <c:pt idx="970">
                  <c:v>42345</c:v>
                </c:pt>
                <c:pt idx="971">
                  <c:v>42346</c:v>
                </c:pt>
                <c:pt idx="972">
                  <c:v>42347</c:v>
                </c:pt>
                <c:pt idx="973">
                  <c:v>42348</c:v>
                </c:pt>
                <c:pt idx="974">
                  <c:v>42349</c:v>
                </c:pt>
                <c:pt idx="975">
                  <c:v>42352</c:v>
                </c:pt>
                <c:pt idx="976">
                  <c:v>42353</c:v>
                </c:pt>
                <c:pt idx="977">
                  <c:v>42354</c:v>
                </c:pt>
                <c:pt idx="978">
                  <c:v>42355</c:v>
                </c:pt>
                <c:pt idx="979">
                  <c:v>42356</c:v>
                </c:pt>
                <c:pt idx="980">
                  <c:v>42359</c:v>
                </c:pt>
                <c:pt idx="981">
                  <c:v>42360</c:v>
                </c:pt>
                <c:pt idx="982">
                  <c:v>42361</c:v>
                </c:pt>
                <c:pt idx="983">
                  <c:v>42362</c:v>
                </c:pt>
                <c:pt idx="984">
                  <c:v>42363</c:v>
                </c:pt>
                <c:pt idx="985">
                  <c:v>42366</c:v>
                </c:pt>
                <c:pt idx="986">
                  <c:v>42367</c:v>
                </c:pt>
                <c:pt idx="987">
                  <c:v>42368</c:v>
                </c:pt>
                <c:pt idx="988">
                  <c:v>42369</c:v>
                </c:pt>
                <c:pt idx="989">
                  <c:v>42370</c:v>
                </c:pt>
                <c:pt idx="990">
                  <c:v>42373</c:v>
                </c:pt>
                <c:pt idx="991">
                  <c:v>42374</c:v>
                </c:pt>
                <c:pt idx="992">
                  <c:v>42375</c:v>
                </c:pt>
                <c:pt idx="993">
                  <c:v>42376</c:v>
                </c:pt>
                <c:pt idx="994">
                  <c:v>42377</c:v>
                </c:pt>
                <c:pt idx="995">
                  <c:v>42380</c:v>
                </c:pt>
                <c:pt idx="996">
                  <c:v>42381</c:v>
                </c:pt>
                <c:pt idx="997">
                  <c:v>42382</c:v>
                </c:pt>
                <c:pt idx="998">
                  <c:v>42383</c:v>
                </c:pt>
                <c:pt idx="999">
                  <c:v>42384</c:v>
                </c:pt>
                <c:pt idx="1000">
                  <c:v>42387</c:v>
                </c:pt>
                <c:pt idx="1001">
                  <c:v>42388</c:v>
                </c:pt>
                <c:pt idx="1002">
                  <c:v>42389</c:v>
                </c:pt>
                <c:pt idx="1003">
                  <c:v>42390</c:v>
                </c:pt>
                <c:pt idx="1004">
                  <c:v>42391</c:v>
                </c:pt>
                <c:pt idx="1005">
                  <c:v>42394</c:v>
                </c:pt>
                <c:pt idx="1006">
                  <c:v>42395</c:v>
                </c:pt>
                <c:pt idx="1007">
                  <c:v>42396</c:v>
                </c:pt>
                <c:pt idx="1008">
                  <c:v>42397</c:v>
                </c:pt>
                <c:pt idx="1009">
                  <c:v>42398</c:v>
                </c:pt>
                <c:pt idx="1010">
                  <c:v>42401</c:v>
                </c:pt>
                <c:pt idx="1011">
                  <c:v>42402</c:v>
                </c:pt>
                <c:pt idx="1012">
                  <c:v>42403</c:v>
                </c:pt>
                <c:pt idx="1013">
                  <c:v>42404</c:v>
                </c:pt>
                <c:pt idx="1014">
                  <c:v>42405</c:v>
                </c:pt>
                <c:pt idx="1015">
                  <c:v>42408</c:v>
                </c:pt>
                <c:pt idx="1016">
                  <c:v>42409</c:v>
                </c:pt>
                <c:pt idx="1017">
                  <c:v>42410</c:v>
                </c:pt>
                <c:pt idx="1018">
                  <c:v>42411</c:v>
                </c:pt>
                <c:pt idx="1019">
                  <c:v>42412</c:v>
                </c:pt>
                <c:pt idx="1020">
                  <c:v>42415</c:v>
                </c:pt>
                <c:pt idx="1021">
                  <c:v>42416</c:v>
                </c:pt>
                <c:pt idx="1022">
                  <c:v>42417</c:v>
                </c:pt>
                <c:pt idx="1023">
                  <c:v>42418</c:v>
                </c:pt>
                <c:pt idx="1024">
                  <c:v>42419</c:v>
                </c:pt>
                <c:pt idx="1025">
                  <c:v>42422</c:v>
                </c:pt>
                <c:pt idx="1026">
                  <c:v>42423</c:v>
                </c:pt>
                <c:pt idx="1027">
                  <c:v>42424</c:v>
                </c:pt>
                <c:pt idx="1028">
                  <c:v>42425</c:v>
                </c:pt>
                <c:pt idx="1029">
                  <c:v>42426</c:v>
                </c:pt>
                <c:pt idx="1030">
                  <c:v>42429</c:v>
                </c:pt>
                <c:pt idx="1031">
                  <c:v>42430</c:v>
                </c:pt>
                <c:pt idx="1032">
                  <c:v>42431</c:v>
                </c:pt>
                <c:pt idx="1033">
                  <c:v>42432</c:v>
                </c:pt>
                <c:pt idx="1034">
                  <c:v>42433</c:v>
                </c:pt>
                <c:pt idx="1035">
                  <c:v>42436</c:v>
                </c:pt>
                <c:pt idx="1036">
                  <c:v>42437</c:v>
                </c:pt>
                <c:pt idx="1037">
                  <c:v>42438</c:v>
                </c:pt>
                <c:pt idx="1038">
                  <c:v>42439</c:v>
                </c:pt>
                <c:pt idx="1039">
                  <c:v>42440</c:v>
                </c:pt>
                <c:pt idx="1040">
                  <c:v>42443</c:v>
                </c:pt>
                <c:pt idx="1041">
                  <c:v>42444</c:v>
                </c:pt>
                <c:pt idx="1042">
                  <c:v>42445</c:v>
                </c:pt>
                <c:pt idx="1043">
                  <c:v>42446</c:v>
                </c:pt>
                <c:pt idx="1044">
                  <c:v>42447</c:v>
                </c:pt>
                <c:pt idx="1045">
                  <c:v>42450</c:v>
                </c:pt>
                <c:pt idx="1046">
                  <c:v>42451</c:v>
                </c:pt>
                <c:pt idx="1047">
                  <c:v>42452</c:v>
                </c:pt>
                <c:pt idx="1048">
                  <c:v>42453</c:v>
                </c:pt>
                <c:pt idx="1049">
                  <c:v>42454</c:v>
                </c:pt>
                <c:pt idx="1050">
                  <c:v>42457</c:v>
                </c:pt>
                <c:pt idx="1051">
                  <c:v>42458</c:v>
                </c:pt>
                <c:pt idx="1052">
                  <c:v>42459</c:v>
                </c:pt>
                <c:pt idx="1053">
                  <c:v>42460</c:v>
                </c:pt>
                <c:pt idx="1054">
                  <c:v>42461</c:v>
                </c:pt>
                <c:pt idx="1055">
                  <c:v>42464</c:v>
                </c:pt>
                <c:pt idx="1056">
                  <c:v>42465</c:v>
                </c:pt>
                <c:pt idx="1057">
                  <c:v>42466</c:v>
                </c:pt>
                <c:pt idx="1058">
                  <c:v>42467</c:v>
                </c:pt>
                <c:pt idx="1059">
                  <c:v>42468</c:v>
                </c:pt>
                <c:pt idx="1060">
                  <c:v>42471</c:v>
                </c:pt>
                <c:pt idx="1061">
                  <c:v>42472</c:v>
                </c:pt>
                <c:pt idx="1062">
                  <c:v>42473</c:v>
                </c:pt>
                <c:pt idx="1063">
                  <c:v>42474</c:v>
                </c:pt>
                <c:pt idx="1064">
                  <c:v>42475</c:v>
                </c:pt>
                <c:pt idx="1065">
                  <c:v>42478</c:v>
                </c:pt>
                <c:pt idx="1066">
                  <c:v>42479</c:v>
                </c:pt>
                <c:pt idx="1067">
                  <c:v>42480</c:v>
                </c:pt>
                <c:pt idx="1068">
                  <c:v>42481</c:v>
                </c:pt>
                <c:pt idx="1069">
                  <c:v>42482</c:v>
                </c:pt>
                <c:pt idx="1070">
                  <c:v>42485</c:v>
                </c:pt>
                <c:pt idx="1071">
                  <c:v>42486</c:v>
                </c:pt>
                <c:pt idx="1072">
                  <c:v>42487</c:v>
                </c:pt>
                <c:pt idx="1073">
                  <c:v>42488</c:v>
                </c:pt>
                <c:pt idx="1074">
                  <c:v>42489</c:v>
                </c:pt>
                <c:pt idx="1075">
                  <c:v>42492</c:v>
                </c:pt>
                <c:pt idx="1076">
                  <c:v>42493</c:v>
                </c:pt>
                <c:pt idx="1077">
                  <c:v>42494</c:v>
                </c:pt>
                <c:pt idx="1078">
                  <c:v>42495</c:v>
                </c:pt>
                <c:pt idx="1079">
                  <c:v>42496</c:v>
                </c:pt>
                <c:pt idx="1080">
                  <c:v>42499</c:v>
                </c:pt>
                <c:pt idx="1081">
                  <c:v>42500</c:v>
                </c:pt>
                <c:pt idx="1082">
                  <c:v>42501</c:v>
                </c:pt>
                <c:pt idx="1083">
                  <c:v>42502</c:v>
                </c:pt>
                <c:pt idx="1084">
                  <c:v>42503</c:v>
                </c:pt>
                <c:pt idx="1085">
                  <c:v>42506</c:v>
                </c:pt>
                <c:pt idx="1086">
                  <c:v>42507</c:v>
                </c:pt>
                <c:pt idx="1087">
                  <c:v>42508</c:v>
                </c:pt>
                <c:pt idx="1088">
                  <c:v>42509</c:v>
                </c:pt>
                <c:pt idx="1089">
                  <c:v>42510</c:v>
                </c:pt>
                <c:pt idx="1090">
                  <c:v>42513</c:v>
                </c:pt>
                <c:pt idx="1091">
                  <c:v>42514</c:v>
                </c:pt>
                <c:pt idx="1092">
                  <c:v>42515</c:v>
                </c:pt>
                <c:pt idx="1093">
                  <c:v>42516</c:v>
                </c:pt>
                <c:pt idx="1094">
                  <c:v>42517</c:v>
                </c:pt>
                <c:pt idx="1095">
                  <c:v>42520</c:v>
                </c:pt>
                <c:pt idx="1096">
                  <c:v>42521</c:v>
                </c:pt>
                <c:pt idx="1097">
                  <c:v>42522</c:v>
                </c:pt>
                <c:pt idx="1098">
                  <c:v>42523</c:v>
                </c:pt>
                <c:pt idx="1099">
                  <c:v>42524</c:v>
                </c:pt>
                <c:pt idx="1100">
                  <c:v>42527</c:v>
                </c:pt>
                <c:pt idx="1101">
                  <c:v>42528</c:v>
                </c:pt>
                <c:pt idx="1102">
                  <c:v>42529</c:v>
                </c:pt>
                <c:pt idx="1103">
                  <c:v>42530</c:v>
                </c:pt>
                <c:pt idx="1104">
                  <c:v>42531</c:v>
                </c:pt>
                <c:pt idx="1105">
                  <c:v>42534</c:v>
                </c:pt>
                <c:pt idx="1106">
                  <c:v>42535</c:v>
                </c:pt>
                <c:pt idx="1107">
                  <c:v>42536</c:v>
                </c:pt>
                <c:pt idx="1108">
                  <c:v>42537</c:v>
                </c:pt>
                <c:pt idx="1109">
                  <c:v>42538</c:v>
                </c:pt>
                <c:pt idx="1110">
                  <c:v>42541</c:v>
                </c:pt>
                <c:pt idx="1111">
                  <c:v>42542</c:v>
                </c:pt>
                <c:pt idx="1112">
                  <c:v>42543</c:v>
                </c:pt>
                <c:pt idx="1113">
                  <c:v>42544</c:v>
                </c:pt>
                <c:pt idx="1114">
                  <c:v>42545</c:v>
                </c:pt>
                <c:pt idx="1115">
                  <c:v>42548</c:v>
                </c:pt>
                <c:pt idx="1116">
                  <c:v>42549</c:v>
                </c:pt>
                <c:pt idx="1117">
                  <c:v>42550</c:v>
                </c:pt>
                <c:pt idx="1118">
                  <c:v>42551</c:v>
                </c:pt>
                <c:pt idx="1119">
                  <c:v>42552</c:v>
                </c:pt>
                <c:pt idx="1120">
                  <c:v>42555</c:v>
                </c:pt>
                <c:pt idx="1121">
                  <c:v>42556</c:v>
                </c:pt>
                <c:pt idx="1122">
                  <c:v>42557</c:v>
                </c:pt>
                <c:pt idx="1123">
                  <c:v>42558</c:v>
                </c:pt>
                <c:pt idx="1124">
                  <c:v>42559</c:v>
                </c:pt>
                <c:pt idx="1125">
                  <c:v>42562</c:v>
                </c:pt>
                <c:pt idx="1126">
                  <c:v>42563</c:v>
                </c:pt>
                <c:pt idx="1127">
                  <c:v>42564</c:v>
                </c:pt>
                <c:pt idx="1128">
                  <c:v>42565</c:v>
                </c:pt>
                <c:pt idx="1129">
                  <c:v>42566</c:v>
                </c:pt>
                <c:pt idx="1130">
                  <c:v>42569</c:v>
                </c:pt>
                <c:pt idx="1131">
                  <c:v>42570</c:v>
                </c:pt>
                <c:pt idx="1132">
                  <c:v>42571</c:v>
                </c:pt>
                <c:pt idx="1133">
                  <c:v>42572</c:v>
                </c:pt>
                <c:pt idx="1134">
                  <c:v>42573</c:v>
                </c:pt>
                <c:pt idx="1135">
                  <c:v>42576</c:v>
                </c:pt>
                <c:pt idx="1136">
                  <c:v>42577</c:v>
                </c:pt>
                <c:pt idx="1137">
                  <c:v>42578</c:v>
                </c:pt>
                <c:pt idx="1138">
                  <c:v>42579</c:v>
                </c:pt>
                <c:pt idx="1139">
                  <c:v>42580</c:v>
                </c:pt>
                <c:pt idx="1140">
                  <c:v>42583</c:v>
                </c:pt>
                <c:pt idx="1141">
                  <c:v>42584</c:v>
                </c:pt>
                <c:pt idx="1142">
                  <c:v>42585</c:v>
                </c:pt>
                <c:pt idx="1143">
                  <c:v>42586</c:v>
                </c:pt>
                <c:pt idx="1144">
                  <c:v>42587</c:v>
                </c:pt>
                <c:pt idx="1145">
                  <c:v>42590</c:v>
                </c:pt>
                <c:pt idx="1146">
                  <c:v>42591</c:v>
                </c:pt>
                <c:pt idx="1147">
                  <c:v>42592</c:v>
                </c:pt>
                <c:pt idx="1148">
                  <c:v>42593</c:v>
                </c:pt>
                <c:pt idx="1149">
                  <c:v>42594</c:v>
                </c:pt>
                <c:pt idx="1150">
                  <c:v>42597</c:v>
                </c:pt>
                <c:pt idx="1151">
                  <c:v>42598</c:v>
                </c:pt>
                <c:pt idx="1152">
                  <c:v>42599</c:v>
                </c:pt>
                <c:pt idx="1153">
                  <c:v>42600</c:v>
                </c:pt>
                <c:pt idx="1154">
                  <c:v>42601</c:v>
                </c:pt>
                <c:pt idx="1155">
                  <c:v>42604</c:v>
                </c:pt>
                <c:pt idx="1156">
                  <c:v>42605</c:v>
                </c:pt>
                <c:pt idx="1157">
                  <c:v>42606</c:v>
                </c:pt>
                <c:pt idx="1158">
                  <c:v>42607</c:v>
                </c:pt>
                <c:pt idx="1159">
                  <c:v>42608</c:v>
                </c:pt>
                <c:pt idx="1160">
                  <c:v>42611</c:v>
                </c:pt>
                <c:pt idx="1161">
                  <c:v>42612</c:v>
                </c:pt>
                <c:pt idx="1162">
                  <c:v>42613</c:v>
                </c:pt>
                <c:pt idx="1163">
                  <c:v>42614</c:v>
                </c:pt>
                <c:pt idx="1164">
                  <c:v>42615</c:v>
                </c:pt>
                <c:pt idx="1165">
                  <c:v>42618</c:v>
                </c:pt>
                <c:pt idx="1166">
                  <c:v>42619</c:v>
                </c:pt>
                <c:pt idx="1167">
                  <c:v>42620</c:v>
                </c:pt>
                <c:pt idx="1168">
                  <c:v>42621</c:v>
                </c:pt>
                <c:pt idx="1169">
                  <c:v>42622</c:v>
                </c:pt>
                <c:pt idx="1170">
                  <c:v>42625</c:v>
                </c:pt>
                <c:pt idx="1171">
                  <c:v>42626</c:v>
                </c:pt>
                <c:pt idx="1172">
                  <c:v>42627</c:v>
                </c:pt>
                <c:pt idx="1173">
                  <c:v>42628</c:v>
                </c:pt>
                <c:pt idx="1174">
                  <c:v>42629</c:v>
                </c:pt>
                <c:pt idx="1175">
                  <c:v>42632</c:v>
                </c:pt>
                <c:pt idx="1176">
                  <c:v>42633</c:v>
                </c:pt>
                <c:pt idx="1177">
                  <c:v>42634</c:v>
                </c:pt>
                <c:pt idx="1178">
                  <c:v>42635</c:v>
                </c:pt>
                <c:pt idx="1179">
                  <c:v>42636</c:v>
                </c:pt>
                <c:pt idx="1180">
                  <c:v>42639</c:v>
                </c:pt>
                <c:pt idx="1181">
                  <c:v>42640</c:v>
                </c:pt>
                <c:pt idx="1182">
                  <c:v>42641</c:v>
                </c:pt>
                <c:pt idx="1183">
                  <c:v>42642</c:v>
                </c:pt>
                <c:pt idx="1184">
                  <c:v>42643</c:v>
                </c:pt>
                <c:pt idx="1185">
                  <c:v>42646</c:v>
                </c:pt>
                <c:pt idx="1186">
                  <c:v>42647</c:v>
                </c:pt>
                <c:pt idx="1187">
                  <c:v>42648</c:v>
                </c:pt>
                <c:pt idx="1188">
                  <c:v>42649</c:v>
                </c:pt>
                <c:pt idx="1189">
                  <c:v>42650</c:v>
                </c:pt>
                <c:pt idx="1190">
                  <c:v>42653</c:v>
                </c:pt>
                <c:pt idx="1191">
                  <c:v>42654</c:v>
                </c:pt>
                <c:pt idx="1192">
                  <c:v>42655</c:v>
                </c:pt>
                <c:pt idx="1193">
                  <c:v>42656</c:v>
                </c:pt>
                <c:pt idx="1194">
                  <c:v>42657</c:v>
                </c:pt>
                <c:pt idx="1195">
                  <c:v>42660</c:v>
                </c:pt>
                <c:pt idx="1196">
                  <c:v>42661</c:v>
                </c:pt>
                <c:pt idx="1197">
                  <c:v>42662</c:v>
                </c:pt>
                <c:pt idx="1198">
                  <c:v>42663</c:v>
                </c:pt>
                <c:pt idx="1199">
                  <c:v>42664</c:v>
                </c:pt>
                <c:pt idx="1200">
                  <c:v>42667</c:v>
                </c:pt>
                <c:pt idx="1201">
                  <c:v>42668</c:v>
                </c:pt>
                <c:pt idx="1202">
                  <c:v>42669</c:v>
                </c:pt>
                <c:pt idx="1203">
                  <c:v>42670</c:v>
                </c:pt>
                <c:pt idx="1204">
                  <c:v>42671</c:v>
                </c:pt>
                <c:pt idx="1205">
                  <c:v>42674</c:v>
                </c:pt>
                <c:pt idx="1206">
                  <c:v>42675</c:v>
                </c:pt>
                <c:pt idx="1207">
                  <c:v>42676</c:v>
                </c:pt>
                <c:pt idx="1208">
                  <c:v>42677</c:v>
                </c:pt>
                <c:pt idx="1209">
                  <c:v>42678</c:v>
                </c:pt>
                <c:pt idx="1210">
                  <c:v>42681</c:v>
                </c:pt>
                <c:pt idx="1211">
                  <c:v>42682</c:v>
                </c:pt>
                <c:pt idx="1212">
                  <c:v>42683</c:v>
                </c:pt>
                <c:pt idx="1213">
                  <c:v>42684</c:v>
                </c:pt>
                <c:pt idx="1214">
                  <c:v>42685</c:v>
                </c:pt>
                <c:pt idx="1215">
                  <c:v>42688</c:v>
                </c:pt>
                <c:pt idx="1216">
                  <c:v>42689</c:v>
                </c:pt>
                <c:pt idx="1217">
                  <c:v>42690</c:v>
                </c:pt>
                <c:pt idx="1218">
                  <c:v>42691</c:v>
                </c:pt>
                <c:pt idx="1219">
                  <c:v>42692</c:v>
                </c:pt>
                <c:pt idx="1220">
                  <c:v>42695</c:v>
                </c:pt>
                <c:pt idx="1221">
                  <c:v>42696</c:v>
                </c:pt>
                <c:pt idx="1222">
                  <c:v>42697</c:v>
                </c:pt>
                <c:pt idx="1223">
                  <c:v>42698</c:v>
                </c:pt>
                <c:pt idx="1224">
                  <c:v>42699</c:v>
                </c:pt>
                <c:pt idx="1225">
                  <c:v>42702</c:v>
                </c:pt>
                <c:pt idx="1226">
                  <c:v>42703</c:v>
                </c:pt>
                <c:pt idx="1227">
                  <c:v>42704</c:v>
                </c:pt>
                <c:pt idx="1228">
                  <c:v>42705</c:v>
                </c:pt>
                <c:pt idx="1229">
                  <c:v>42706</c:v>
                </c:pt>
                <c:pt idx="1230">
                  <c:v>42709</c:v>
                </c:pt>
                <c:pt idx="1231">
                  <c:v>42710</c:v>
                </c:pt>
                <c:pt idx="1232">
                  <c:v>42711</c:v>
                </c:pt>
                <c:pt idx="1233">
                  <c:v>42712</c:v>
                </c:pt>
                <c:pt idx="1234">
                  <c:v>42713</c:v>
                </c:pt>
                <c:pt idx="1235">
                  <c:v>42716</c:v>
                </c:pt>
                <c:pt idx="1236">
                  <c:v>42717</c:v>
                </c:pt>
                <c:pt idx="1237">
                  <c:v>42718</c:v>
                </c:pt>
                <c:pt idx="1238">
                  <c:v>42719</c:v>
                </c:pt>
                <c:pt idx="1239">
                  <c:v>42720</c:v>
                </c:pt>
                <c:pt idx="1240">
                  <c:v>42723</c:v>
                </c:pt>
                <c:pt idx="1241">
                  <c:v>42724</c:v>
                </c:pt>
                <c:pt idx="1242">
                  <c:v>42725</c:v>
                </c:pt>
                <c:pt idx="1243">
                  <c:v>42726</c:v>
                </c:pt>
                <c:pt idx="1244">
                  <c:v>42727</c:v>
                </c:pt>
                <c:pt idx="1245">
                  <c:v>42730</c:v>
                </c:pt>
                <c:pt idx="1246">
                  <c:v>42731</c:v>
                </c:pt>
                <c:pt idx="1247">
                  <c:v>42732</c:v>
                </c:pt>
                <c:pt idx="1248">
                  <c:v>42733</c:v>
                </c:pt>
                <c:pt idx="1249">
                  <c:v>42734</c:v>
                </c:pt>
                <c:pt idx="1250">
                  <c:v>42737</c:v>
                </c:pt>
                <c:pt idx="1251">
                  <c:v>42738</c:v>
                </c:pt>
                <c:pt idx="1252">
                  <c:v>42739</c:v>
                </c:pt>
                <c:pt idx="1253">
                  <c:v>42740</c:v>
                </c:pt>
                <c:pt idx="1254">
                  <c:v>42741</c:v>
                </c:pt>
                <c:pt idx="1255">
                  <c:v>42744</c:v>
                </c:pt>
                <c:pt idx="1256">
                  <c:v>42745</c:v>
                </c:pt>
                <c:pt idx="1257">
                  <c:v>42746</c:v>
                </c:pt>
                <c:pt idx="1258">
                  <c:v>42747</c:v>
                </c:pt>
                <c:pt idx="1259">
                  <c:v>42748</c:v>
                </c:pt>
                <c:pt idx="1260">
                  <c:v>42751</c:v>
                </c:pt>
                <c:pt idx="1261">
                  <c:v>42752</c:v>
                </c:pt>
                <c:pt idx="1262">
                  <c:v>42753</c:v>
                </c:pt>
                <c:pt idx="1263">
                  <c:v>42754</c:v>
                </c:pt>
                <c:pt idx="1264">
                  <c:v>42755</c:v>
                </c:pt>
                <c:pt idx="1265">
                  <c:v>42758</c:v>
                </c:pt>
                <c:pt idx="1266">
                  <c:v>42759</c:v>
                </c:pt>
                <c:pt idx="1267">
                  <c:v>42760</c:v>
                </c:pt>
                <c:pt idx="1268">
                  <c:v>42761</c:v>
                </c:pt>
                <c:pt idx="1269">
                  <c:v>42762</c:v>
                </c:pt>
                <c:pt idx="1270">
                  <c:v>42765</c:v>
                </c:pt>
                <c:pt idx="1271">
                  <c:v>42766</c:v>
                </c:pt>
                <c:pt idx="1272">
                  <c:v>42767</c:v>
                </c:pt>
                <c:pt idx="1273">
                  <c:v>42768</c:v>
                </c:pt>
                <c:pt idx="1274">
                  <c:v>42769</c:v>
                </c:pt>
                <c:pt idx="1275">
                  <c:v>42772</c:v>
                </c:pt>
                <c:pt idx="1276">
                  <c:v>42773</c:v>
                </c:pt>
                <c:pt idx="1277">
                  <c:v>42774</c:v>
                </c:pt>
                <c:pt idx="1278">
                  <c:v>42775</c:v>
                </c:pt>
                <c:pt idx="1279">
                  <c:v>42776</c:v>
                </c:pt>
                <c:pt idx="1280">
                  <c:v>42779</c:v>
                </c:pt>
                <c:pt idx="1281">
                  <c:v>42780</c:v>
                </c:pt>
                <c:pt idx="1282">
                  <c:v>42781</c:v>
                </c:pt>
                <c:pt idx="1283">
                  <c:v>42782</c:v>
                </c:pt>
                <c:pt idx="1284">
                  <c:v>42783</c:v>
                </c:pt>
                <c:pt idx="1285">
                  <c:v>42786</c:v>
                </c:pt>
                <c:pt idx="1286">
                  <c:v>42787</c:v>
                </c:pt>
                <c:pt idx="1287">
                  <c:v>42788</c:v>
                </c:pt>
                <c:pt idx="1288">
                  <c:v>42789</c:v>
                </c:pt>
                <c:pt idx="1289">
                  <c:v>42790</c:v>
                </c:pt>
                <c:pt idx="1290">
                  <c:v>42793</c:v>
                </c:pt>
                <c:pt idx="1291">
                  <c:v>42794</c:v>
                </c:pt>
                <c:pt idx="1292">
                  <c:v>42795</c:v>
                </c:pt>
                <c:pt idx="1293">
                  <c:v>42796</c:v>
                </c:pt>
                <c:pt idx="1294">
                  <c:v>42797</c:v>
                </c:pt>
                <c:pt idx="1295">
                  <c:v>42800</c:v>
                </c:pt>
                <c:pt idx="1296">
                  <c:v>42801</c:v>
                </c:pt>
                <c:pt idx="1297">
                  <c:v>42802</c:v>
                </c:pt>
                <c:pt idx="1298">
                  <c:v>42803</c:v>
                </c:pt>
                <c:pt idx="1299">
                  <c:v>42804</c:v>
                </c:pt>
                <c:pt idx="1300">
                  <c:v>42807</c:v>
                </c:pt>
                <c:pt idx="1301">
                  <c:v>42808</c:v>
                </c:pt>
                <c:pt idx="1302">
                  <c:v>42809</c:v>
                </c:pt>
                <c:pt idx="1303">
                  <c:v>42810</c:v>
                </c:pt>
                <c:pt idx="1304">
                  <c:v>42811</c:v>
                </c:pt>
                <c:pt idx="1305">
                  <c:v>42814</c:v>
                </c:pt>
                <c:pt idx="1306">
                  <c:v>42815</c:v>
                </c:pt>
                <c:pt idx="1307">
                  <c:v>42816</c:v>
                </c:pt>
                <c:pt idx="1308">
                  <c:v>42817</c:v>
                </c:pt>
                <c:pt idx="1309">
                  <c:v>42818</c:v>
                </c:pt>
                <c:pt idx="1310">
                  <c:v>42821</c:v>
                </c:pt>
                <c:pt idx="1311">
                  <c:v>42822</c:v>
                </c:pt>
                <c:pt idx="1312">
                  <c:v>42823</c:v>
                </c:pt>
                <c:pt idx="1313">
                  <c:v>42824</c:v>
                </c:pt>
                <c:pt idx="1314">
                  <c:v>42825</c:v>
                </c:pt>
                <c:pt idx="1315">
                  <c:v>42828</c:v>
                </c:pt>
                <c:pt idx="1316">
                  <c:v>42829</c:v>
                </c:pt>
                <c:pt idx="1317">
                  <c:v>42830</c:v>
                </c:pt>
                <c:pt idx="1318">
                  <c:v>42831</c:v>
                </c:pt>
                <c:pt idx="1319">
                  <c:v>42832</c:v>
                </c:pt>
                <c:pt idx="1320">
                  <c:v>42835</c:v>
                </c:pt>
                <c:pt idx="1321">
                  <c:v>42836</c:v>
                </c:pt>
                <c:pt idx="1322">
                  <c:v>42837</c:v>
                </c:pt>
                <c:pt idx="1323">
                  <c:v>42838</c:v>
                </c:pt>
                <c:pt idx="1324">
                  <c:v>42839</c:v>
                </c:pt>
                <c:pt idx="1325">
                  <c:v>42842</c:v>
                </c:pt>
                <c:pt idx="1326">
                  <c:v>42843</c:v>
                </c:pt>
                <c:pt idx="1327">
                  <c:v>42844</c:v>
                </c:pt>
                <c:pt idx="1328">
                  <c:v>42845</c:v>
                </c:pt>
                <c:pt idx="1329">
                  <c:v>42846</c:v>
                </c:pt>
                <c:pt idx="1330">
                  <c:v>42849</c:v>
                </c:pt>
                <c:pt idx="1331">
                  <c:v>42850</c:v>
                </c:pt>
                <c:pt idx="1332">
                  <c:v>42851</c:v>
                </c:pt>
                <c:pt idx="1333">
                  <c:v>42852</c:v>
                </c:pt>
                <c:pt idx="1334">
                  <c:v>42853</c:v>
                </c:pt>
                <c:pt idx="1335">
                  <c:v>42856</c:v>
                </c:pt>
                <c:pt idx="1336">
                  <c:v>42857</c:v>
                </c:pt>
                <c:pt idx="1337">
                  <c:v>42858</c:v>
                </c:pt>
                <c:pt idx="1338">
                  <c:v>42859</c:v>
                </c:pt>
                <c:pt idx="1339">
                  <c:v>42860</c:v>
                </c:pt>
                <c:pt idx="1340">
                  <c:v>42863</c:v>
                </c:pt>
                <c:pt idx="1341">
                  <c:v>42864</c:v>
                </c:pt>
                <c:pt idx="1342">
                  <c:v>42865</c:v>
                </c:pt>
                <c:pt idx="1343">
                  <c:v>42866</c:v>
                </c:pt>
                <c:pt idx="1344">
                  <c:v>42867</c:v>
                </c:pt>
                <c:pt idx="1345">
                  <c:v>42870</c:v>
                </c:pt>
                <c:pt idx="1346">
                  <c:v>42871</c:v>
                </c:pt>
                <c:pt idx="1347">
                  <c:v>42872</c:v>
                </c:pt>
                <c:pt idx="1348">
                  <c:v>42873</c:v>
                </c:pt>
                <c:pt idx="1349">
                  <c:v>42874</c:v>
                </c:pt>
                <c:pt idx="1350">
                  <c:v>42877</c:v>
                </c:pt>
                <c:pt idx="1351">
                  <c:v>42878</c:v>
                </c:pt>
                <c:pt idx="1352">
                  <c:v>42879</c:v>
                </c:pt>
                <c:pt idx="1353">
                  <c:v>42880</c:v>
                </c:pt>
                <c:pt idx="1354">
                  <c:v>42881</c:v>
                </c:pt>
                <c:pt idx="1355">
                  <c:v>42884</c:v>
                </c:pt>
                <c:pt idx="1356">
                  <c:v>42885</c:v>
                </c:pt>
                <c:pt idx="1357">
                  <c:v>42886</c:v>
                </c:pt>
                <c:pt idx="1358">
                  <c:v>42887</c:v>
                </c:pt>
                <c:pt idx="1359">
                  <c:v>42888</c:v>
                </c:pt>
                <c:pt idx="1360">
                  <c:v>42891</c:v>
                </c:pt>
                <c:pt idx="1361">
                  <c:v>42892</c:v>
                </c:pt>
                <c:pt idx="1362">
                  <c:v>42893</c:v>
                </c:pt>
                <c:pt idx="1363">
                  <c:v>42894</c:v>
                </c:pt>
                <c:pt idx="1364">
                  <c:v>42895</c:v>
                </c:pt>
                <c:pt idx="1365">
                  <c:v>42898</c:v>
                </c:pt>
                <c:pt idx="1366">
                  <c:v>42899</c:v>
                </c:pt>
                <c:pt idx="1367">
                  <c:v>42900</c:v>
                </c:pt>
                <c:pt idx="1368">
                  <c:v>42901</c:v>
                </c:pt>
                <c:pt idx="1369">
                  <c:v>42902</c:v>
                </c:pt>
                <c:pt idx="1370">
                  <c:v>42905</c:v>
                </c:pt>
                <c:pt idx="1371">
                  <c:v>42906</c:v>
                </c:pt>
                <c:pt idx="1372">
                  <c:v>42907</c:v>
                </c:pt>
                <c:pt idx="1373">
                  <c:v>42908</c:v>
                </c:pt>
                <c:pt idx="1374">
                  <c:v>42909</c:v>
                </c:pt>
                <c:pt idx="1375">
                  <c:v>42912</c:v>
                </c:pt>
                <c:pt idx="1376">
                  <c:v>42913</c:v>
                </c:pt>
                <c:pt idx="1377">
                  <c:v>42914</c:v>
                </c:pt>
                <c:pt idx="1378">
                  <c:v>42915</c:v>
                </c:pt>
                <c:pt idx="1379">
                  <c:v>42916</c:v>
                </c:pt>
                <c:pt idx="1380">
                  <c:v>42919</c:v>
                </c:pt>
                <c:pt idx="1381">
                  <c:v>42920</c:v>
                </c:pt>
                <c:pt idx="1382">
                  <c:v>42921</c:v>
                </c:pt>
                <c:pt idx="1383">
                  <c:v>42922</c:v>
                </c:pt>
                <c:pt idx="1384">
                  <c:v>42923</c:v>
                </c:pt>
                <c:pt idx="1385">
                  <c:v>42926</c:v>
                </c:pt>
                <c:pt idx="1386">
                  <c:v>42927</c:v>
                </c:pt>
                <c:pt idx="1387">
                  <c:v>42928</c:v>
                </c:pt>
                <c:pt idx="1388">
                  <c:v>42929</c:v>
                </c:pt>
                <c:pt idx="1389">
                  <c:v>42930</c:v>
                </c:pt>
                <c:pt idx="1390">
                  <c:v>42933</c:v>
                </c:pt>
                <c:pt idx="1391">
                  <c:v>42934</c:v>
                </c:pt>
                <c:pt idx="1392">
                  <c:v>42935</c:v>
                </c:pt>
                <c:pt idx="1393">
                  <c:v>42936</c:v>
                </c:pt>
                <c:pt idx="1394">
                  <c:v>42937</c:v>
                </c:pt>
                <c:pt idx="1395">
                  <c:v>42940</c:v>
                </c:pt>
                <c:pt idx="1396">
                  <c:v>42941</c:v>
                </c:pt>
                <c:pt idx="1397">
                  <c:v>42942</c:v>
                </c:pt>
                <c:pt idx="1398">
                  <c:v>42943</c:v>
                </c:pt>
                <c:pt idx="1399">
                  <c:v>42944</c:v>
                </c:pt>
                <c:pt idx="1400">
                  <c:v>42947</c:v>
                </c:pt>
                <c:pt idx="1401">
                  <c:v>42948</c:v>
                </c:pt>
                <c:pt idx="1402">
                  <c:v>42949</c:v>
                </c:pt>
                <c:pt idx="1403">
                  <c:v>42950</c:v>
                </c:pt>
                <c:pt idx="1404">
                  <c:v>42951</c:v>
                </c:pt>
                <c:pt idx="1405">
                  <c:v>42954</c:v>
                </c:pt>
                <c:pt idx="1406">
                  <c:v>42955</c:v>
                </c:pt>
                <c:pt idx="1407">
                  <c:v>42956</c:v>
                </c:pt>
                <c:pt idx="1408">
                  <c:v>42957</c:v>
                </c:pt>
                <c:pt idx="1409">
                  <c:v>42958</c:v>
                </c:pt>
                <c:pt idx="1410">
                  <c:v>42961</c:v>
                </c:pt>
                <c:pt idx="1411">
                  <c:v>42962</c:v>
                </c:pt>
                <c:pt idx="1412">
                  <c:v>42963</c:v>
                </c:pt>
                <c:pt idx="1413">
                  <c:v>42964</c:v>
                </c:pt>
                <c:pt idx="1414">
                  <c:v>42965</c:v>
                </c:pt>
                <c:pt idx="1415">
                  <c:v>42968</c:v>
                </c:pt>
                <c:pt idx="1416">
                  <c:v>42969</c:v>
                </c:pt>
                <c:pt idx="1417">
                  <c:v>42970</c:v>
                </c:pt>
                <c:pt idx="1418">
                  <c:v>42971</c:v>
                </c:pt>
                <c:pt idx="1419">
                  <c:v>42972</c:v>
                </c:pt>
                <c:pt idx="1420">
                  <c:v>42975</c:v>
                </c:pt>
                <c:pt idx="1421">
                  <c:v>42976</c:v>
                </c:pt>
                <c:pt idx="1422">
                  <c:v>42977</c:v>
                </c:pt>
                <c:pt idx="1423">
                  <c:v>42978</c:v>
                </c:pt>
                <c:pt idx="1424">
                  <c:v>42979</c:v>
                </c:pt>
                <c:pt idx="1425">
                  <c:v>42982</c:v>
                </c:pt>
                <c:pt idx="1426">
                  <c:v>42983</c:v>
                </c:pt>
                <c:pt idx="1427">
                  <c:v>42984</c:v>
                </c:pt>
                <c:pt idx="1428">
                  <c:v>42985</c:v>
                </c:pt>
                <c:pt idx="1429">
                  <c:v>42986</c:v>
                </c:pt>
                <c:pt idx="1430">
                  <c:v>42989</c:v>
                </c:pt>
                <c:pt idx="1431">
                  <c:v>42990</c:v>
                </c:pt>
                <c:pt idx="1432">
                  <c:v>42991</c:v>
                </c:pt>
                <c:pt idx="1433">
                  <c:v>42992</c:v>
                </c:pt>
                <c:pt idx="1434">
                  <c:v>42993</c:v>
                </c:pt>
                <c:pt idx="1435">
                  <c:v>42996</c:v>
                </c:pt>
                <c:pt idx="1436">
                  <c:v>42997</c:v>
                </c:pt>
                <c:pt idx="1437">
                  <c:v>42998</c:v>
                </c:pt>
                <c:pt idx="1438">
                  <c:v>42999</c:v>
                </c:pt>
                <c:pt idx="1439">
                  <c:v>43000</c:v>
                </c:pt>
                <c:pt idx="1440">
                  <c:v>43003</c:v>
                </c:pt>
                <c:pt idx="1441">
                  <c:v>43004</c:v>
                </c:pt>
                <c:pt idx="1442">
                  <c:v>43005</c:v>
                </c:pt>
                <c:pt idx="1443">
                  <c:v>43006</c:v>
                </c:pt>
                <c:pt idx="1444">
                  <c:v>43007</c:v>
                </c:pt>
                <c:pt idx="1445">
                  <c:v>43010</c:v>
                </c:pt>
                <c:pt idx="1446">
                  <c:v>43011</c:v>
                </c:pt>
                <c:pt idx="1447">
                  <c:v>43012</c:v>
                </c:pt>
                <c:pt idx="1448">
                  <c:v>43013</c:v>
                </c:pt>
                <c:pt idx="1449">
                  <c:v>43014</c:v>
                </c:pt>
                <c:pt idx="1450">
                  <c:v>43017</c:v>
                </c:pt>
                <c:pt idx="1451">
                  <c:v>43018</c:v>
                </c:pt>
                <c:pt idx="1452">
                  <c:v>43019</c:v>
                </c:pt>
                <c:pt idx="1453">
                  <c:v>43020</c:v>
                </c:pt>
                <c:pt idx="1454">
                  <c:v>43021</c:v>
                </c:pt>
                <c:pt idx="1455">
                  <c:v>43024</c:v>
                </c:pt>
                <c:pt idx="1456">
                  <c:v>43025</c:v>
                </c:pt>
                <c:pt idx="1457">
                  <c:v>43026</c:v>
                </c:pt>
                <c:pt idx="1458">
                  <c:v>43027</c:v>
                </c:pt>
                <c:pt idx="1459">
                  <c:v>43028</c:v>
                </c:pt>
                <c:pt idx="1460">
                  <c:v>43031</c:v>
                </c:pt>
                <c:pt idx="1461">
                  <c:v>43032</c:v>
                </c:pt>
                <c:pt idx="1462">
                  <c:v>43033</c:v>
                </c:pt>
                <c:pt idx="1463">
                  <c:v>43034</c:v>
                </c:pt>
                <c:pt idx="1464">
                  <c:v>43035</c:v>
                </c:pt>
                <c:pt idx="1465">
                  <c:v>43038</c:v>
                </c:pt>
                <c:pt idx="1466">
                  <c:v>43039</c:v>
                </c:pt>
                <c:pt idx="1467">
                  <c:v>43040</c:v>
                </c:pt>
                <c:pt idx="1468">
                  <c:v>43041</c:v>
                </c:pt>
                <c:pt idx="1469">
                  <c:v>43042</c:v>
                </c:pt>
                <c:pt idx="1470">
                  <c:v>43045</c:v>
                </c:pt>
                <c:pt idx="1471">
                  <c:v>43046</c:v>
                </c:pt>
                <c:pt idx="1472">
                  <c:v>43047</c:v>
                </c:pt>
                <c:pt idx="1473">
                  <c:v>43048</c:v>
                </c:pt>
                <c:pt idx="1474">
                  <c:v>43049</c:v>
                </c:pt>
                <c:pt idx="1475">
                  <c:v>43052</c:v>
                </c:pt>
                <c:pt idx="1476">
                  <c:v>43053</c:v>
                </c:pt>
                <c:pt idx="1477">
                  <c:v>43054</c:v>
                </c:pt>
                <c:pt idx="1478">
                  <c:v>43055</c:v>
                </c:pt>
                <c:pt idx="1479">
                  <c:v>43056</c:v>
                </c:pt>
                <c:pt idx="1480">
                  <c:v>43059</c:v>
                </c:pt>
                <c:pt idx="1481">
                  <c:v>43060</c:v>
                </c:pt>
                <c:pt idx="1482">
                  <c:v>43061</c:v>
                </c:pt>
                <c:pt idx="1483">
                  <c:v>43062</c:v>
                </c:pt>
                <c:pt idx="1484">
                  <c:v>43063</c:v>
                </c:pt>
                <c:pt idx="1485">
                  <c:v>43066</c:v>
                </c:pt>
                <c:pt idx="1486">
                  <c:v>43067</c:v>
                </c:pt>
                <c:pt idx="1487">
                  <c:v>43068</c:v>
                </c:pt>
                <c:pt idx="1488">
                  <c:v>43069</c:v>
                </c:pt>
                <c:pt idx="1489">
                  <c:v>43070</c:v>
                </c:pt>
                <c:pt idx="1490">
                  <c:v>43073</c:v>
                </c:pt>
                <c:pt idx="1491">
                  <c:v>43074</c:v>
                </c:pt>
                <c:pt idx="1492">
                  <c:v>43075</c:v>
                </c:pt>
                <c:pt idx="1493">
                  <c:v>43076</c:v>
                </c:pt>
                <c:pt idx="1494">
                  <c:v>43077</c:v>
                </c:pt>
                <c:pt idx="1495">
                  <c:v>43080</c:v>
                </c:pt>
                <c:pt idx="1496">
                  <c:v>43081</c:v>
                </c:pt>
                <c:pt idx="1497">
                  <c:v>43082</c:v>
                </c:pt>
                <c:pt idx="1498">
                  <c:v>43083</c:v>
                </c:pt>
                <c:pt idx="1499">
                  <c:v>43084</c:v>
                </c:pt>
                <c:pt idx="1500">
                  <c:v>43087</c:v>
                </c:pt>
                <c:pt idx="1501">
                  <c:v>43088</c:v>
                </c:pt>
                <c:pt idx="1502">
                  <c:v>43089</c:v>
                </c:pt>
                <c:pt idx="1503">
                  <c:v>43090</c:v>
                </c:pt>
                <c:pt idx="1504">
                  <c:v>43091</c:v>
                </c:pt>
                <c:pt idx="1505">
                  <c:v>43094</c:v>
                </c:pt>
                <c:pt idx="1506">
                  <c:v>43095</c:v>
                </c:pt>
                <c:pt idx="1507">
                  <c:v>43096</c:v>
                </c:pt>
                <c:pt idx="1508">
                  <c:v>43097</c:v>
                </c:pt>
                <c:pt idx="1509">
                  <c:v>43098</c:v>
                </c:pt>
                <c:pt idx="1510">
                  <c:v>43101</c:v>
                </c:pt>
                <c:pt idx="1511">
                  <c:v>43102</c:v>
                </c:pt>
                <c:pt idx="1512">
                  <c:v>43103</c:v>
                </c:pt>
                <c:pt idx="1513">
                  <c:v>43104</c:v>
                </c:pt>
                <c:pt idx="1514">
                  <c:v>43105</c:v>
                </c:pt>
                <c:pt idx="1515">
                  <c:v>43108</c:v>
                </c:pt>
                <c:pt idx="1516">
                  <c:v>43109</c:v>
                </c:pt>
                <c:pt idx="1517">
                  <c:v>43110</c:v>
                </c:pt>
                <c:pt idx="1518">
                  <c:v>43111</c:v>
                </c:pt>
                <c:pt idx="1519">
                  <c:v>43112</c:v>
                </c:pt>
                <c:pt idx="1520">
                  <c:v>43115</c:v>
                </c:pt>
                <c:pt idx="1521">
                  <c:v>43116</c:v>
                </c:pt>
                <c:pt idx="1522">
                  <c:v>43117</c:v>
                </c:pt>
                <c:pt idx="1523">
                  <c:v>43118</c:v>
                </c:pt>
                <c:pt idx="1524">
                  <c:v>43119</c:v>
                </c:pt>
                <c:pt idx="1525">
                  <c:v>43122</c:v>
                </c:pt>
                <c:pt idx="1526">
                  <c:v>43123</c:v>
                </c:pt>
                <c:pt idx="1527">
                  <c:v>43124</c:v>
                </c:pt>
                <c:pt idx="1528">
                  <c:v>43125</c:v>
                </c:pt>
                <c:pt idx="1529">
                  <c:v>43126</c:v>
                </c:pt>
                <c:pt idx="1530">
                  <c:v>43129</c:v>
                </c:pt>
                <c:pt idx="1531">
                  <c:v>43130</c:v>
                </c:pt>
                <c:pt idx="1532">
                  <c:v>43131</c:v>
                </c:pt>
                <c:pt idx="1533">
                  <c:v>43132</c:v>
                </c:pt>
                <c:pt idx="1534">
                  <c:v>43133</c:v>
                </c:pt>
                <c:pt idx="1535">
                  <c:v>43136</c:v>
                </c:pt>
                <c:pt idx="1536">
                  <c:v>43137</c:v>
                </c:pt>
                <c:pt idx="1537">
                  <c:v>43138</c:v>
                </c:pt>
                <c:pt idx="1538">
                  <c:v>43139</c:v>
                </c:pt>
                <c:pt idx="1539">
                  <c:v>43140</c:v>
                </c:pt>
                <c:pt idx="1540">
                  <c:v>43143</c:v>
                </c:pt>
                <c:pt idx="1541">
                  <c:v>43144</c:v>
                </c:pt>
                <c:pt idx="1542">
                  <c:v>43145</c:v>
                </c:pt>
                <c:pt idx="1543">
                  <c:v>43146</c:v>
                </c:pt>
                <c:pt idx="1544">
                  <c:v>43147</c:v>
                </c:pt>
                <c:pt idx="1545">
                  <c:v>43150</c:v>
                </c:pt>
                <c:pt idx="1546">
                  <c:v>43151</c:v>
                </c:pt>
                <c:pt idx="1547">
                  <c:v>43152</c:v>
                </c:pt>
                <c:pt idx="1548">
                  <c:v>43153</c:v>
                </c:pt>
                <c:pt idx="1549">
                  <c:v>43154</c:v>
                </c:pt>
                <c:pt idx="1550">
                  <c:v>43157</c:v>
                </c:pt>
                <c:pt idx="1551">
                  <c:v>43158</c:v>
                </c:pt>
                <c:pt idx="1552">
                  <c:v>43159</c:v>
                </c:pt>
                <c:pt idx="1553">
                  <c:v>43160</c:v>
                </c:pt>
                <c:pt idx="1554">
                  <c:v>43161</c:v>
                </c:pt>
                <c:pt idx="1555">
                  <c:v>43164</c:v>
                </c:pt>
                <c:pt idx="1556">
                  <c:v>43165</c:v>
                </c:pt>
                <c:pt idx="1557">
                  <c:v>43166</c:v>
                </c:pt>
                <c:pt idx="1558">
                  <c:v>43167</c:v>
                </c:pt>
                <c:pt idx="1559">
                  <c:v>43168</c:v>
                </c:pt>
                <c:pt idx="1560">
                  <c:v>43171</c:v>
                </c:pt>
                <c:pt idx="1561">
                  <c:v>43172</c:v>
                </c:pt>
                <c:pt idx="1562">
                  <c:v>43173</c:v>
                </c:pt>
                <c:pt idx="1563">
                  <c:v>43174</c:v>
                </c:pt>
                <c:pt idx="1564">
                  <c:v>43175</c:v>
                </c:pt>
                <c:pt idx="1565">
                  <c:v>43178</c:v>
                </c:pt>
                <c:pt idx="1566">
                  <c:v>43179</c:v>
                </c:pt>
                <c:pt idx="1567">
                  <c:v>43180</c:v>
                </c:pt>
                <c:pt idx="1568">
                  <c:v>43181</c:v>
                </c:pt>
                <c:pt idx="1569">
                  <c:v>43182</c:v>
                </c:pt>
                <c:pt idx="1570">
                  <c:v>43185</c:v>
                </c:pt>
                <c:pt idx="1571">
                  <c:v>43186</c:v>
                </c:pt>
                <c:pt idx="1572">
                  <c:v>43187</c:v>
                </c:pt>
                <c:pt idx="1573">
                  <c:v>43188</c:v>
                </c:pt>
                <c:pt idx="1574">
                  <c:v>43189</c:v>
                </c:pt>
                <c:pt idx="1575">
                  <c:v>43192</c:v>
                </c:pt>
                <c:pt idx="1576">
                  <c:v>43193</c:v>
                </c:pt>
                <c:pt idx="1577">
                  <c:v>43194</c:v>
                </c:pt>
                <c:pt idx="1578">
                  <c:v>43195</c:v>
                </c:pt>
                <c:pt idx="1579">
                  <c:v>43196</c:v>
                </c:pt>
                <c:pt idx="1580">
                  <c:v>43199</c:v>
                </c:pt>
                <c:pt idx="1581">
                  <c:v>43200</c:v>
                </c:pt>
                <c:pt idx="1582">
                  <c:v>43201</c:v>
                </c:pt>
                <c:pt idx="1583">
                  <c:v>43202</c:v>
                </c:pt>
                <c:pt idx="1584">
                  <c:v>43203</c:v>
                </c:pt>
                <c:pt idx="1585">
                  <c:v>43206</c:v>
                </c:pt>
                <c:pt idx="1586">
                  <c:v>43207</c:v>
                </c:pt>
                <c:pt idx="1587">
                  <c:v>43208</c:v>
                </c:pt>
                <c:pt idx="1588">
                  <c:v>43209</c:v>
                </c:pt>
                <c:pt idx="1589">
                  <c:v>43210</c:v>
                </c:pt>
                <c:pt idx="1590">
                  <c:v>43213</c:v>
                </c:pt>
                <c:pt idx="1591">
                  <c:v>43214</c:v>
                </c:pt>
                <c:pt idx="1592">
                  <c:v>43215</c:v>
                </c:pt>
                <c:pt idx="1593">
                  <c:v>43216</c:v>
                </c:pt>
                <c:pt idx="1594">
                  <c:v>43217</c:v>
                </c:pt>
                <c:pt idx="1595">
                  <c:v>43220</c:v>
                </c:pt>
                <c:pt idx="1596">
                  <c:v>43221</c:v>
                </c:pt>
                <c:pt idx="1597">
                  <c:v>43222</c:v>
                </c:pt>
                <c:pt idx="1598">
                  <c:v>43223</c:v>
                </c:pt>
                <c:pt idx="1599">
                  <c:v>43224</c:v>
                </c:pt>
                <c:pt idx="1600">
                  <c:v>43227</c:v>
                </c:pt>
                <c:pt idx="1601">
                  <c:v>43228</c:v>
                </c:pt>
                <c:pt idx="1602">
                  <c:v>43229</c:v>
                </c:pt>
                <c:pt idx="1603">
                  <c:v>43230</c:v>
                </c:pt>
                <c:pt idx="1604">
                  <c:v>43231</c:v>
                </c:pt>
                <c:pt idx="1605">
                  <c:v>43234</c:v>
                </c:pt>
                <c:pt idx="1606">
                  <c:v>43235</c:v>
                </c:pt>
                <c:pt idx="1607">
                  <c:v>43236</c:v>
                </c:pt>
                <c:pt idx="1608">
                  <c:v>43237</c:v>
                </c:pt>
                <c:pt idx="1609">
                  <c:v>43238</c:v>
                </c:pt>
                <c:pt idx="1610">
                  <c:v>43241</c:v>
                </c:pt>
                <c:pt idx="1611">
                  <c:v>43242</c:v>
                </c:pt>
                <c:pt idx="1612">
                  <c:v>43243</c:v>
                </c:pt>
                <c:pt idx="1613">
                  <c:v>43244</c:v>
                </c:pt>
                <c:pt idx="1614">
                  <c:v>43245</c:v>
                </c:pt>
                <c:pt idx="1615">
                  <c:v>43248</c:v>
                </c:pt>
                <c:pt idx="1616">
                  <c:v>43249</c:v>
                </c:pt>
                <c:pt idx="1617">
                  <c:v>43250</c:v>
                </c:pt>
                <c:pt idx="1618">
                  <c:v>43251</c:v>
                </c:pt>
                <c:pt idx="1619">
                  <c:v>43252</c:v>
                </c:pt>
                <c:pt idx="1620">
                  <c:v>43255</c:v>
                </c:pt>
                <c:pt idx="1621">
                  <c:v>43256</c:v>
                </c:pt>
                <c:pt idx="1622">
                  <c:v>43257</c:v>
                </c:pt>
                <c:pt idx="1623">
                  <c:v>43258</c:v>
                </c:pt>
                <c:pt idx="1624">
                  <c:v>43259</c:v>
                </c:pt>
                <c:pt idx="1625">
                  <c:v>43262</c:v>
                </c:pt>
                <c:pt idx="1626">
                  <c:v>43263</c:v>
                </c:pt>
                <c:pt idx="1627">
                  <c:v>43264</c:v>
                </c:pt>
                <c:pt idx="1628">
                  <c:v>43265</c:v>
                </c:pt>
                <c:pt idx="1629">
                  <c:v>43266</c:v>
                </c:pt>
                <c:pt idx="1630">
                  <c:v>43269</c:v>
                </c:pt>
                <c:pt idx="1631">
                  <c:v>43270</c:v>
                </c:pt>
                <c:pt idx="1632">
                  <c:v>43271</c:v>
                </c:pt>
                <c:pt idx="1633">
                  <c:v>43272</c:v>
                </c:pt>
                <c:pt idx="1634">
                  <c:v>43273</c:v>
                </c:pt>
                <c:pt idx="1635">
                  <c:v>43276</c:v>
                </c:pt>
                <c:pt idx="1636">
                  <c:v>43277</c:v>
                </c:pt>
                <c:pt idx="1637">
                  <c:v>43278</c:v>
                </c:pt>
                <c:pt idx="1638">
                  <c:v>43279</c:v>
                </c:pt>
                <c:pt idx="1639">
                  <c:v>43280</c:v>
                </c:pt>
                <c:pt idx="1640">
                  <c:v>43283</c:v>
                </c:pt>
                <c:pt idx="1641">
                  <c:v>43284</c:v>
                </c:pt>
                <c:pt idx="1642">
                  <c:v>43285</c:v>
                </c:pt>
                <c:pt idx="1643">
                  <c:v>43286</c:v>
                </c:pt>
                <c:pt idx="1644">
                  <c:v>43287</c:v>
                </c:pt>
                <c:pt idx="1645">
                  <c:v>43290</c:v>
                </c:pt>
                <c:pt idx="1646">
                  <c:v>43291</c:v>
                </c:pt>
                <c:pt idx="1647">
                  <c:v>43292</c:v>
                </c:pt>
                <c:pt idx="1648">
                  <c:v>43293</c:v>
                </c:pt>
                <c:pt idx="1649">
                  <c:v>43294</c:v>
                </c:pt>
                <c:pt idx="1650">
                  <c:v>43297</c:v>
                </c:pt>
                <c:pt idx="1651">
                  <c:v>43298</c:v>
                </c:pt>
                <c:pt idx="1652">
                  <c:v>43299</c:v>
                </c:pt>
                <c:pt idx="1653">
                  <c:v>43300</c:v>
                </c:pt>
                <c:pt idx="1654">
                  <c:v>43301</c:v>
                </c:pt>
                <c:pt idx="1655">
                  <c:v>43304</c:v>
                </c:pt>
                <c:pt idx="1656">
                  <c:v>43305</c:v>
                </c:pt>
                <c:pt idx="1657">
                  <c:v>43306</c:v>
                </c:pt>
                <c:pt idx="1658">
                  <c:v>43307</c:v>
                </c:pt>
                <c:pt idx="1659">
                  <c:v>43308</c:v>
                </c:pt>
                <c:pt idx="1660">
                  <c:v>43311</c:v>
                </c:pt>
                <c:pt idx="1661">
                  <c:v>43312</c:v>
                </c:pt>
                <c:pt idx="1662">
                  <c:v>43313</c:v>
                </c:pt>
                <c:pt idx="1663">
                  <c:v>43314</c:v>
                </c:pt>
                <c:pt idx="1664">
                  <c:v>43315</c:v>
                </c:pt>
                <c:pt idx="1665">
                  <c:v>43318</c:v>
                </c:pt>
                <c:pt idx="1666">
                  <c:v>43319</c:v>
                </c:pt>
                <c:pt idx="1667">
                  <c:v>43320</c:v>
                </c:pt>
                <c:pt idx="1668">
                  <c:v>43321</c:v>
                </c:pt>
                <c:pt idx="1669">
                  <c:v>43322</c:v>
                </c:pt>
                <c:pt idx="1670">
                  <c:v>43325</c:v>
                </c:pt>
                <c:pt idx="1671">
                  <c:v>43326</c:v>
                </c:pt>
                <c:pt idx="1672">
                  <c:v>43327</c:v>
                </c:pt>
                <c:pt idx="1673">
                  <c:v>43328</c:v>
                </c:pt>
                <c:pt idx="1674">
                  <c:v>43329</c:v>
                </c:pt>
                <c:pt idx="1675">
                  <c:v>43332</c:v>
                </c:pt>
                <c:pt idx="1676">
                  <c:v>43333</c:v>
                </c:pt>
                <c:pt idx="1677">
                  <c:v>43334</c:v>
                </c:pt>
                <c:pt idx="1678">
                  <c:v>43335</c:v>
                </c:pt>
                <c:pt idx="1679">
                  <c:v>43336</c:v>
                </c:pt>
                <c:pt idx="1680">
                  <c:v>43339</c:v>
                </c:pt>
                <c:pt idx="1681">
                  <c:v>43340</c:v>
                </c:pt>
                <c:pt idx="1682">
                  <c:v>43341</c:v>
                </c:pt>
                <c:pt idx="1683">
                  <c:v>43342</c:v>
                </c:pt>
                <c:pt idx="1684">
                  <c:v>43343</c:v>
                </c:pt>
                <c:pt idx="1685">
                  <c:v>43346</c:v>
                </c:pt>
                <c:pt idx="1686">
                  <c:v>43347</c:v>
                </c:pt>
                <c:pt idx="1687">
                  <c:v>43348</c:v>
                </c:pt>
                <c:pt idx="1688">
                  <c:v>43349</c:v>
                </c:pt>
                <c:pt idx="1689">
                  <c:v>43350</c:v>
                </c:pt>
                <c:pt idx="1690">
                  <c:v>43353</c:v>
                </c:pt>
                <c:pt idx="1691">
                  <c:v>43354</c:v>
                </c:pt>
                <c:pt idx="1692">
                  <c:v>43355</c:v>
                </c:pt>
                <c:pt idx="1693">
                  <c:v>43356</c:v>
                </c:pt>
                <c:pt idx="1694">
                  <c:v>43357</c:v>
                </c:pt>
                <c:pt idx="1695">
                  <c:v>43360</c:v>
                </c:pt>
                <c:pt idx="1696">
                  <c:v>43361</c:v>
                </c:pt>
                <c:pt idx="1697">
                  <c:v>43362</c:v>
                </c:pt>
                <c:pt idx="1698">
                  <c:v>43363</c:v>
                </c:pt>
                <c:pt idx="1699">
                  <c:v>43364</c:v>
                </c:pt>
                <c:pt idx="1700">
                  <c:v>43367</c:v>
                </c:pt>
                <c:pt idx="1701">
                  <c:v>43368</c:v>
                </c:pt>
                <c:pt idx="1702">
                  <c:v>43369</c:v>
                </c:pt>
                <c:pt idx="1703">
                  <c:v>43370</c:v>
                </c:pt>
                <c:pt idx="1704">
                  <c:v>43371</c:v>
                </c:pt>
                <c:pt idx="1705">
                  <c:v>43374</c:v>
                </c:pt>
                <c:pt idx="1706">
                  <c:v>43375</c:v>
                </c:pt>
                <c:pt idx="1707">
                  <c:v>43376</c:v>
                </c:pt>
                <c:pt idx="1708">
                  <c:v>43377</c:v>
                </c:pt>
                <c:pt idx="1709">
                  <c:v>43378</c:v>
                </c:pt>
                <c:pt idx="1710">
                  <c:v>43381</c:v>
                </c:pt>
                <c:pt idx="1711">
                  <c:v>43382</c:v>
                </c:pt>
                <c:pt idx="1712">
                  <c:v>43383</c:v>
                </c:pt>
                <c:pt idx="1713">
                  <c:v>43384</c:v>
                </c:pt>
                <c:pt idx="1714">
                  <c:v>43385</c:v>
                </c:pt>
                <c:pt idx="1715">
                  <c:v>43388</c:v>
                </c:pt>
                <c:pt idx="1716">
                  <c:v>43389</c:v>
                </c:pt>
                <c:pt idx="1717">
                  <c:v>43390</c:v>
                </c:pt>
                <c:pt idx="1718">
                  <c:v>43391</c:v>
                </c:pt>
                <c:pt idx="1719">
                  <c:v>43392</c:v>
                </c:pt>
                <c:pt idx="1720">
                  <c:v>43395</c:v>
                </c:pt>
                <c:pt idx="1721">
                  <c:v>43396</c:v>
                </c:pt>
                <c:pt idx="1722">
                  <c:v>43397</c:v>
                </c:pt>
                <c:pt idx="1723">
                  <c:v>43398</c:v>
                </c:pt>
                <c:pt idx="1724">
                  <c:v>43399</c:v>
                </c:pt>
                <c:pt idx="1725">
                  <c:v>43402</c:v>
                </c:pt>
                <c:pt idx="1726">
                  <c:v>43403</c:v>
                </c:pt>
                <c:pt idx="1727">
                  <c:v>43404</c:v>
                </c:pt>
                <c:pt idx="1728">
                  <c:v>43405</c:v>
                </c:pt>
                <c:pt idx="1729">
                  <c:v>43406</c:v>
                </c:pt>
                <c:pt idx="1730">
                  <c:v>43409</c:v>
                </c:pt>
                <c:pt idx="1731">
                  <c:v>43410</c:v>
                </c:pt>
                <c:pt idx="1732">
                  <c:v>43411</c:v>
                </c:pt>
                <c:pt idx="1733">
                  <c:v>43412</c:v>
                </c:pt>
                <c:pt idx="1734">
                  <c:v>43413</c:v>
                </c:pt>
                <c:pt idx="1735">
                  <c:v>43416</c:v>
                </c:pt>
                <c:pt idx="1736">
                  <c:v>43417</c:v>
                </c:pt>
                <c:pt idx="1737">
                  <c:v>43418</c:v>
                </c:pt>
                <c:pt idx="1738">
                  <c:v>43419</c:v>
                </c:pt>
                <c:pt idx="1739">
                  <c:v>43420</c:v>
                </c:pt>
                <c:pt idx="1740">
                  <c:v>43423</c:v>
                </c:pt>
                <c:pt idx="1741">
                  <c:v>43424</c:v>
                </c:pt>
                <c:pt idx="1742">
                  <c:v>43425</c:v>
                </c:pt>
                <c:pt idx="1743">
                  <c:v>43426</c:v>
                </c:pt>
                <c:pt idx="1744">
                  <c:v>43427</c:v>
                </c:pt>
                <c:pt idx="1745">
                  <c:v>43430</c:v>
                </c:pt>
                <c:pt idx="1746">
                  <c:v>43431</c:v>
                </c:pt>
                <c:pt idx="1747">
                  <c:v>43432</c:v>
                </c:pt>
                <c:pt idx="1748">
                  <c:v>43433</c:v>
                </c:pt>
                <c:pt idx="1749">
                  <c:v>43434</c:v>
                </c:pt>
                <c:pt idx="1750">
                  <c:v>43437</c:v>
                </c:pt>
                <c:pt idx="1751">
                  <c:v>43438</c:v>
                </c:pt>
                <c:pt idx="1752">
                  <c:v>43439</c:v>
                </c:pt>
                <c:pt idx="1753">
                  <c:v>43440</c:v>
                </c:pt>
                <c:pt idx="1754">
                  <c:v>43441</c:v>
                </c:pt>
                <c:pt idx="1755">
                  <c:v>43444</c:v>
                </c:pt>
                <c:pt idx="1756">
                  <c:v>43445</c:v>
                </c:pt>
                <c:pt idx="1757">
                  <c:v>43446</c:v>
                </c:pt>
                <c:pt idx="1758">
                  <c:v>43447</c:v>
                </c:pt>
                <c:pt idx="1759">
                  <c:v>43448</c:v>
                </c:pt>
                <c:pt idx="1760">
                  <c:v>43451</c:v>
                </c:pt>
                <c:pt idx="1761">
                  <c:v>43452</c:v>
                </c:pt>
                <c:pt idx="1762">
                  <c:v>43453</c:v>
                </c:pt>
                <c:pt idx="1763">
                  <c:v>43454</c:v>
                </c:pt>
                <c:pt idx="1764">
                  <c:v>43455</c:v>
                </c:pt>
                <c:pt idx="1765">
                  <c:v>43458</c:v>
                </c:pt>
                <c:pt idx="1766">
                  <c:v>43459</c:v>
                </c:pt>
                <c:pt idx="1767">
                  <c:v>43460</c:v>
                </c:pt>
                <c:pt idx="1768">
                  <c:v>43461</c:v>
                </c:pt>
                <c:pt idx="1769">
                  <c:v>43462</c:v>
                </c:pt>
                <c:pt idx="1770">
                  <c:v>43465</c:v>
                </c:pt>
                <c:pt idx="1771">
                  <c:v>43466</c:v>
                </c:pt>
                <c:pt idx="1772">
                  <c:v>43467</c:v>
                </c:pt>
                <c:pt idx="1773">
                  <c:v>43468</c:v>
                </c:pt>
                <c:pt idx="1774">
                  <c:v>43469</c:v>
                </c:pt>
                <c:pt idx="1775">
                  <c:v>43472</c:v>
                </c:pt>
                <c:pt idx="1776">
                  <c:v>43473</c:v>
                </c:pt>
                <c:pt idx="1777">
                  <c:v>43474</c:v>
                </c:pt>
                <c:pt idx="1778">
                  <c:v>43475</c:v>
                </c:pt>
                <c:pt idx="1779">
                  <c:v>43476</c:v>
                </c:pt>
                <c:pt idx="1780">
                  <c:v>43479</c:v>
                </c:pt>
                <c:pt idx="1781">
                  <c:v>43480</c:v>
                </c:pt>
                <c:pt idx="1782">
                  <c:v>43481</c:v>
                </c:pt>
                <c:pt idx="1783">
                  <c:v>43482</c:v>
                </c:pt>
                <c:pt idx="1784">
                  <c:v>43483</c:v>
                </c:pt>
                <c:pt idx="1785">
                  <c:v>43486</c:v>
                </c:pt>
                <c:pt idx="1786">
                  <c:v>43487</c:v>
                </c:pt>
                <c:pt idx="1787">
                  <c:v>43488</c:v>
                </c:pt>
                <c:pt idx="1788">
                  <c:v>43489</c:v>
                </c:pt>
                <c:pt idx="1789">
                  <c:v>43490</c:v>
                </c:pt>
                <c:pt idx="1790">
                  <c:v>43493</c:v>
                </c:pt>
                <c:pt idx="1791">
                  <c:v>43494</c:v>
                </c:pt>
                <c:pt idx="1792">
                  <c:v>43495</c:v>
                </c:pt>
                <c:pt idx="1793">
                  <c:v>43496</c:v>
                </c:pt>
                <c:pt idx="1794">
                  <c:v>43497</c:v>
                </c:pt>
                <c:pt idx="1795">
                  <c:v>43500</c:v>
                </c:pt>
                <c:pt idx="1796">
                  <c:v>43501</c:v>
                </c:pt>
                <c:pt idx="1797">
                  <c:v>43502</c:v>
                </c:pt>
                <c:pt idx="1798">
                  <c:v>43503</c:v>
                </c:pt>
                <c:pt idx="1799">
                  <c:v>43504</c:v>
                </c:pt>
                <c:pt idx="1800">
                  <c:v>43507</c:v>
                </c:pt>
                <c:pt idx="1801">
                  <c:v>43508</c:v>
                </c:pt>
                <c:pt idx="1802">
                  <c:v>43509</c:v>
                </c:pt>
                <c:pt idx="1803">
                  <c:v>43510</c:v>
                </c:pt>
                <c:pt idx="1804">
                  <c:v>43511</c:v>
                </c:pt>
                <c:pt idx="1805">
                  <c:v>43514</c:v>
                </c:pt>
                <c:pt idx="1806">
                  <c:v>43515</c:v>
                </c:pt>
                <c:pt idx="1807">
                  <c:v>43516</c:v>
                </c:pt>
                <c:pt idx="1808">
                  <c:v>43517</c:v>
                </c:pt>
                <c:pt idx="1809">
                  <c:v>43518</c:v>
                </c:pt>
                <c:pt idx="1810">
                  <c:v>43521</c:v>
                </c:pt>
                <c:pt idx="1811">
                  <c:v>43522</c:v>
                </c:pt>
                <c:pt idx="1812">
                  <c:v>43523</c:v>
                </c:pt>
                <c:pt idx="1813">
                  <c:v>43524</c:v>
                </c:pt>
                <c:pt idx="1814">
                  <c:v>43525</c:v>
                </c:pt>
                <c:pt idx="1815">
                  <c:v>43528</c:v>
                </c:pt>
                <c:pt idx="1816">
                  <c:v>43529</c:v>
                </c:pt>
                <c:pt idx="1817">
                  <c:v>43530</c:v>
                </c:pt>
                <c:pt idx="1818">
                  <c:v>43531</c:v>
                </c:pt>
                <c:pt idx="1819">
                  <c:v>43532</c:v>
                </c:pt>
                <c:pt idx="1820">
                  <c:v>43535</c:v>
                </c:pt>
                <c:pt idx="1821">
                  <c:v>43536</c:v>
                </c:pt>
                <c:pt idx="1822">
                  <c:v>43537</c:v>
                </c:pt>
                <c:pt idx="1823">
                  <c:v>43538</c:v>
                </c:pt>
                <c:pt idx="1824">
                  <c:v>43539</c:v>
                </c:pt>
                <c:pt idx="1825">
                  <c:v>43542</c:v>
                </c:pt>
                <c:pt idx="1826">
                  <c:v>43543</c:v>
                </c:pt>
                <c:pt idx="1827">
                  <c:v>43544</c:v>
                </c:pt>
                <c:pt idx="1828">
                  <c:v>43545</c:v>
                </c:pt>
                <c:pt idx="1829">
                  <c:v>43546</c:v>
                </c:pt>
                <c:pt idx="1830">
                  <c:v>43549</c:v>
                </c:pt>
                <c:pt idx="1831">
                  <c:v>43550</c:v>
                </c:pt>
                <c:pt idx="1832">
                  <c:v>43551</c:v>
                </c:pt>
                <c:pt idx="1833">
                  <c:v>43552</c:v>
                </c:pt>
                <c:pt idx="1834">
                  <c:v>43553</c:v>
                </c:pt>
                <c:pt idx="1835">
                  <c:v>43556</c:v>
                </c:pt>
                <c:pt idx="1836">
                  <c:v>43557</c:v>
                </c:pt>
                <c:pt idx="1837">
                  <c:v>43558</c:v>
                </c:pt>
                <c:pt idx="1838">
                  <c:v>43559</c:v>
                </c:pt>
                <c:pt idx="1839">
                  <c:v>43560</c:v>
                </c:pt>
                <c:pt idx="1840">
                  <c:v>43563</c:v>
                </c:pt>
                <c:pt idx="1841">
                  <c:v>43564</c:v>
                </c:pt>
                <c:pt idx="1842">
                  <c:v>43565</c:v>
                </c:pt>
                <c:pt idx="1843">
                  <c:v>43566</c:v>
                </c:pt>
                <c:pt idx="1844">
                  <c:v>43567</c:v>
                </c:pt>
                <c:pt idx="1845">
                  <c:v>43570</c:v>
                </c:pt>
                <c:pt idx="1846">
                  <c:v>43571</c:v>
                </c:pt>
                <c:pt idx="1847">
                  <c:v>43572</c:v>
                </c:pt>
                <c:pt idx="1848">
                  <c:v>43573</c:v>
                </c:pt>
                <c:pt idx="1849">
                  <c:v>43574</c:v>
                </c:pt>
                <c:pt idx="1850">
                  <c:v>43577</c:v>
                </c:pt>
                <c:pt idx="1851">
                  <c:v>43578</c:v>
                </c:pt>
                <c:pt idx="1852">
                  <c:v>43579</c:v>
                </c:pt>
                <c:pt idx="1853">
                  <c:v>43580</c:v>
                </c:pt>
                <c:pt idx="1854">
                  <c:v>43581</c:v>
                </c:pt>
                <c:pt idx="1855">
                  <c:v>43584</c:v>
                </c:pt>
                <c:pt idx="1856">
                  <c:v>43585</c:v>
                </c:pt>
                <c:pt idx="1857">
                  <c:v>43586</c:v>
                </c:pt>
                <c:pt idx="1858">
                  <c:v>43587</c:v>
                </c:pt>
                <c:pt idx="1859">
                  <c:v>43588</c:v>
                </c:pt>
                <c:pt idx="1860">
                  <c:v>43591</c:v>
                </c:pt>
                <c:pt idx="1861">
                  <c:v>43592</c:v>
                </c:pt>
                <c:pt idx="1862">
                  <c:v>43593</c:v>
                </c:pt>
                <c:pt idx="1863">
                  <c:v>43594</c:v>
                </c:pt>
                <c:pt idx="1864">
                  <c:v>43595</c:v>
                </c:pt>
                <c:pt idx="1865">
                  <c:v>43598</c:v>
                </c:pt>
                <c:pt idx="1866">
                  <c:v>43599</c:v>
                </c:pt>
                <c:pt idx="1867">
                  <c:v>43600</c:v>
                </c:pt>
                <c:pt idx="1868">
                  <c:v>43601</c:v>
                </c:pt>
                <c:pt idx="1869">
                  <c:v>43602</c:v>
                </c:pt>
                <c:pt idx="1870">
                  <c:v>43605</c:v>
                </c:pt>
                <c:pt idx="1871">
                  <c:v>43606</c:v>
                </c:pt>
                <c:pt idx="1872">
                  <c:v>43607</c:v>
                </c:pt>
                <c:pt idx="1873">
                  <c:v>43608</c:v>
                </c:pt>
                <c:pt idx="1874">
                  <c:v>43609</c:v>
                </c:pt>
                <c:pt idx="1875">
                  <c:v>43612</c:v>
                </c:pt>
                <c:pt idx="1876">
                  <c:v>43613</c:v>
                </c:pt>
                <c:pt idx="1877">
                  <c:v>43614</c:v>
                </c:pt>
                <c:pt idx="1878">
                  <c:v>43615</c:v>
                </c:pt>
                <c:pt idx="1879">
                  <c:v>43616</c:v>
                </c:pt>
              </c:numCache>
            </c:numRef>
          </c:cat>
          <c:val>
            <c:numRef>
              <c:f>'fixed target'!$L$19:$L$1898</c:f>
              <c:numCache>
                <c:formatCode>General</c:formatCode>
                <c:ptCount val="1880"/>
                <c:pt idx="253" formatCode="0.00">
                  <c:v>0.23589966617526426</c:v>
                </c:pt>
                <c:pt idx="254" formatCode="0.00">
                  <c:v>0.2344278249581416</c:v>
                </c:pt>
                <c:pt idx="255" formatCode="0.00">
                  <c:v>0.23455984204965169</c:v>
                </c:pt>
                <c:pt idx="256" formatCode="0.00">
                  <c:v>0.23427538456940922</c:v>
                </c:pt>
                <c:pt idx="257" formatCode="0.00">
                  <c:v>0.23383579757545306</c:v>
                </c:pt>
                <c:pt idx="258" formatCode="0.00">
                  <c:v>0.23351122641957292</c:v>
                </c:pt>
                <c:pt idx="259" formatCode="0.00">
                  <c:v>0.23099615470117452</c:v>
                </c:pt>
                <c:pt idx="260" formatCode="0.00">
                  <c:v>0.22951161826236138</c:v>
                </c:pt>
                <c:pt idx="261" formatCode="0.00">
                  <c:v>0.22969039420495724</c:v>
                </c:pt>
                <c:pt idx="262" formatCode="0.00">
                  <c:v>0.22978020811095221</c:v>
                </c:pt>
                <c:pt idx="263" formatCode="0.00">
                  <c:v>0.23020155056884381</c:v>
                </c:pt>
                <c:pt idx="264" formatCode="0.00">
                  <c:v>0.23019892086965027</c:v>
                </c:pt>
                <c:pt idx="265" formatCode="0.00">
                  <c:v>0.23074785159279687</c:v>
                </c:pt>
                <c:pt idx="266" formatCode="0.00">
                  <c:v>0.23070155688429503</c:v>
                </c:pt>
                <c:pt idx="267" formatCode="0.00">
                  <c:v>0.23063650363645827</c:v>
                </c:pt>
                <c:pt idx="268" formatCode="0.00">
                  <c:v>0.23083299574573077</c:v>
                </c:pt>
                <c:pt idx="269" formatCode="0.00">
                  <c:v>0.22958080118965624</c:v>
                </c:pt>
                <c:pt idx="270" formatCode="0.00">
                  <c:v>0.2296640453872352</c:v>
                </c:pt>
                <c:pt idx="271" formatCode="0.00">
                  <c:v>0.22967247749794978</c:v>
                </c:pt>
                <c:pt idx="272" formatCode="0.00">
                  <c:v>0.22841819306674085</c:v>
                </c:pt>
                <c:pt idx="273" formatCode="0.00">
                  <c:v>0.22675027244834151</c:v>
                </c:pt>
                <c:pt idx="274" formatCode="0.00">
                  <c:v>0.22801670931857929</c:v>
                </c:pt>
                <c:pt idx="275" formatCode="0.00">
                  <c:v>0.22771849500806804</c:v>
                </c:pt>
                <c:pt idx="276" formatCode="0.00">
                  <c:v>0.22768384480117537</c:v>
                </c:pt>
                <c:pt idx="277" formatCode="0.00">
                  <c:v>0.22776194264966707</c:v>
                </c:pt>
                <c:pt idx="278" formatCode="0.00">
                  <c:v>0.22750229952607762</c:v>
                </c:pt>
                <c:pt idx="279" formatCode="0.00">
                  <c:v>0.22955911518528721</c:v>
                </c:pt>
                <c:pt idx="280" formatCode="0.00">
                  <c:v>0.22879981661329746</c:v>
                </c:pt>
                <c:pt idx="281" formatCode="0.00">
                  <c:v>0.22880181678159167</c:v>
                </c:pt>
                <c:pt idx="282" formatCode="0.00">
                  <c:v>0.22892970253524769</c:v>
                </c:pt>
                <c:pt idx="283" formatCode="0.00">
                  <c:v>0.22802469972643161</c:v>
                </c:pt>
                <c:pt idx="284" formatCode="0.00">
                  <c:v>0.23069781267099818</c:v>
                </c:pt>
                <c:pt idx="285" formatCode="0.00">
                  <c:v>0.23071365626570911</c:v>
                </c:pt>
                <c:pt idx="286" formatCode="0.00">
                  <c:v>0.23069225075204874</c:v>
                </c:pt>
                <c:pt idx="287" formatCode="0.00">
                  <c:v>0.2300074428966139</c:v>
                </c:pt>
                <c:pt idx="288" formatCode="0.00">
                  <c:v>0.22945648411514558</c:v>
                </c:pt>
                <c:pt idx="289" formatCode="0.00">
                  <c:v>0.229709753899692</c:v>
                </c:pt>
                <c:pt idx="290" formatCode="0.00">
                  <c:v>0.22961606125260303</c:v>
                </c:pt>
                <c:pt idx="291" formatCode="0.00">
                  <c:v>0.22967331539360888</c:v>
                </c:pt>
                <c:pt idx="292" formatCode="0.00">
                  <c:v>0.22993491446434158</c:v>
                </c:pt>
                <c:pt idx="293" formatCode="0.00">
                  <c:v>0.22924465599585273</c:v>
                </c:pt>
                <c:pt idx="294" formatCode="0.00">
                  <c:v>0.22918563135732933</c:v>
                </c:pt>
                <c:pt idx="295" formatCode="0.00">
                  <c:v>0.22842054219505414</c:v>
                </c:pt>
                <c:pt idx="296" formatCode="0.00">
                  <c:v>0.2267250644176933</c:v>
                </c:pt>
                <c:pt idx="297" formatCode="0.00">
                  <c:v>0.22691955506958902</c:v>
                </c:pt>
                <c:pt idx="298" formatCode="0.00">
                  <c:v>0.22691634055993523</c:v>
                </c:pt>
                <c:pt idx="299" formatCode="0.00">
                  <c:v>0.22693113579691052</c:v>
                </c:pt>
                <c:pt idx="300" formatCode="0.00">
                  <c:v>0.22535577509487795</c:v>
                </c:pt>
                <c:pt idx="301" formatCode="0.00">
                  <c:v>0.22462651787339297</c:v>
                </c:pt>
                <c:pt idx="302" formatCode="0.00">
                  <c:v>0.22445648596498294</c:v>
                </c:pt>
                <c:pt idx="303" formatCode="0.00">
                  <c:v>0.22460323807422403</c:v>
                </c:pt>
                <c:pt idx="304" formatCode="0.00">
                  <c:v>0.2259133455601709</c:v>
                </c:pt>
                <c:pt idx="305" formatCode="0.00">
                  <c:v>0.22519046028318945</c:v>
                </c:pt>
                <c:pt idx="306" formatCode="0.00">
                  <c:v>0.22320716749176703</c:v>
                </c:pt>
                <c:pt idx="307" formatCode="0.00">
                  <c:v>0.22319593869188914</c:v>
                </c:pt>
                <c:pt idx="308" formatCode="0.00">
                  <c:v>0.22586433230470687</c:v>
                </c:pt>
                <c:pt idx="309" formatCode="0.00">
                  <c:v>0.22618146958072299</c:v>
                </c:pt>
                <c:pt idx="310" formatCode="0.00">
                  <c:v>0.22581268567853419</c:v>
                </c:pt>
                <c:pt idx="311" formatCode="0.00">
                  <c:v>0.22655595087318245</c:v>
                </c:pt>
                <c:pt idx="312" formatCode="0.00">
                  <c:v>0.22654424636719309</c:v>
                </c:pt>
                <c:pt idx="313" formatCode="0.00">
                  <c:v>0.22654363412071488</c:v>
                </c:pt>
                <c:pt idx="314" formatCode="0.00">
                  <c:v>0.22642738187614395</c:v>
                </c:pt>
                <c:pt idx="315" formatCode="0.00">
                  <c:v>0.22741074997362018</c:v>
                </c:pt>
                <c:pt idx="316" formatCode="0.00">
                  <c:v>0.22928822829857937</c:v>
                </c:pt>
                <c:pt idx="317" formatCode="0.00">
                  <c:v>0.22950714873870165</c:v>
                </c:pt>
                <c:pt idx="318" formatCode="0.00">
                  <c:v>0.22941667682736758</c:v>
                </c:pt>
                <c:pt idx="319" formatCode="0.00">
                  <c:v>0.22947126603407778</c:v>
                </c:pt>
                <c:pt idx="320" formatCode="0.00">
                  <c:v>0.22906154528872208</c:v>
                </c:pt>
                <c:pt idx="321" formatCode="0.00">
                  <c:v>0.22913425365443535</c:v>
                </c:pt>
                <c:pt idx="322" formatCode="0.00">
                  <c:v>0.22868847380300508</c:v>
                </c:pt>
                <c:pt idx="323" formatCode="0.00">
                  <c:v>0.2294159978679316</c:v>
                </c:pt>
                <c:pt idx="324" formatCode="0.00">
                  <c:v>0.22974030945420518</c:v>
                </c:pt>
                <c:pt idx="325" formatCode="0.00">
                  <c:v>0.22979670157794466</c:v>
                </c:pt>
                <c:pt idx="326" formatCode="0.00">
                  <c:v>0.22869516651811228</c:v>
                </c:pt>
                <c:pt idx="327" formatCode="0.00">
                  <c:v>0.22856315175331035</c:v>
                </c:pt>
                <c:pt idx="328" formatCode="0.00">
                  <c:v>0.22875995671006996</c:v>
                </c:pt>
                <c:pt idx="329" formatCode="0.00">
                  <c:v>0.22828326511633254</c:v>
                </c:pt>
                <c:pt idx="330" formatCode="0.00">
                  <c:v>0.22828521348261296</c:v>
                </c:pt>
                <c:pt idx="331" formatCode="0.00">
                  <c:v>0.22888282587491335</c:v>
                </c:pt>
                <c:pt idx="332" formatCode="0.00">
                  <c:v>0.22905924498354535</c:v>
                </c:pt>
                <c:pt idx="333" formatCode="0.00">
                  <c:v>0.23012263552650963</c:v>
                </c:pt>
                <c:pt idx="334" formatCode="0.00">
                  <c:v>0.23028456831008784</c:v>
                </c:pt>
                <c:pt idx="335" formatCode="0.00">
                  <c:v>0.2283523736065308</c:v>
                </c:pt>
                <c:pt idx="336" formatCode="0.00">
                  <c:v>0.2286180570552902</c:v>
                </c:pt>
                <c:pt idx="337" formatCode="0.00">
                  <c:v>0.23054711844651987</c:v>
                </c:pt>
                <c:pt idx="338" formatCode="0.00">
                  <c:v>0.23108281389954496</c:v>
                </c:pt>
                <c:pt idx="339" formatCode="0.00">
                  <c:v>0.23303236625148674</c:v>
                </c:pt>
                <c:pt idx="340" formatCode="0.00">
                  <c:v>0.23333868612168965</c:v>
                </c:pt>
                <c:pt idx="341" formatCode="0.00">
                  <c:v>0.23352147301985265</c:v>
                </c:pt>
                <c:pt idx="342" formatCode="0.00">
                  <c:v>0.2315994952947848</c:v>
                </c:pt>
                <c:pt idx="343" formatCode="0.00">
                  <c:v>0.23325286996074482</c:v>
                </c:pt>
                <c:pt idx="344" formatCode="0.00">
                  <c:v>0.23306618950141286</c:v>
                </c:pt>
                <c:pt idx="345" formatCode="0.00">
                  <c:v>0.23296299925401273</c:v>
                </c:pt>
                <c:pt idx="346" formatCode="0.00">
                  <c:v>0.23295102290975592</c:v>
                </c:pt>
                <c:pt idx="347" formatCode="0.00">
                  <c:v>0.23030649548903989</c:v>
                </c:pt>
                <c:pt idx="348" formatCode="0.00">
                  <c:v>0.23046368184330041</c:v>
                </c:pt>
                <c:pt idx="349" formatCode="0.00">
                  <c:v>0.23060280279845569</c:v>
                </c:pt>
                <c:pt idx="350" formatCode="0.00">
                  <c:v>0.23271946480318589</c:v>
                </c:pt>
                <c:pt idx="351" formatCode="0.00">
                  <c:v>0.23218965143537457</c:v>
                </c:pt>
                <c:pt idx="352" formatCode="0.00">
                  <c:v>0.23350264103329321</c:v>
                </c:pt>
                <c:pt idx="353" formatCode="0.00">
                  <c:v>0.2361927903230823</c:v>
                </c:pt>
                <c:pt idx="354" formatCode="0.00">
                  <c:v>0.23556173606768877</c:v>
                </c:pt>
                <c:pt idx="355" formatCode="0.00">
                  <c:v>0.23551030113413074</c:v>
                </c:pt>
                <c:pt idx="356" formatCode="0.00">
                  <c:v>0.23573143487049919</c:v>
                </c:pt>
                <c:pt idx="357" formatCode="0.00">
                  <c:v>0.23825785382163692</c:v>
                </c:pt>
                <c:pt idx="358" formatCode="0.00">
                  <c:v>0.23949946725740082</c:v>
                </c:pt>
                <c:pt idx="359" formatCode="0.00">
                  <c:v>0.24018415678068472</c:v>
                </c:pt>
                <c:pt idx="360" formatCode="0.00">
                  <c:v>0.2398055137640013</c:v>
                </c:pt>
                <c:pt idx="361" formatCode="0.00">
                  <c:v>0.23938579977178642</c:v>
                </c:pt>
                <c:pt idx="362" formatCode="0.00">
                  <c:v>0.23919866347266522</c:v>
                </c:pt>
                <c:pt idx="363" formatCode="0.00">
                  <c:v>0.23911526909633976</c:v>
                </c:pt>
                <c:pt idx="364" formatCode="0.00">
                  <c:v>0.24181445191367554</c:v>
                </c:pt>
                <c:pt idx="365" formatCode="0.00">
                  <c:v>0.24332347371813715</c:v>
                </c:pt>
                <c:pt idx="366" formatCode="0.00">
                  <c:v>0.24577043473949461</c:v>
                </c:pt>
                <c:pt idx="367" formatCode="0.00">
                  <c:v>0.24567127906444036</c:v>
                </c:pt>
                <c:pt idx="368" formatCode="0.00">
                  <c:v>0.24541178789757506</c:v>
                </c:pt>
                <c:pt idx="369" formatCode="0.00">
                  <c:v>0.2454054268237717</c:v>
                </c:pt>
                <c:pt idx="370" formatCode="0.00">
                  <c:v>0.248010841445407</c:v>
                </c:pt>
                <c:pt idx="371" formatCode="0.00">
                  <c:v>0.24716796102328678</c:v>
                </c:pt>
                <c:pt idx="372" formatCode="0.00">
                  <c:v>0.24738706262681698</c:v>
                </c:pt>
                <c:pt idx="373" formatCode="0.00">
                  <c:v>0.24751760653759802</c:v>
                </c:pt>
                <c:pt idx="374" formatCode="0.00">
                  <c:v>0.24797651062245771</c:v>
                </c:pt>
                <c:pt idx="375" formatCode="0.00">
                  <c:v>0.24790543602910917</c:v>
                </c:pt>
                <c:pt idx="376" formatCode="0.00">
                  <c:v>0.24802161299228295</c:v>
                </c:pt>
                <c:pt idx="377" formatCode="0.00">
                  <c:v>0.24743939860890563</c:v>
                </c:pt>
                <c:pt idx="378" formatCode="0.00">
                  <c:v>0.24876682962588106</c:v>
                </c:pt>
                <c:pt idx="379" formatCode="0.00">
                  <c:v>0.24921462967664179</c:v>
                </c:pt>
                <c:pt idx="380" formatCode="0.00">
                  <c:v>0.24919296684825976</c:v>
                </c:pt>
                <c:pt idx="381" formatCode="0.00">
                  <c:v>0.24930387781336202</c:v>
                </c:pt>
                <c:pt idx="382" formatCode="0.00">
                  <c:v>0.24839992061586688</c:v>
                </c:pt>
                <c:pt idx="383" formatCode="0.00">
                  <c:v>0.24793078344265865</c:v>
                </c:pt>
                <c:pt idx="384" formatCode="0.00">
                  <c:v>0.24681117404989722</c:v>
                </c:pt>
                <c:pt idx="385" formatCode="0.00">
                  <c:v>0.24694577375837531</c:v>
                </c:pt>
                <c:pt idx="386" formatCode="0.00">
                  <c:v>0.24767769545977392</c:v>
                </c:pt>
                <c:pt idx="387" formatCode="0.00">
                  <c:v>0.24713210917033701</c:v>
                </c:pt>
                <c:pt idx="388" formatCode="0.00">
                  <c:v>0.24747673193233405</c:v>
                </c:pt>
                <c:pt idx="389" formatCode="0.00">
                  <c:v>0.24746639625374395</c:v>
                </c:pt>
                <c:pt idx="390" formatCode="0.00">
                  <c:v>0.24722963927935668</c:v>
                </c:pt>
                <c:pt idx="391" formatCode="0.00">
                  <c:v>0.24651053052541019</c:v>
                </c:pt>
                <c:pt idx="392" formatCode="0.00">
                  <c:v>0.24687504133384244</c:v>
                </c:pt>
                <c:pt idx="393" formatCode="0.00">
                  <c:v>0.24761112066249225</c:v>
                </c:pt>
                <c:pt idx="394" formatCode="0.00">
                  <c:v>0.24775820940924786</c:v>
                </c:pt>
                <c:pt idx="395" formatCode="0.00">
                  <c:v>0.24774258686349798</c:v>
                </c:pt>
                <c:pt idx="396" formatCode="0.00">
                  <c:v>0.24777584388664392</c:v>
                </c:pt>
                <c:pt idx="397" formatCode="0.00">
                  <c:v>0.2479552910154447</c:v>
                </c:pt>
                <c:pt idx="398" formatCode="0.00">
                  <c:v>0.24851448106909407</c:v>
                </c:pt>
                <c:pt idx="399" formatCode="0.00">
                  <c:v>0.24784878898829957</c:v>
                </c:pt>
                <c:pt idx="400" formatCode="0.00">
                  <c:v>0.24806415064809653</c:v>
                </c:pt>
                <c:pt idx="401" formatCode="0.00">
                  <c:v>0.24813019489521573</c:v>
                </c:pt>
                <c:pt idx="402" formatCode="0.00">
                  <c:v>0.24769724393835685</c:v>
                </c:pt>
                <c:pt idx="403" formatCode="0.00">
                  <c:v>0.24722698653491657</c:v>
                </c:pt>
                <c:pt idx="404" formatCode="0.00">
                  <c:v>0.24706463259242203</c:v>
                </c:pt>
                <c:pt idx="405" formatCode="0.00">
                  <c:v>0.24668160669470654</c:v>
                </c:pt>
                <c:pt idx="406" formatCode="0.00">
                  <c:v>0.24471190314046695</c:v>
                </c:pt>
                <c:pt idx="407" formatCode="0.00">
                  <c:v>0.24589826442297821</c:v>
                </c:pt>
                <c:pt idx="408" formatCode="0.00">
                  <c:v>0.24525440898924181</c:v>
                </c:pt>
                <c:pt idx="409" formatCode="0.00">
                  <c:v>0.2452200691176388</c:v>
                </c:pt>
                <c:pt idx="410" formatCode="0.00">
                  <c:v>0.24518264314336924</c:v>
                </c:pt>
                <c:pt idx="411" formatCode="0.00">
                  <c:v>0.24531800778610394</c:v>
                </c:pt>
                <c:pt idx="412" formatCode="0.00">
                  <c:v>0.24559417901427405</c:v>
                </c:pt>
                <c:pt idx="413" formatCode="0.00">
                  <c:v>0.24540081934328992</c:v>
                </c:pt>
                <c:pt idx="414" formatCode="0.00">
                  <c:v>0.24598784791127809</c:v>
                </c:pt>
                <c:pt idx="415" formatCode="0.00">
                  <c:v>0.24350640188805533</c:v>
                </c:pt>
                <c:pt idx="416" formatCode="0.00">
                  <c:v>0.24351541174142227</c:v>
                </c:pt>
                <c:pt idx="417" formatCode="0.00">
                  <c:v>0.24059082008042007</c:v>
                </c:pt>
                <c:pt idx="418" formatCode="0.00">
                  <c:v>0.24021825650171585</c:v>
                </c:pt>
                <c:pt idx="419" formatCode="0.00">
                  <c:v>0.23909580449415313</c:v>
                </c:pt>
                <c:pt idx="420" formatCode="0.00">
                  <c:v>0.23961854607476479</c:v>
                </c:pt>
                <c:pt idx="421" formatCode="0.00">
                  <c:v>0.24014438433729912</c:v>
                </c:pt>
                <c:pt idx="422" formatCode="0.00">
                  <c:v>0.24183171147593277</c:v>
                </c:pt>
                <c:pt idx="423" formatCode="0.00">
                  <c:v>0.24354015078641217</c:v>
                </c:pt>
                <c:pt idx="424" formatCode="0.00">
                  <c:v>0.24373607930658886</c:v>
                </c:pt>
                <c:pt idx="425" formatCode="0.00">
                  <c:v>0.24303097552868141</c:v>
                </c:pt>
                <c:pt idx="426" formatCode="0.00">
                  <c:v>0.24290303130075011</c:v>
                </c:pt>
                <c:pt idx="427" formatCode="0.00">
                  <c:v>0.24299739978433135</c:v>
                </c:pt>
                <c:pt idx="428" formatCode="0.00">
                  <c:v>0.24266065504942852</c:v>
                </c:pt>
                <c:pt idx="429" formatCode="0.00">
                  <c:v>0.24311934182472383</c:v>
                </c:pt>
                <c:pt idx="430" formatCode="0.00">
                  <c:v>0.2429926353028482</c:v>
                </c:pt>
                <c:pt idx="431" formatCode="0.00">
                  <c:v>0.24261524687103811</c:v>
                </c:pt>
                <c:pt idx="432" formatCode="0.00">
                  <c:v>0.24220706813082957</c:v>
                </c:pt>
                <c:pt idx="433" formatCode="0.00">
                  <c:v>0.24215161160033313</c:v>
                </c:pt>
                <c:pt idx="434" formatCode="0.00">
                  <c:v>0.24138226050318215</c:v>
                </c:pt>
                <c:pt idx="435" formatCode="0.00">
                  <c:v>0.23984366423431747</c:v>
                </c:pt>
                <c:pt idx="436" formatCode="0.00">
                  <c:v>0.23959941351914743</c:v>
                </c:pt>
                <c:pt idx="437" formatCode="0.00">
                  <c:v>0.2400698201101911</c:v>
                </c:pt>
                <c:pt idx="438" formatCode="0.00">
                  <c:v>0.2400699344820828</c:v>
                </c:pt>
                <c:pt idx="439" formatCode="0.00">
                  <c:v>0.24078456861003236</c:v>
                </c:pt>
                <c:pt idx="440" formatCode="0.00">
                  <c:v>0.23741004958230572</c:v>
                </c:pt>
                <c:pt idx="441" formatCode="0.00">
                  <c:v>0.23717988779395086</c:v>
                </c:pt>
                <c:pt idx="442" formatCode="0.00">
                  <c:v>0.23726867928120596</c:v>
                </c:pt>
                <c:pt idx="443" formatCode="0.00">
                  <c:v>0.23727800640163016</c:v>
                </c:pt>
                <c:pt idx="444" formatCode="0.00">
                  <c:v>0.2366154813105803</c:v>
                </c:pt>
                <c:pt idx="445" formatCode="0.00">
                  <c:v>0.23679200924435229</c:v>
                </c:pt>
                <c:pt idx="446" formatCode="0.00">
                  <c:v>0.23641235639313499</c:v>
                </c:pt>
                <c:pt idx="447" formatCode="0.00">
                  <c:v>0.2370495166914813</c:v>
                </c:pt>
                <c:pt idx="448" formatCode="0.00">
                  <c:v>0.23622583007749307</c:v>
                </c:pt>
                <c:pt idx="449" formatCode="0.00">
                  <c:v>0.23523968043533078</c:v>
                </c:pt>
                <c:pt idx="450" formatCode="0.00">
                  <c:v>0.23509795778650072</c:v>
                </c:pt>
                <c:pt idx="451" formatCode="0.00">
                  <c:v>0.23511930271953646</c:v>
                </c:pt>
                <c:pt idx="452" formatCode="0.00">
                  <c:v>0.23554521566854333</c:v>
                </c:pt>
                <c:pt idx="453" formatCode="0.00">
                  <c:v>0.23561524464869285</c:v>
                </c:pt>
                <c:pt idx="454" formatCode="0.00">
                  <c:v>0.23557023449834447</c:v>
                </c:pt>
                <c:pt idx="455" formatCode="0.00">
                  <c:v>0.23552038461647409</c:v>
                </c:pt>
                <c:pt idx="456" formatCode="0.00">
                  <c:v>0.23546916548423349</c:v>
                </c:pt>
                <c:pt idx="457" formatCode="0.00">
                  <c:v>0.23554422054814086</c:v>
                </c:pt>
                <c:pt idx="458" formatCode="0.00">
                  <c:v>0.23573922689585142</c:v>
                </c:pt>
                <c:pt idx="459" formatCode="0.00">
                  <c:v>0.2362250814328381</c:v>
                </c:pt>
                <c:pt idx="460" formatCode="0.00">
                  <c:v>0.23626010467737474</c:v>
                </c:pt>
                <c:pt idx="461" formatCode="0.00">
                  <c:v>0.23536337753592798</c:v>
                </c:pt>
                <c:pt idx="462" formatCode="0.00">
                  <c:v>0.23536436737513799</c:v>
                </c:pt>
                <c:pt idx="463" formatCode="0.00">
                  <c:v>0.23534036367416658</c:v>
                </c:pt>
                <c:pt idx="464" formatCode="0.00">
                  <c:v>0.23544774040795782</c:v>
                </c:pt>
                <c:pt idx="465" formatCode="0.00">
                  <c:v>0.23553556124075686</c:v>
                </c:pt>
                <c:pt idx="466" formatCode="0.00">
                  <c:v>0.23462744008891906</c:v>
                </c:pt>
                <c:pt idx="467" formatCode="0.00">
                  <c:v>0.23406494362830779</c:v>
                </c:pt>
                <c:pt idx="468" formatCode="0.00">
                  <c:v>0.23406258550432393</c:v>
                </c:pt>
                <c:pt idx="469" formatCode="0.00">
                  <c:v>0.23197546067809008</c:v>
                </c:pt>
                <c:pt idx="470" formatCode="0.00">
                  <c:v>0.23148070191371464</c:v>
                </c:pt>
                <c:pt idx="471" formatCode="0.00">
                  <c:v>0.23140476472048691</c:v>
                </c:pt>
                <c:pt idx="472" formatCode="0.00">
                  <c:v>0.23105222481812049</c:v>
                </c:pt>
                <c:pt idx="473" formatCode="0.00">
                  <c:v>0.23112584926232119</c:v>
                </c:pt>
                <c:pt idx="474" formatCode="0.00">
                  <c:v>0.23104138698462148</c:v>
                </c:pt>
                <c:pt idx="475" formatCode="0.00">
                  <c:v>0.2315349891785802</c:v>
                </c:pt>
                <c:pt idx="476" formatCode="0.00">
                  <c:v>0.22976489750890133</c:v>
                </c:pt>
                <c:pt idx="477" formatCode="0.00">
                  <c:v>0.22884566838908388</c:v>
                </c:pt>
                <c:pt idx="478" formatCode="0.00">
                  <c:v>0.22769716034442999</c:v>
                </c:pt>
                <c:pt idx="479" formatCode="0.00">
                  <c:v>0.2279156836335946</c:v>
                </c:pt>
                <c:pt idx="480" formatCode="0.00">
                  <c:v>0.22759949292734247</c:v>
                </c:pt>
                <c:pt idx="481" formatCode="0.00">
                  <c:v>0.22732257945829065</c:v>
                </c:pt>
                <c:pt idx="482" formatCode="0.00">
                  <c:v>0.22724713667211105</c:v>
                </c:pt>
                <c:pt idx="483" formatCode="0.00">
                  <c:v>0.22728377769197222</c:v>
                </c:pt>
                <c:pt idx="484" formatCode="0.00">
                  <c:v>0.22730117544606052</c:v>
                </c:pt>
                <c:pt idx="485" formatCode="0.00">
                  <c:v>0.22570698358571445</c:v>
                </c:pt>
                <c:pt idx="486" formatCode="0.00">
                  <c:v>0.22523419035664857</c:v>
                </c:pt>
                <c:pt idx="487" formatCode="0.00">
                  <c:v>0.22560304708077428</c:v>
                </c:pt>
                <c:pt idx="488" formatCode="0.00">
                  <c:v>0.22522829808614148</c:v>
                </c:pt>
                <c:pt idx="489" formatCode="0.00">
                  <c:v>0.22621888119541098</c:v>
                </c:pt>
                <c:pt idx="490" formatCode="0.00">
                  <c:v>0.22636520991229808</c:v>
                </c:pt>
                <c:pt idx="491" formatCode="0.00">
                  <c:v>0.22502308928874401</c:v>
                </c:pt>
                <c:pt idx="492" formatCode="0.00">
                  <c:v>0.22471397712721694</c:v>
                </c:pt>
                <c:pt idx="493" formatCode="0.00">
                  <c:v>0.22463823124144505</c:v>
                </c:pt>
                <c:pt idx="494" formatCode="0.00">
                  <c:v>0.22550359995456909</c:v>
                </c:pt>
                <c:pt idx="495" formatCode="0.00">
                  <c:v>0.22527004282063343</c:v>
                </c:pt>
                <c:pt idx="496" formatCode="0.00">
                  <c:v>0.22615118563222089</c:v>
                </c:pt>
                <c:pt idx="497" formatCode="0.00">
                  <c:v>0.22599459722977058</c:v>
                </c:pt>
                <c:pt idx="498" formatCode="0.00">
                  <c:v>0.22507825787082286</c:v>
                </c:pt>
                <c:pt idx="499" formatCode="0.00">
                  <c:v>0.22511290264200445</c:v>
                </c:pt>
                <c:pt idx="500" formatCode="0.00">
                  <c:v>0.22510884299885228</c:v>
                </c:pt>
                <c:pt idx="501" formatCode="0.00">
                  <c:v>0.2232300666463338</c:v>
                </c:pt>
                <c:pt idx="502" formatCode="0.00">
                  <c:v>0.22327458833844466</c:v>
                </c:pt>
                <c:pt idx="503" formatCode="0.00">
                  <c:v>0.222904341197768</c:v>
                </c:pt>
                <c:pt idx="504" formatCode="0.00">
                  <c:v>0.22283904916511199</c:v>
                </c:pt>
                <c:pt idx="505" formatCode="0.00">
                  <c:v>0.22838432971496084</c:v>
                </c:pt>
                <c:pt idx="506" formatCode="0.00">
                  <c:v>0.22835103850504349</c:v>
                </c:pt>
                <c:pt idx="507" formatCode="0.00">
                  <c:v>0.22839138450534774</c:v>
                </c:pt>
                <c:pt idx="508" formatCode="0.00">
                  <c:v>0.22829804291434935</c:v>
                </c:pt>
                <c:pt idx="509" formatCode="0.00">
                  <c:v>0.22823487879579765</c:v>
                </c:pt>
                <c:pt idx="510" formatCode="0.00">
                  <c:v>0.22817806363545995</c:v>
                </c:pt>
                <c:pt idx="511" formatCode="0.00">
                  <c:v>0.22815950170063526</c:v>
                </c:pt>
                <c:pt idx="512" formatCode="0.00">
                  <c:v>0.22812635671581155</c:v>
                </c:pt>
                <c:pt idx="513" formatCode="0.00">
                  <c:v>0.22807972955800088</c:v>
                </c:pt>
                <c:pt idx="514" formatCode="0.00">
                  <c:v>0.22782072643834053</c:v>
                </c:pt>
                <c:pt idx="515" formatCode="0.00">
                  <c:v>0.22774473966128422</c:v>
                </c:pt>
                <c:pt idx="516" formatCode="0.00">
                  <c:v>0.22726251475120965</c:v>
                </c:pt>
                <c:pt idx="517" formatCode="0.00">
                  <c:v>0.22811801739445536</c:v>
                </c:pt>
                <c:pt idx="518" formatCode="0.00">
                  <c:v>0.22710318463336701</c:v>
                </c:pt>
                <c:pt idx="519" formatCode="0.00">
                  <c:v>0.22729957516127619</c:v>
                </c:pt>
                <c:pt idx="520" formatCode="0.00">
                  <c:v>0.22803589182207173</c:v>
                </c:pt>
                <c:pt idx="521" formatCode="0.00">
                  <c:v>0.22796293779558788</c:v>
                </c:pt>
                <c:pt idx="522" formatCode="0.00">
                  <c:v>0.22887233764804843</c:v>
                </c:pt>
                <c:pt idx="523" formatCode="0.00">
                  <c:v>0.22872411690562275</c:v>
                </c:pt>
                <c:pt idx="524" formatCode="0.00">
                  <c:v>0.22875865591378805</c:v>
                </c:pt>
                <c:pt idx="525" formatCode="0.00">
                  <c:v>0.22914188203802072</c:v>
                </c:pt>
                <c:pt idx="526" formatCode="0.00">
                  <c:v>0.22909358416826373</c:v>
                </c:pt>
                <c:pt idx="527" formatCode="0.00">
                  <c:v>0.22792446904046432</c:v>
                </c:pt>
                <c:pt idx="528" formatCode="0.00">
                  <c:v>0.22877424123459453</c:v>
                </c:pt>
                <c:pt idx="529" formatCode="0.00">
                  <c:v>0.22876925789248934</c:v>
                </c:pt>
                <c:pt idx="530" formatCode="0.00">
                  <c:v>0.22960244841158359</c:v>
                </c:pt>
                <c:pt idx="531" formatCode="0.00">
                  <c:v>0.22938591876496472</c:v>
                </c:pt>
                <c:pt idx="532" formatCode="0.00">
                  <c:v>0.22711019713064959</c:v>
                </c:pt>
                <c:pt idx="533" formatCode="0.00">
                  <c:v>0.22790509329917538</c:v>
                </c:pt>
                <c:pt idx="534" formatCode="0.00">
                  <c:v>0.22941476765799021</c:v>
                </c:pt>
                <c:pt idx="535" formatCode="0.00">
                  <c:v>0.22955735733804178</c:v>
                </c:pt>
                <c:pt idx="536" formatCode="0.00">
                  <c:v>0.23021714983008834</c:v>
                </c:pt>
                <c:pt idx="537" formatCode="0.00">
                  <c:v>0.22784770279842836</c:v>
                </c:pt>
                <c:pt idx="538" formatCode="0.00">
                  <c:v>0.22853650440092219</c:v>
                </c:pt>
                <c:pt idx="539" formatCode="0.00">
                  <c:v>0.22861028558891597</c:v>
                </c:pt>
                <c:pt idx="540" formatCode="0.00">
                  <c:v>0.22962026416831083</c:v>
                </c:pt>
                <c:pt idx="541" formatCode="0.00">
                  <c:v>0.22963355762620555</c:v>
                </c:pt>
                <c:pt idx="542" formatCode="0.00">
                  <c:v>0.22965588010932264</c:v>
                </c:pt>
                <c:pt idx="543" formatCode="0.00">
                  <c:v>0.22974873806387305</c:v>
                </c:pt>
                <c:pt idx="544" formatCode="0.00">
                  <c:v>0.22965195853324308</c:v>
                </c:pt>
                <c:pt idx="545" formatCode="0.00">
                  <c:v>0.23037519452858002</c:v>
                </c:pt>
                <c:pt idx="546" formatCode="0.00">
                  <c:v>0.23024328715651302</c:v>
                </c:pt>
                <c:pt idx="547" formatCode="0.00">
                  <c:v>0.23025069694741646</c:v>
                </c:pt>
                <c:pt idx="548" formatCode="0.00">
                  <c:v>0.23013553071463957</c:v>
                </c:pt>
                <c:pt idx="549" formatCode="0.00">
                  <c:v>0.22981006997469897</c:v>
                </c:pt>
                <c:pt idx="550" formatCode="0.00">
                  <c:v>0.2295467906233607</c:v>
                </c:pt>
                <c:pt idx="551" formatCode="0.00">
                  <c:v>0.22986090976602019</c:v>
                </c:pt>
                <c:pt idx="552" formatCode="0.00">
                  <c:v>0.2310145092679749</c:v>
                </c:pt>
                <c:pt idx="553" formatCode="0.00">
                  <c:v>0.23002885772773729</c:v>
                </c:pt>
                <c:pt idx="554" formatCode="0.00">
                  <c:v>0.23000912894307693</c:v>
                </c:pt>
                <c:pt idx="555" formatCode="0.00">
                  <c:v>0.22996370548385056</c:v>
                </c:pt>
                <c:pt idx="556" formatCode="0.00">
                  <c:v>0.23043332226970414</c:v>
                </c:pt>
                <c:pt idx="557" formatCode="0.00">
                  <c:v>0.22935157681680948</c:v>
                </c:pt>
                <c:pt idx="558" formatCode="0.00">
                  <c:v>0.22925539073743453</c:v>
                </c:pt>
                <c:pt idx="559" formatCode="0.00">
                  <c:v>0.22907899746951457</c:v>
                </c:pt>
                <c:pt idx="560" formatCode="0.00">
                  <c:v>0.2288001043026224</c:v>
                </c:pt>
                <c:pt idx="561" formatCode="0.00">
                  <c:v>0.22620930290345764</c:v>
                </c:pt>
                <c:pt idx="562" formatCode="0.00">
                  <c:v>0.2259040009507173</c:v>
                </c:pt>
                <c:pt idx="563" formatCode="0.00">
                  <c:v>0.22642067404075655</c:v>
                </c:pt>
                <c:pt idx="564" formatCode="0.00">
                  <c:v>0.22553736318649334</c:v>
                </c:pt>
                <c:pt idx="565" formatCode="0.00">
                  <c:v>0.22838696027063971</c:v>
                </c:pt>
                <c:pt idx="566" formatCode="0.00">
                  <c:v>0.22894054959786464</c:v>
                </c:pt>
                <c:pt idx="567" formatCode="0.00">
                  <c:v>0.2289259246232761</c:v>
                </c:pt>
                <c:pt idx="568" formatCode="0.00">
                  <c:v>0.22780947280565678</c:v>
                </c:pt>
                <c:pt idx="569" formatCode="0.00">
                  <c:v>0.2261314384806177</c:v>
                </c:pt>
                <c:pt idx="570" formatCode="0.00">
                  <c:v>0.22526848779750913</c:v>
                </c:pt>
                <c:pt idx="571" formatCode="0.00">
                  <c:v>0.22539425616224754</c:v>
                </c:pt>
                <c:pt idx="572" formatCode="0.00">
                  <c:v>0.22549761825955336</c:v>
                </c:pt>
                <c:pt idx="573" formatCode="0.00">
                  <c:v>0.22605313124020202</c:v>
                </c:pt>
                <c:pt idx="574" formatCode="0.00">
                  <c:v>0.22582151182312624</c:v>
                </c:pt>
                <c:pt idx="575" formatCode="0.00">
                  <c:v>0.22604932503642305</c:v>
                </c:pt>
                <c:pt idx="576" formatCode="0.00">
                  <c:v>0.22503112534621386</c:v>
                </c:pt>
                <c:pt idx="577" formatCode="0.00">
                  <c:v>0.22516376033887234</c:v>
                </c:pt>
                <c:pt idx="578" formatCode="0.00">
                  <c:v>0.22504568732093547</c:v>
                </c:pt>
                <c:pt idx="579" formatCode="0.00">
                  <c:v>0.22492573313313119</c:v>
                </c:pt>
                <c:pt idx="580" formatCode="0.00">
                  <c:v>0.22507547571007727</c:v>
                </c:pt>
                <c:pt idx="581" formatCode="0.00">
                  <c:v>0.22478512930128464</c:v>
                </c:pt>
                <c:pt idx="582" formatCode="0.00">
                  <c:v>0.22500975025570916</c:v>
                </c:pt>
                <c:pt idx="583" formatCode="0.00">
                  <c:v>0.22482569325422327</c:v>
                </c:pt>
                <c:pt idx="584" formatCode="0.00">
                  <c:v>0.22438722303397587</c:v>
                </c:pt>
                <c:pt idx="585" formatCode="0.00">
                  <c:v>0.22479536528047506</c:v>
                </c:pt>
                <c:pt idx="586" formatCode="0.00">
                  <c:v>0.22383919806672267</c:v>
                </c:pt>
                <c:pt idx="587" formatCode="0.00">
                  <c:v>0.22402940588466688</c:v>
                </c:pt>
                <c:pt idx="588" formatCode="0.00">
                  <c:v>0.22381292777799816</c:v>
                </c:pt>
                <c:pt idx="589" formatCode="0.00">
                  <c:v>0.22344222482748347</c:v>
                </c:pt>
                <c:pt idx="590" formatCode="0.00">
                  <c:v>0.22115002565640915</c:v>
                </c:pt>
                <c:pt idx="591" formatCode="0.00">
                  <c:v>0.22148607956267474</c:v>
                </c:pt>
                <c:pt idx="592" formatCode="0.00">
                  <c:v>0.21941285630612795</c:v>
                </c:pt>
                <c:pt idx="593" formatCode="0.00">
                  <c:v>0.21894771318898121</c:v>
                </c:pt>
                <c:pt idx="594" formatCode="0.00">
                  <c:v>0.2193023552732116</c:v>
                </c:pt>
                <c:pt idx="595" formatCode="0.00">
                  <c:v>0.21937314390184817</c:v>
                </c:pt>
                <c:pt idx="596" formatCode="0.00">
                  <c:v>0.21723936160573359</c:v>
                </c:pt>
                <c:pt idx="597" formatCode="0.00">
                  <c:v>0.2177590434910355</c:v>
                </c:pt>
                <c:pt idx="598" formatCode="0.00">
                  <c:v>0.21775941505284785</c:v>
                </c:pt>
                <c:pt idx="599" formatCode="0.00">
                  <c:v>0.21758633758688792</c:v>
                </c:pt>
                <c:pt idx="600" formatCode="0.00">
                  <c:v>0.21750353412392098</c:v>
                </c:pt>
                <c:pt idx="601" formatCode="0.00">
                  <c:v>0.21730858322121924</c:v>
                </c:pt>
                <c:pt idx="602" formatCode="0.00">
                  <c:v>0.21710623226380338</c:v>
                </c:pt>
                <c:pt idx="603" formatCode="0.00">
                  <c:v>0.21495091311681638</c:v>
                </c:pt>
                <c:pt idx="604" formatCode="0.00">
                  <c:v>0.21632912343476174</c:v>
                </c:pt>
                <c:pt idx="605" formatCode="0.00">
                  <c:v>0.21471318534720391</c:v>
                </c:pt>
                <c:pt idx="606" formatCode="0.00">
                  <c:v>0.21209738976026352</c:v>
                </c:pt>
                <c:pt idx="607" formatCode="0.00">
                  <c:v>0.21222729888494102</c:v>
                </c:pt>
                <c:pt idx="608" formatCode="0.00">
                  <c:v>0.21370686622532037</c:v>
                </c:pt>
                <c:pt idx="609" formatCode="0.00">
                  <c:v>0.21355410752438328</c:v>
                </c:pt>
                <c:pt idx="610" formatCode="0.00">
                  <c:v>0.21033220899065772</c:v>
                </c:pt>
                <c:pt idx="611" formatCode="0.00">
                  <c:v>0.20903078504909353</c:v>
                </c:pt>
                <c:pt idx="612" formatCode="0.00">
                  <c:v>0.20903212055971215</c:v>
                </c:pt>
                <c:pt idx="613" formatCode="0.00">
                  <c:v>0.20902258334163071</c:v>
                </c:pt>
                <c:pt idx="614" formatCode="0.00">
                  <c:v>0.2094322822036099</c:v>
                </c:pt>
                <c:pt idx="615" formatCode="0.00">
                  <c:v>0.20933650776026663</c:v>
                </c:pt>
                <c:pt idx="616" formatCode="0.00">
                  <c:v>0.20919650191809244</c:v>
                </c:pt>
                <c:pt idx="617" formatCode="0.00">
                  <c:v>0.20616798596506403</c:v>
                </c:pt>
                <c:pt idx="618" formatCode="0.00">
                  <c:v>0.20466464985019514</c:v>
                </c:pt>
                <c:pt idx="619" formatCode="0.00">
                  <c:v>0.20155861013923776</c:v>
                </c:pt>
                <c:pt idx="620" formatCode="0.00">
                  <c:v>0.20125740306252551</c:v>
                </c:pt>
                <c:pt idx="621" formatCode="0.00">
                  <c:v>0.20273040777350188</c:v>
                </c:pt>
                <c:pt idx="622" formatCode="0.00">
                  <c:v>0.20286232364252765</c:v>
                </c:pt>
                <c:pt idx="623" formatCode="0.00">
                  <c:v>0.19885016447134346</c:v>
                </c:pt>
                <c:pt idx="624" formatCode="0.00">
                  <c:v>0.19919179585403546</c:v>
                </c:pt>
                <c:pt idx="625" formatCode="0.00">
                  <c:v>0.19898541869357556</c:v>
                </c:pt>
                <c:pt idx="626" formatCode="0.00">
                  <c:v>0.1990040427763568</c:v>
                </c:pt>
                <c:pt idx="627" formatCode="0.00">
                  <c:v>0.19855641576829447</c:v>
                </c:pt>
                <c:pt idx="628" formatCode="0.00">
                  <c:v>0.19870079290017645</c:v>
                </c:pt>
                <c:pt idx="629" formatCode="0.00">
                  <c:v>0.19981890419970047</c:v>
                </c:pt>
                <c:pt idx="630" formatCode="0.00">
                  <c:v>0.20115014995014655</c:v>
                </c:pt>
                <c:pt idx="631" formatCode="0.00">
                  <c:v>0.19813871542294975</c:v>
                </c:pt>
                <c:pt idx="632" formatCode="0.00">
                  <c:v>0.19823807259754458</c:v>
                </c:pt>
                <c:pt idx="633" formatCode="0.00">
                  <c:v>0.19804293265102549</c:v>
                </c:pt>
                <c:pt idx="634" formatCode="0.00">
                  <c:v>0.19782990292047092</c:v>
                </c:pt>
                <c:pt idx="635" formatCode="0.00">
                  <c:v>0.1975443522644495</c:v>
                </c:pt>
                <c:pt idx="636" formatCode="0.00">
                  <c:v>0.1979160321017725</c:v>
                </c:pt>
                <c:pt idx="637" formatCode="0.00">
                  <c:v>0.1969817041288674</c:v>
                </c:pt>
                <c:pt idx="638" formatCode="0.00">
                  <c:v>0.19696126853654647</c:v>
                </c:pt>
                <c:pt idx="639" formatCode="0.00">
                  <c:v>0.19511120386123684</c:v>
                </c:pt>
                <c:pt idx="640" formatCode="0.00">
                  <c:v>0.19500341295556003</c:v>
                </c:pt>
                <c:pt idx="641" formatCode="0.00">
                  <c:v>0.19498344431543499</c:v>
                </c:pt>
                <c:pt idx="642" formatCode="0.00">
                  <c:v>0.19517784188022422</c:v>
                </c:pt>
                <c:pt idx="643" formatCode="0.00">
                  <c:v>0.19721655162721091</c:v>
                </c:pt>
                <c:pt idx="644" formatCode="0.00">
                  <c:v>0.19679129674946749</c:v>
                </c:pt>
                <c:pt idx="645" formatCode="0.00">
                  <c:v>0.19671927868623276</c:v>
                </c:pt>
                <c:pt idx="646" formatCode="0.00">
                  <c:v>0.19572174446642945</c:v>
                </c:pt>
                <c:pt idx="647" formatCode="0.00">
                  <c:v>0.19696782374691368</c:v>
                </c:pt>
                <c:pt idx="648" formatCode="0.00">
                  <c:v>0.19691945976077441</c:v>
                </c:pt>
                <c:pt idx="649" formatCode="0.00">
                  <c:v>0.19685779056697147</c:v>
                </c:pt>
                <c:pt idx="650" formatCode="0.00">
                  <c:v>0.19675590398406592</c:v>
                </c:pt>
                <c:pt idx="651" formatCode="0.00">
                  <c:v>0.19636910346970324</c:v>
                </c:pt>
                <c:pt idx="652" formatCode="0.00">
                  <c:v>0.19827149446828901</c:v>
                </c:pt>
                <c:pt idx="653" formatCode="0.00">
                  <c:v>0.19985217615691545</c:v>
                </c:pt>
                <c:pt idx="654" formatCode="0.00">
                  <c:v>0.20040563712324888</c:v>
                </c:pt>
                <c:pt idx="655" formatCode="0.00">
                  <c:v>0.20130798250593904</c:v>
                </c:pt>
                <c:pt idx="656" formatCode="0.00">
                  <c:v>0.20144316405181079</c:v>
                </c:pt>
                <c:pt idx="657" formatCode="0.00">
                  <c:v>0.20191477466210964</c:v>
                </c:pt>
                <c:pt idx="658" formatCode="0.00">
                  <c:v>0.20142256572023787</c:v>
                </c:pt>
                <c:pt idx="659" formatCode="0.00">
                  <c:v>0.20141125197884058</c:v>
                </c:pt>
                <c:pt idx="660" formatCode="0.00">
                  <c:v>0.20004054534369964</c:v>
                </c:pt>
                <c:pt idx="661" formatCode="0.00">
                  <c:v>0.20017731471674974</c:v>
                </c:pt>
                <c:pt idx="662" formatCode="0.00">
                  <c:v>0.20012543719322917</c:v>
                </c:pt>
                <c:pt idx="663" formatCode="0.00">
                  <c:v>0.2008558893914833</c:v>
                </c:pt>
                <c:pt idx="664" formatCode="0.00">
                  <c:v>0.20080427177860136</c:v>
                </c:pt>
                <c:pt idx="665" formatCode="0.00">
                  <c:v>0.20052367267885848</c:v>
                </c:pt>
                <c:pt idx="666" formatCode="0.00">
                  <c:v>0.20045335514928436</c:v>
                </c:pt>
                <c:pt idx="667" formatCode="0.00">
                  <c:v>0.19982265467992305</c:v>
                </c:pt>
                <c:pt idx="668" formatCode="0.00">
                  <c:v>0.20009415407916839</c:v>
                </c:pt>
                <c:pt idx="669" formatCode="0.00">
                  <c:v>0.20043177907662715</c:v>
                </c:pt>
                <c:pt idx="670" formatCode="0.00">
                  <c:v>0.19999094296709782</c:v>
                </c:pt>
                <c:pt idx="671" formatCode="0.00">
                  <c:v>0.20208012113918672</c:v>
                </c:pt>
                <c:pt idx="672" formatCode="0.00">
                  <c:v>0.2021454001565425</c:v>
                </c:pt>
                <c:pt idx="673" formatCode="0.00">
                  <c:v>0.20236178523358339</c:v>
                </c:pt>
                <c:pt idx="674" formatCode="0.00">
                  <c:v>0.20234742048701609</c:v>
                </c:pt>
                <c:pt idx="675" formatCode="0.00">
                  <c:v>0.20064290710639474</c:v>
                </c:pt>
                <c:pt idx="676" formatCode="0.00">
                  <c:v>0.19881281892647271</c:v>
                </c:pt>
                <c:pt idx="677" formatCode="0.00">
                  <c:v>0.19844366618416251</c:v>
                </c:pt>
                <c:pt idx="678" formatCode="0.00">
                  <c:v>0.20109401189235124</c:v>
                </c:pt>
                <c:pt idx="679" formatCode="0.00">
                  <c:v>0.20105302046463458</c:v>
                </c:pt>
                <c:pt idx="680" formatCode="0.00">
                  <c:v>0.20093967699609935</c:v>
                </c:pt>
                <c:pt idx="681" formatCode="0.00">
                  <c:v>0.20130380151460975</c:v>
                </c:pt>
                <c:pt idx="682" formatCode="0.00">
                  <c:v>0.20063478580515454</c:v>
                </c:pt>
                <c:pt idx="683" formatCode="0.00">
                  <c:v>0.20195038357190914</c:v>
                </c:pt>
                <c:pt idx="684" formatCode="0.00">
                  <c:v>0.20194438939779163</c:v>
                </c:pt>
                <c:pt idx="685" formatCode="0.00">
                  <c:v>0.20206122480444658</c:v>
                </c:pt>
                <c:pt idx="686" formatCode="0.00">
                  <c:v>0.20396090183433999</c:v>
                </c:pt>
                <c:pt idx="687" formatCode="0.00">
                  <c:v>0.20423306436823552</c:v>
                </c:pt>
                <c:pt idx="688" formatCode="0.00">
                  <c:v>0.20445692732191381</c:v>
                </c:pt>
                <c:pt idx="689" formatCode="0.00">
                  <c:v>0.20443851497472612</c:v>
                </c:pt>
                <c:pt idx="690" formatCode="0.00">
                  <c:v>0.20597931908835868</c:v>
                </c:pt>
                <c:pt idx="691" formatCode="0.00">
                  <c:v>0.20597679936625821</c:v>
                </c:pt>
                <c:pt idx="692" formatCode="0.00">
                  <c:v>0.20494580291380896</c:v>
                </c:pt>
                <c:pt idx="693" formatCode="0.00">
                  <c:v>0.20562639676302985</c:v>
                </c:pt>
                <c:pt idx="694" formatCode="0.00">
                  <c:v>0.20556156888128338</c:v>
                </c:pt>
                <c:pt idx="695" formatCode="0.00">
                  <c:v>0.20553182796476016</c:v>
                </c:pt>
                <c:pt idx="696" formatCode="0.00">
                  <c:v>0.20585325392733722</c:v>
                </c:pt>
                <c:pt idx="697" formatCode="0.00">
                  <c:v>0.20582034111092037</c:v>
                </c:pt>
                <c:pt idx="698" formatCode="0.00">
                  <c:v>0.20666012429017672</c:v>
                </c:pt>
                <c:pt idx="699" formatCode="0.00">
                  <c:v>0.2069353774884832</c:v>
                </c:pt>
                <c:pt idx="700" formatCode="0.00">
                  <c:v>0.20492993668524742</c:v>
                </c:pt>
                <c:pt idx="701" formatCode="0.00">
                  <c:v>0.20480909916468498</c:v>
                </c:pt>
                <c:pt idx="702" formatCode="0.00">
                  <c:v>0.20582659299740652</c:v>
                </c:pt>
                <c:pt idx="703" formatCode="0.00">
                  <c:v>0.20624935197723709</c:v>
                </c:pt>
                <c:pt idx="704" formatCode="0.00">
                  <c:v>0.20625347927489091</c:v>
                </c:pt>
                <c:pt idx="705" formatCode="0.00">
                  <c:v>0.20585381893468196</c:v>
                </c:pt>
                <c:pt idx="706" formatCode="0.00">
                  <c:v>0.2083883435368139</c:v>
                </c:pt>
                <c:pt idx="707" formatCode="0.00">
                  <c:v>0.20842520848322182</c:v>
                </c:pt>
                <c:pt idx="708" formatCode="0.00">
                  <c:v>0.20958503509343615</c:v>
                </c:pt>
                <c:pt idx="709" formatCode="0.00">
                  <c:v>0.21020859445502268</c:v>
                </c:pt>
                <c:pt idx="710" formatCode="0.00">
                  <c:v>0.21065602391516924</c:v>
                </c:pt>
                <c:pt idx="711" formatCode="0.00">
                  <c:v>0.21134476225890408</c:v>
                </c:pt>
                <c:pt idx="712" formatCode="0.00">
                  <c:v>0.21138835863067834</c:v>
                </c:pt>
                <c:pt idx="713" formatCode="0.00">
                  <c:v>0.21139064018150808</c:v>
                </c:pt>
                <c:pt idx="714" formatCode="0.00">
                  <c:v>0.21130311113085351</c:v>
                </c:pt>
                <c:pt idx="715" formatCode="0.00">
                  <c:v>0.21141196818335528</c:v>
                </c:pt>
                <c:pt idx="716" formatCode="0.00">
                  <c:v>0.21172501009929148</c:v>
                </c:pt>
                <c:pt idx="717" formatCode="0.00">
                  <c:v>0.21744936843194301</c:v>
                </c:pt>
                <c:pt idx="718" formatCode="0.00">
                  <c:v>0.21782107956527361</c:v>
                </c:pt>
                <c:pt idx="719" formatCode="0.00">
                  <c:v>0.21781255804822147</c:v>
                </c:pt>
                <c:pt idx="720" formatCode="0.00">
                  <c:v>0.21783767216798927</c:v>
                </c:pt>
                <c:pt idx="721" formatCode="0.00">
                  <c:v>0.21784079930080508</c:v>
                </c:pt>
                <c:pt idx="722" formatCode="0.00">
                  <c:v>0.21791668303896736</c:v>
                </c:pt>
                <c:pt idx="723" formatCode="0.00">
                  <c:v>0.21793890709478234</c:v>
                </c:pt>
                <c:pt idx="724" formatCode="0.00">
                  <c:v>0.21785281038269683</c:v>
                </c:pt>
                <c:pt idx="725" formatCode="0.00">
                  <c:v>0.21816863538016243</c:v>
                </c:pt>
                <c:pt idx="726" formatCode="0.00">
                  <c:v>0.21808088672238801</c:v>
                </c:pt>
                <c:pt idx="727" formatCode="0.00">
                  <c:v>0.21808095801792482</c:v>
                </c:pt>
                <c:pt idx="728" formatCode="0.00">
                  <c:v>0.21760295915476885</c:v>
                </c:pt>
                <c:pt idx="729" formatCode="0.00">
                  <c:v>0.21760123447479007</c:v>
                </c:pt>
                <c:pt idx="730" formatCode="0.00">
                  <c:v>0.21847708766810175</c:v>
                </c:pt>
                <c:pt idx="731" formatCode="0.00">
                  <c:v>0.21853812272018522</c:v>
                </c:pt>
                <c:pt idx="732" formatCode="0.00">
                  <c:v>0.21849457169716771</c:v>
                </c:pt>
                <c:pt idx="733" formatCode="0.00">
                  <c:v>0.21810843920278414</c:v>
                </c:pt>
                <c:pt idx="734" formatCode="0.00">
                  <c:v>0.21826141333620752</c:v>
                </c:pt>
                <c:pt idx="735" formatCode="0.00">
                  <c:v>0.21828573523491973</c:v>
                </c:pt>
                <c:pt idx="736" formatCode="0.00">
                  <c:v>0.21791737864765515</c:v>
                </c:pt>
                <c:pt idx="737" formatCode="0.00">
                  <c:v>0.21859328915126916</c:v>
                </c:pt>
                <c:pt idx="738" formatCode="0.00">
                  <c:v>0.22037719858493024</c:v>
                </c:pt>
                <c:pt idx="739" formatCode="0.00">
                  <c:v>0.22017524945112546</c:v>
                </c:pt>
                <c:pt idx="740" formatCode="0.00">
                  <c:v>0.21962889818075929</c:v>
                </c:pt>
                <c:pt idx="741" formatCode="0.00">
                  <c:v>0.21862479262080109</c:v>
                </c:pt>
                <c:pt idx="742" formatCode="0.00">
                  <c:v>0.21769274063964494</c:v>
                </c:pt>
                <c:pt idx="743" formatCode="0.00">
                  <c:v>0.21756208770305185</c:v>
                </c:pt>
                <c:pt idx="744" formatCode="0.00">
                  <c:v>0.21796894413221238</c:v>
                </c:pt>
                <c:pt idx="745" formatCode="0.00">
                  <c:v>0.21775801555925817</c:v>
                </c:pt>
                <c:pt idx="746" formatCode="0.00">
                  <c:v>0.217967963437465</c:v>
                </c:pt>
                <c:pt idx="747" formatCode="0.00">
                  <c:v>0.21715322282425864</c:v>
                </c:pt>
                <c:pt idx="748" formatCode="0.00">
                  <c:v>0.21750292441644636</c:v>
                </c:pt>
                <c:pt idx="749" formatCode="0.00">
                  <c:v>0.21654927049222081</c:v>
                </c:pt>
                <c:pt idx="750" formatCode="0.00">
                  <c:v>0.21724683918405036</c:v>
                </c:pt>
                <c:pt idx="751" formatCode="0.00">
                  <c:v>0.21728633810790901</c:v>
                </c:pt>
                <c:pt idx="752" formatCode="0.00">
                  <c:v>0.21736549044999268</c:v>
                </c:pt>
                <c:pt idx="753" formatCode="0.00">
                  <c:v>0.21786542854388899</c:v>
                </c:pt>
                <c:pt idx="754" formatCode="0.00">
                  <c:v>0.22295520701724791</c:v>
                </c:pt>
                <c:pt idx="755" formatCode="0.00">
                  <c:v>0.22364849669308534</c:v>
                </c:pt>
                <c:pt idx="756" formatCode="0.00">
                  <c:v>0.22438232889826057</c:v>
                </c:pt>
                <c:pt idx="757" formatCode="0.00">
                  <c:v>0.22665264818813508</c:v>
                </c:pt>
                <c:pt idx="758" formatCode="0.00">
                  <c:v>0.22076054253538774</c:v>
                </c:pt>
                <c:pt idx="759" formatCode="0.00">
                  <c:v>0.22159846873136599</c:v>
                </c:pt>
                <c:pt idx="760" formatCode="0.00">
                  <c:v>0.2218458298060608</c:v>
                </c:pt>
                <c:pt idx="761" formatCode="0.00">
                  <c:v>0.22192028969660263</c:v>
                </c:pt>
                <c:pt idx="762" formatCode="0.00">
                  <c:v>0.22170000777819557</c:v>
                </c:pt>
                <c:pt idx="763" formatCode="0.00">
                  <c:v>0.22169765653543749</c:v>
                </c:pt>
                <c:pt idx="764" formatCode="0.00">
                  <c:v>0.22201176568528613</c:v>
                </c:pt>
                <c:pt idx="765" formatCode="0.00">
                  <c:v>0.22211214345998986</c:v>
                </c:pt>
                <c:pt idx="766" formatCode="0.00">
                  <c:v>0.22210700366318065</c:v>
                </c:pt>
                <c:pt idx="767" formatCode="0.00">
                  <c:v>0.22208323052200407</c:v>
                </c:pt>
                <c:pt idx="768" formatCode="0.00">
                  <c:v>0.22374076598464809</c:v>
                </c:pt>
                <c:pt idx="769" formatCode="0.00">
                  <c:v>0.22380278624744551</c:v>
                </c:pt>
                <c:pt idx="770" formatCode="0.00">
                  <c:v>0.22548992433031242</c:v>
                </c:pt>
                <c:pt idx="771" formatCode="0.00">
                  <c:v>0.2248965266858623</c:v>
                </c:pt>
                <c:pt idx="772" formatCode="0.00">
                  <c:v>0.22467293424523779</c:v>
                </c:pt>
                <c:pt idx="773" formatCode="0.00">
                  <c:v>0.22410278243216764</c:v>
                </c:pt>
                <c:pt idx="774" formatCode="0.00">
                  <c:v>0.22562497561187678</c:v>
                </c:pt>
                <c:pt idx="775" formatCode="0.00">
                  <c:v>0.22734328518445546</c:v>
                </c:pt>
                <c:pt idx="776" formatCode="0.00">
                  <c:v>0.22802840265357568</c:v>
                </c:pt>
                <c:pt idx="777" formatCode="0.00">
                  <c:v>0.22807323628117898</c:v>
                </c:pt>
                <c:pt idx="778" formatCode="0.00">
                  <c:v>0.22809952658507787</c:v>
                </c:pt>
                <c:pt idx="779" formatCode="0.00">
                  <c:v>0.22816647588355102</c:v>
                </c:pt>
                <c:pt idx="780" formatCode="0.00">
                  <c:v>0.22805549207271777</c:v>
                </c:pt>
                <c:pt idx="781" formatCode="0.00">
                  <c:v>0.22740951372760762</c:v>
                </c:pt>
                <c:pt idx="782" formatCode="0.00">
                  <c:v>0.22870431036860298</c:v>
                </c:pt>
                <c:pt idx="783" formatCode="0.00">
                  <c:v>0.22808395968903578</c:v>
                </c:pt>
                <c:pt idx="784" formatCode="0.00">
                  <c:v>0.22820172415322948</c:v>
                </c:pt>
                <c:pt idx="785" formatCode="0.00">
                  <c:v>0.22896864650977275</c:v>
                </c:pt>
                <c:pt idx="786" formatCode="0.00">
                  <c:v>0.22890758722260135</c:v>
                </c:pt>
                <c:pt idx="787" formatCode="0.00">
                  <c:v>0.22731289949371228</c:v>
                </c:pt>
                <c:pt idx="788" formatCode="0.00">
                  <c:v>0.22732198736987824</c:v>
                </c:pt>
                <c:pt idx="789" formatCode="0.00">
                  <c:v>0.22630912797730693</c:v>
                </c:pt>
                <c:pt idx="790" formatCode="0.00">
                  <c:v>0.22572773520090092</c:v>
                </c:pt>
                <c:pt idx="791" formatCode="0.00">
                  <c:v>0.22495704441625836</c:v>
                </c:pt>
                <c:pt idx="792" formatCode="0.00">
                  <c:v>0.22486810005223778</c:v>
                </c:pt>
                <c:pt idx="793" formatCode="0.00">
                  <c:v>0.2237579653642312</c:v>
                </c:pt>
                <c:pt idx="794" formatCode="0.00">
                  <c:v>0.22375989942875793</c:v>
                </c:pt>
                <c:pt idx="795" formatCode="0.00">
                  <c:v>0.22344367581131439</c:v>
                </c:pt>
                <c:pt idx="796" formatCode="0.00">
                  <c:v>0.2235411899060786</c:v>
                </c:pt>
                <c:pt idx="797" formatCode="0.00">
                  <c:v>0.2238096854129277</c:v>
                </c:pt>
                <c:pt idx="798" formatCode="0.00">
                  <c:v>0.22345786195237766</c:v>
                </c:pt>
                <c:pt idx="799" formatCode="0.00">
                  <c:v>0.22441173761963751</c:v>
                </c:pt>
                <c:pt idx="800" formatCode="0.00">
                  <c:v>0.22445717079938221</c:v>
                </c:pt>
                <c:pt idx="801" formatCode="0.00">
                  <c:v>0.22460495371452632</c:v>
                </c:pt>
                <c:pt idx="802" formatCode="0.00">
                  <c:v>0.22434033669216177</c:v>
                </c:pt>
                <c:pt idx="803" formatCode="0.00">
                  <c:v>0.22434303027898714</c:v>
                </c:pt>
                <c:pt idx="804" formatCode="0.00">
                  <c:v>0.22492029329822211</c:v>
                </c:pt>
                <c:pt idx="805" formatCode="0.00">
                  <c:v>0.22425342637425488</c:v>
                </c:pt>
                <c:pt idx="806" formatCode="0.00">
                  <c:v>0.22436547233558757</c:v>
                </c:pt>
                <c:pt idx="807" formatCode="0.00">
                  <c:v>0.2243686967245915</c:v>
                </c:pt>
                <c:pt idx="808" formatCode="0.00">
                  <c:v>0.22523302896308892</c:v>
                </c:pt>
                <c:pt idx="809" formatCode="0.00">
                  <c:v>0.2250530227327309</c:v>
                </c:pt>
                <c:pt idx="810" formatCode="0.00">
                  <c:v>0.22502882976896041</c:v>
                </c:pt>
                <c:pt idx="811" formatCode="0.00">
                  <c:v>0.22486805032986945</c:v>
                </c:pt>
                <c:pt idx="812" formatCode="0.00">
                  <c:v>0.22504877651592942</c:v>
                </c:pt>
                <c:pt idx="813" formatCode="0.00">
                  <c:v>0.22509206153305605</c:v>
                </c:pt>
                <c:pt idx="814" formatCode="0.00">
                  <c:v>0.22551021503541599</c:v>
                </c:pt>
                <c:pt idx="815" formatCode="0.00">
                  <c:v>0.22529588651899171</c:v>
                </c:pt>
                <c:pt idx="816" formatCode="0.00">
                  <c:v>0.22733505554821304</c:v>
                </c:pt>
                <c:pt idx="817" formatCode="0.00">
                  <c:v>0.22735379908489842</c:v>
                </c:pt>
                <c:pt idx="818" formatCode="0.00">
                  <c:v>0.22546360200718277</c:v>
                </c:pt>
                <c:pt idx="819" formatCode="0.00">
                  <c:v>0.22942520881758011</c:v>
                </c:pt>
                <c:pt idx="820" formatCode="0.00">
                  <c:v>0.22972835633541661</c:v>
                </c:pt>
                <c:pt idx="821" formatCode="0.00">
                  <c:v>0.23012938240463071</c:v>
                </c:pt>
                <c:pt idx="822" formatCode="0.00">
                  <c:v>0.23164632254765413</c:v>
                </c:pt>
                <c:pt idx="823" formatCode="0.00">
                  <c:v>0.23210718251991935</c:v>
                </c:pt>
                <c:pt idx="824" formatCode="0.00">
                  <c:v>0.23398884636260614</c:v>
                </c:pt>
                <c:pt idx="825" formatCode="0.00">
                  <c:v>0.23533483927282628</c:v>
                </c:pt>
                <c:pt idx="826" formatCode="0.00">
                  <c:v>0.23499193794946502</c:v>
                </c:pt>
                <c:pt idx="827" formatCode="0.00">
                  <c:v>0.23493552966937425</c:v>
                </c:pt>
                <c:pt idx="828" formatCode="0.00">
                  <c:v>0.23519326454491721</c:v>
                </c:pt>
                <c:pt idx="829" formatCode="0.00">
                  <c:v>0.2351748031889869</c:v>
                </c:pt>
                <c:pt idx="830" formatCode="0.00">
                  <c:v>0.23468069687526028</c:v>
                </c:pt>
                <c:pt idx="831" formatCode="0.00">
                  <c:v>0.23400360586807845</c:v>
                </c:pt>
                <c:pt idx="832" formatCode="0.00">
                  <c:v>0.23428139941052861</c:v>
                </c:pt>
                <c:pt idx="833" formatCode="0.00">
                  <c:v>0.23409857285155164</c:v>
                </c:pt>
                <c:pt idx="834" formatCode="0.00">
                  <c:v>0.23399801893896166</c:v>
                </c:pt>
                <c:pt idx="835" formatCode="0.00">
                  <c:v>0.23360590088077593</c:v>
                </c:pt>
                <c:pt idx="836" formatCode="0.00">
                  <c:v>0.23382131000325029</c:v>
                </c:pt>
                <c:pt idx="837" formatCode="0.00">
                  <c:v>0.23366647768199983</c:v>
                </c:pt>
                <c:pt idx="838" formatCode="0.00">
                  <c:v>0.23309803904590254</c:v>
                </c:pt>
                <c:pt idx="839" formatCode="0.00">
                  <c:v>0.23282723095410643</c:v>
                </c:pt>
                <c:pt idx="840" formatCode="0.00">
                  <c:v>0.23222562608970468</c:v>
                </c:pt>
                <c:pt idx="841" formatCode="0.00">
                  <c:v>0.23232256464719159</c:v>
                </c:pt>
                <c:pt idx="842" formatCode="0.00">
                  <c:v>0.23309173686584736</c:v>
                </c:pt>
                <c:pt idx="843" formatCode="0.00">
                  <c:v>0.23409223541647153</c:v>
                </c:pt>
                <c:pt idx="844" formatCode="0.00">
                  <c:v>0.23366610256953851</c:v>
                </c:pt>
                <c:pt idx="845" formatCode="0.00">
                  <c:v>0.23348176425943054</c:v>
                </c:pt>
                <c:pt idx="846" formatCode="0.00">
                  <c:v>0.23347907664513903</c:v>
                </c:pt>
                <c:pt idx="847" formatCode="0.00">
                  <c:v>0.23298127277088423</c:v>
                </c:pt>
                <c:pt idx="848" formatCode="0.00">
                  <c:v>0.23333729157946248</c:v>
                </c:pt>
                <c:pt idx="849" formatCode="0.00">
                  <c:v>0.23330652232733726</c:v>
                </c:pt>
                <c:pt idx="850" formatCode="0.00">
                  <c:v>0.23301152702098066</c:v>
                </c:pt>
                <c:pt idx="851" formatCode="0.00">
                  <c:v>0.23413758881609179</c:v>
                </c:pt>
                <c:pt idx="852" formatCode="0.00">
                  <c:v>0.23423323053463488</c:v>
                </c:pt>
                <c:pt idx="853" formatCode="0.00">
                  <c:v>0.23417018689591862</c:v>
                </c:pt>
                <c:pt idx="854" formatCode="0.00">
                  <c:v>0.23435804986401815</c:v>
                </c:pt>
                <c:pt idx="855" formatCode="0.00">
                  <c:v>0.23437204601863176</c:v>
                </c:pt>
                <c:pt idx="856" formatCode="0.00">
                  <c:v>0.23406007677574994</c:v>
                </c:pt>
                <c:pt idx="857" formatCode="0.00">
                  <c:v>0.23270164298978721</c:v>
                </c:pt>
                <c:pt idx="858" formatCode="0.00">
                  <c:v>0.23280619127949845</c:v>
                </c:pt>
                <c:pt idx="859" formatCode="0.00">
                  <c:v>0.23257205588438704</c:v>
                </c:pt>
                <c:pt idx="860" formatCode="0.00">
                  <c:v>0.23193957287347017</c:v>
                </c:pt>
                <c:pt idx="861" formatCode="0.00">
                  <c:v>0.23193714152910311</c:v>
                </c:pt>
                <c:pt idx="862" formatCode="0.00">
                  <c:v>0.2319418694324446</c:v>
                </c:pt>
                <c:pt idx="863" formatCode="0.00">
                  <c:v>0.23189736251233345</c:v>
                </c:pt>
                <c:pt idx="864" formatCode="0.00">
                  <c:v>0.23213881469414141</c:v>
                </c:pt>
                <c:pt idx="865" formatCode="0.00">
                  <c:v>0.23171700273593643</c:v>
                </c:pt>
                <c:pt idx="866" formatCode="0.00">
                  <c:v>0.23198180083578546</c:v>
                </c:pt>
                <c:pt idx="867" formatCode="0.00">
                  <c:v>0.23173234933233905</c:v>
                </c:pt>
                <c:pt idx="868" formatCode="0.00">
                  <c:v>0.23184558627035806</c:v>
                </c:pt>
                <c:pt idx="869" formatCode="0.00">
                  <c:v>0.23181703975787901</c:v>
                </c:pt>
                <c:pt idx="870" formatCode="0.00">
                  <c:v>0.23288925594010185</c:v>
                </c:pt>
                <c:pt idx="871" formatCode="0.00">
                  <c:v>0.23241054229343164</c:v>
                </c:pt>
                <c:pt idx="872" formatCode="0.00">
                  <c:v>0.23241628167790196</c:v>
                </c:pt>
                <c:pt idx="873" formatCode="0.00">
                  <c:v>0.23477790062231468</c:v>
                </c:pt>
                <c:pt idx="874" formatCode="0.00">
                  <c:v>0.23379164073401579</c:v>
                </c:pt>
                <c:pt idx="875" formatCode="0.00">
                  <c:v>0.23365807645390593</c:v>
                </c:pt>
                <c:pt idx="876" formatCode="0.00">
                  <c:v>0.23635354198094849</c:v>
                </c:pt>
                <c:pt idx="877" formatCode="0.00">
                  <c:v>0.23744313377664159</c:v>
                </c:pt>
                <c:pt idx="878" formatCode="0.00">
                  <c:v>0.24004466096338262</c:v>
                </c:pt>
                <c:pt idx="879" formatCode="0.00">
                  <c:v>0.24002089839112145</c:v>
                </c:pt>
                <c:pt idx="880" formatCode="0.00">
                  <c:v>0.24001827171605694</c:v>
                </c:pt>
                <c:pt idx="881" formatCode="0.00">
                  <c:v>0.23976165988280676</c:v>
                </c:pt>
                <c:pt idx="882" formatCode="0.00">
                  <c:v>0.23844971385670838</c:v>
                </c:pt>
                <c:pt idx="883" formatCode="0.00">
                  <c:v>0.23843581557852944</c:v>
                </c:pt>
                <c:pt idx="884" formatCode="0.00">
                  <c:v>0.23855400383003184</c:v>
                </c:pt>
                <c:pt idx="885" formatCode="0.00">
                  <c:v>0.23854188135778084</c:v>
                </c:pt>
                <c:pt idx="886" formatCode="0.00">
                  <c:v>0.23981036066471198</c:v>
                </c:pt>
                <c:pt idx="887" formatCode="0.00">
                  <c:v>0.24029328393254895</c:v>
                </c:pt>
                <c:pt idx="888" formatCode="0.00">
                  <c:v>0.24067956445592956</c:v>
                </c:pt>
                <c:pt idx="889" formatCode="0.00">
                  <c:v>0.24036027312378272</c:v>
                </c:pt>
                <c:pt idx="890" formatCode="0.00">
                  <c:v>0.24040704097829926</c:v>
                </c:pt>
                <c:pt idx="891" formatCode="0.00">
                  <c:v>0.24114772469982942</c:v>
                </c:pt>
                <c:pt idx="892" formatCode="0.00">
                  <c:v>0.24107221371594018</c:v>
                </c:pt>
                <c:pt idx="893" formatCode="0.00">
                  <c:v>0.24162340354363859</c:v>
                </c:pt>
                <c:pt idx="894" formatCode="0.00">
                  <c:v>0.24236920907923543</c:v>
                </c:pt>
                <c:pt idx="895" formatCode="0.00">
                  <c:v>0.24364202090192147</c:v>
                </c:pt>
                <c:pt idx="896" formatCode="0.00">
                  <c:v>0.24450361713998375</c:v>
                </c:pt>
                <c:pt idx="897" formatCode="0.00">
                  <c:v>0.24451331597921952</c:v>
                </c:pt>
                <c:pt idx="898" formatCode="0.00">
                  <c:v>0.24695841269421015</c:v>
                </c:pt>
                <c:pt idx="899" formatCode="0.00">
                  <c:v>0.24718198119597987</c:v>
                </c:pt>
                <c:pt idx="900" formatCode="0.00">
                  <c:v>0.24603094819350299</c:v>
                </c:pt>
                <c:pt idx="901" formatCode="0.00">
                  <c:v>0.24655362525999641</c:v>
                </c:pt>
                <c:pt idx="902" formatCode="0.00">
                  <c:v>0.24682539034247289</c:v>
                </c:pt>
                <c:pt idx="903" formatCode="0.00">
                  <c:v>0.24661787415529099</c:v>
                </c:pt>
                <c:pt idx="904" formatCode="0.00">
                  <c:v>0.24630102830875056</c:v>
                </c:pt>
                <c:pt idx="905" formatCode="0.00">
                  <c:v>0.24423068575171941</c:v>
                </c:pt>
                <c:pt idx="906" formatCode="0.00">
                  <c:v>0.24290419102410324</c:v>
                </c:pt>
                <c:pt idx="907" formatCode="0.00">
                  <c:v>0.24228133913075173</c:v>
                </c:pt>
                <c:pt idx="908" formatCode="0.00">
                  <c:v>0.24219475192334675</c:v>
                </c:pt>
                <c:pt idx="909" formatCode="0.00">
                  <c:v>0.24214186533826987</c:v>
                </c:pt>
                <c:pt idx="910" formatCode="0.00">
                  <c:v>0.24445443521856719</c:v>
                </c:pt>
                <c:pt idx="911" formatCode="0.00">
                  <c:v>0.2449691859203604</c:v>
                </c:pt>
                <c:pt idx="912" formatCode="0.00">
                  <c:v>0.24493972312371462</c:v>
                </c:pt>
                <c:pt idx="913" formatCode="0.00">
                  <c:v>0.24735155356675215</c:v>
                </c:pt>
                <c:pt idx="914" formatCode="0.00">
                  <c:v>0.24731762502794455</c:v>
                </c:pt>
                <c:pt idx="915" formatCode="0.00">
                  <c:v>0.24735719182193486</c:v>
                </c:pt>
                <c:pt idx="916" formatCode="0.00">
                  <c:v>0.25068176319510205</c:v>
                </c:pt>
                <c:pt idx="917" formatCode="0.00">
                  <c:v>0.25141244856615064</c:v>
                </c:pt>
                <c:pt idx="918" formatCode="0.00">
                  <c:v>0.25194016774809946</c:v>
                </c:pt>
                <c:pt idx="919" formatCode="0.00">
                  <c:v>0.25267820739179619</c:v>
                </c:pt>
                <c:pt idx="920" formatCode="0.00">
                  <c:v>0.25259868655813106</c:v>
                </c:pt>
                <c:pt idx="921" formatCode="0.00">
                  <c:v>0.25260801797926624</c:v>
                </c:pt>
                <c:pt idx="922" formatCode="0.00">
                  <c:v>0.25260715508808734</c:v>
                </c:pt>
                <c:pt idx="923" formatCode="0.00">
                  <c:v>0.25254684118095105</c:v>
                </c:pt>
                <c:pt idx="924" formatCode="0.00">
                  <c:v>0.2507358708406468</c:v>
                </c:pt>
                <c:pt idx="925" formatCode="0.00">
                  <c:v>0.25072575841244732</c:v>
                </c:pt>
                <c:pt idx="926" formatCode="0.00">
                  <c:v>0.24954763235788041</c:v>
                </c:pt>
                <c:pt idx="927" formatCode="0.00">
                  <c:v>0.24914865051896865</c:v>
                </c:pt>
                <c:pt idx="928" formatCode="0.00">
                  <c:v>0.24991168291851679</c:v>
                </c:pt>
                <c:pt idx="929" formatCode="0.00">
                  <c:v>0.2498737409354716</c:v>
                </c:pt>
                <c:pt idx="930" formatCode="0.00">
                  <c:v>0.24992868680112923</c:v>
                </c:pt>
                <c:pt idx="931" formatCode="0.00">
                  <c:v>0.24806125676233362</c:v>
                </c:pt>
                <c:pt idx="932" formatCode="0.00">
                  <c:v>0.24923751766821731</c:v>
                </c:pt>
                <c:pt idx="933" formatCode="0.00">
                  <c:v>0.24910621256543389</c:v>
                </c:pt>
                <c:pt idx="934" formatCode="0.00">
                  <c:v>0.24884706845472682</c:v>
                </c:pt>
                <c:pt idx="935" formatCode="0.00">
                  <c:v>0.24933842219407337</c:v>
                </c:pt>
                <c:pt idx="936" formatCode="0.00">
                  <c:v>0.24913700303626116</c:v>
                </c:pt>
                <c:pt idx="937" formatCode="0.00">
                  <c:v>0.24940997813578519</c:v>
                </c:pt>
                <c:pt idx="938" formatCode="0.00">
                  <c:v>0.25070300686651731</c:v>
                </c:pt>
                <c:pt idx="939" formatCode="0.00">
                  <c:v>0.25154800472442679</c:v>
                </c:pt>
                <c:pt idx="940" formatCode="0.00">
                  <c:v>0.25117473722425754</c:v>
                </c:pt>
                <c:pt idx="941" formatCode="0.00">
                  <c:v>0.2516503875579631</c:v>
                </c:pt>
                <c:pt idx="942" formatCode="0.00">
                  <c:v>0.25174159642610056</c:v>
                </c:pt>
                <c:pt idx="943" formatCode="0.00">
                  <c:v>0.2509157037616061</c:v>
                </c:pt>
                <c:pt idx="944" formatCode="0.00">
                  <c:v>0.25152614396536155</c:v>
                </c:pt>
                <c:pt idx="945" formatCode="0.00">
                  <c:v>0.25132686129739762</c:v>
                </c:pt>
                <c:pt idx="946" formatCode="0.00">
                  <c:v>0.2513037819719745</c:v>
                </c:pt>
                <c:pt idx="947" formatCode="0.00">
                  <c:v>0.25126502508132259</c:v>
                </c:pt>
                <c:pt idx="948" formatCode="0.00">
                  <c:v>0.25162317202105566</c:v>
                </c:pt>
                <c:pt idx="949" formatCode="0.00">
                  <c:v>0.2537444754067254</c:v>
                </c:pt>
                <c:pt idx="950" formatCode="0.00">
                  <c:v>0.25454996252768208</c:v>
                </c:pt>
                <c:pt idx="951" formatCode="0.00">
                  <c:v>0.25446083563611011</c:v>
                </c:pt>
                <c:pt idx="952" formatCode="0.00">
                  <c:v>0.25392690560903963</c:v>
                </c:pt>
                <c:pt idx="953" formatCode="0.00">
                  <c:v>0.25413508547027036</c:v>
                </c:pt>
                <c:pt idx="954" formatCode="0.00">
                  <c:v>0.25550144694554894</c:v>
                </c:pt>
                <c:pt idx="955" formatCode="0.00">
                  <c:v>0.2545523634897407</c:v>
                </c:pt>
                <c:pt idx="956" formatCode="0.00">
                  <c:v>0.25439819241147432</c:v>
                </c:pt>
                <c:pt idx="957" formatCode="0.00">
                  <c:v>0.25697925451093107</c:v>
                </c:pt>
                <c:pt idx="958" formatCode="0.00">
                  <c:v>0.25824070598906551</c:v>
                </c:pt>
                <c:pt idx="959" formatCode="0.00">
                  <c:v>0.25670972822796678</c:v>
                </c:pt>
                <c:pt idx="960" formatCode="0.00">
                  <c:v>0.25695861845792922</c:v>
                </c:pt>
                <c:pt idx="961" formatCode="0.00">
                  <c:v>0.25643482337439194</c:v>
                </c:pt>
                <c:pt idx="962" formatCode="0.00">
                  <c:v>0.25613594798245731</c:v>
                </c:pt>
                <c:pt idx="963" formatCode="0.00">
                  <c:v>0.25584623365941528</c:v>
                </c:pt>
                <c:pt idx="964" formatCode="0.00">
                  <c:v>0.25523465862374911</c:v>
                </c:pt>
                <c:pt idx="965" formatCode="0.00">
                  <c:v>0.25456829198698855</c:v>
                </c:pt>
                <c:pt idx="966" formatCode="0.00">
                  <c:v>0.25473790572647481</c:v>
                </c:pt>
                <c:pt idx="967" formatCode="0.00">
                  <c:v>0.25624185948330658</c:v>
                </c:pt>
                <c:pt idx="968" formatCode="0.00">
                  <c:v>0.25644891540199949</c:v>
                </c:pt>
                <c:pt idx="969" formatCode="0.00">
                  <c:v>0.25634021202665819</c:v>
                </c:pt>
                <c:pt idx="970" formatCode="0.00">
                  <c:v>0.25075411430921374</c:v>
                </c:pt>
                <c:pt idx="971" formatCode="0.00">
                  <c:v>0.25129355815149312</c:v>
                </c:pt>
                <c:pt idx="972" formatCode="0.00">
                  <c:v>0.25615187802337791</c:v>
                </c:pt>
                <c:pt idx="973" formatCode="0.00">
                  <c:v>0.25628007528831503</c:v>
                </c:pt>
                <c:pt idx="974" formatCode="0.00">
                  <c:v>0.25639200187473982</c:v>
                </c:pt>
                <c:pt idx="975" formatCode="0.00">
                  <c:v>0.25685892601908511</c:v>
                </c:pt>
                <c:pt idx="976" formatCode="0.00">
                  <c:v>0.25709833573421126</c:v>
                </c:pt>
                <c:pt idx="977" formatCode="0.00">
                  <c:v>0.25746517889526632</c:v>
                </c:pt>
                <c:pt idx="978" formatCode="0.00">
                  <c:v>0.25745659571153845</c:v>
                </c:pt>
                <c:pt idx="979" formatCode="0.00">
                  <c:v>0.25913651341174715</c:v>
                </c:pt>
                <c:pt idx="980" formatCode="0.00">
                  <c:v>0.2591339545387501</c:v>
                </c:pt>
                <c:pt idx="981" formatCode="0.00">
                  <c:v>0.25911697864026478</c:v>
                </c:pt>
                <c:pt idx="982" formatCode="0.00">
                  <c:v>0.26187684449545601</c:v>
                </c:pt>
                <c:pt idx="983" formatCode="0.00">
                  <c:v>0.2610739044877286</c:v>
                </c:pt>
                <c:pt idx="984" formatCode="0.00">
                  <c:v>0.26092162469777741</c:v>
                </c:pt>
                <c:pt idx="985" formatCode="0.00">
                  <c:v>0.26083882035659789</c:v>
                </c:pt>
                <c:pt idx="986" formatCode="0.00">
                  <c:v>0.26086635352865839</c:v>
                </c:pt>
                <c:pt idx="987" formatCode="0.00">
                  <c:v>0.26048599756944668</c:v>
                </c:pt>
                <c:pt idx="988" formatCode="0.00">
                  <c:v>0.26062868592138949</c:v>
                </c:pt>
                <c:pt idx="989" formatCode="0.00">
                  <c:v>0.26059857963940225</c:v>
                </c:pt>
                <c:pt idx="990" formatCode="0.00">
                  <c:v>0.25967535500631744</c:v>
                </c:pt>
                <c:pt idx="991" formatCode="0.00">
                  <c:v>0.2593156049544682</c:v>
                </c:pt>
                <c:pt idx="992" formatCode="0.00">
                  <c:v>0.25984896598404383</c:v>
                </c:pt>
                <c:pt idx="993" formatCode="0.00">
                  <c:v>0.25985127075147163</c:v>
                </c:pt>
                <c:pt idx="994" formatCode="0.00">
                  <c:v>0.26189480020227568</c:v>
                </c:pt>
                <c:pt idx="995" formatCode="0.00">
                  <c:v>0.26442283930314969</c:v>
                </c:pt>
                <c:pt idx="996" formatCode="0.00">
                  <c:v>0.26749370411994627</c:v>
                </c:pt>
                <c:pt idx="997" formatCode="0.00">
                  <c:v>0.2672622376239423</c:v>
                </c:pt>
                <c:pt idx="998" formatCode="0.00">
                  <c:v>0.26734463377766465</c:v>
                </c:pt>
                <c:pt idx="999" formatCode="0.00">
                  <c:v>0.26706061141293103</c:v>
                </c:pt>
                <c:pt idx="1000" formatCode="0.00">
                  <c:v>0.26708328642993567</c:v>
                </c:pt>
                <c:pt idx="1001" formatCode="0.00">
                  <c:v>0.26663273513045876</c:v>
                </c:pt>
                <c:pt idx="1002" formatCode="0.00">
                  <c:v>0.26703965614482633</c:v>
                </c:pt>
                <c:pt idx="1003" formatCode="0.00">
                  <c:v>0.27117989352871019</c:v>
                </c:pt>
                <c:pt idx="1004" formatCode="0.00">
                  <c:v>0.27121892838868911</c:v>
                </c:pt>
                <c:pt idx="1005" formatCode="0.00">
                  <c:v>0.27167019493910533</c:v>
                </c:pt>
                <c:pt idx="1006" formatCode="0.00">
                  <c:v>0.27255973379313009</c:v>
                </c:pt>
                <c:pt idx="1007" formatCode="0.00">
                  <c:v>0.27000710209764439</c:v>
                </c:pt>
                <c:pt idx="1008" formatCode="0.00">
                  <c:v>0.26979886007678039</c:v>
                </c:pt>
                <c:pt idx="1009" formatCode="0.00">
                  <c:v>0.26922410490540516</c:v>
                </c:pt>
                <c:pt idx="1010" formatCode="0.00">
                  <c:v>0.26804604522343378</c:v>
                </c:pt>
                <c:pt idx="1011" formatCode="0.00">
                  <c:v>0.26798027395886442</c:v>
                </c:pt>
                <c:pt idx="1012" formatCode="0.00">
                  <c:v>0.27006544794912807</c:v>
                </c:pt>
                <c:pt idx="1013" formatCode="0.00">
                  <c:v>0.26976666554085915</c:v>
                </c:pt>
                <c:pt idx="1014" formatCode="0.00">
                  <c:v>0.26989878452470029</c:v>
                </c:pt>
                <c:pt idx="1015" formatCode="0.00">
                  <c:v>0.26975834613623767</c:v>
                </c:pt>
                <c:pt idx="1016" formatCode="0.00">
                  <c:v>0.27045088238932141</c:v>
                </c:pt>
                <c:pt idx="1017" formatCode="0.00">
                  <c:v>0.27027737293880222</c:v>
                </c:pt>
                <c:pt idx="1018" formatCode="0.00">
                  <c:v>0.27035436369412413</c:v>
                </c:pt>
                <c:pt idx="1019" formatCode="0.00">
                  <c:v>0.27040621342583576</c:v>
                </c:pt>
                <c:pt idx="1020" formatCode="0.00">
                  <c:v>0.27065518814583722</c:v>
                </c:pt>
                <c:pt idx="1021" formatCode="0.00">
                  <c:v>0.27197762828707756</c:v>
                </c:pt>
                <c:pt idx="1022" formatCode="0.00">
                  <c:v>0.27198171589391834</c:v>
                </c:pt>
                <c:pt idx="1023" formatCode="0.00">
                  <c:v>0.27022028548314703</c:v>
                </c:pt>
                <c:pt idx="1024" formatCode="0.00">
                  <c:v>0.27031564053589513</c:v>
                </c:pt>
                <c:pt idx="1025" formatCode="0.00">
                  <c:v>0.27106241370036149</c:v>
                </c:pt>
                <c:pt idx="1026" formatCode="0.00">
                  <c:v>0.27102996199723772</c:v>
                </c:pt>
                <c:pt idx="1027" formatCode="0.00">
                  <c:v>0.27006409629814526</c:v>
                </c:pt>
                <c:pt idx="1028" formatCode="0.00">
                  <c:v>0.26808012791791092</c:v>
                </c:pt>
                <c:pt idx="1029" formatCode="0.00">
                  <c:v>0.26753548426065971</c:v>
                </c:pt>
                <c:pt idx="1030" formatCode="0.00">
                  <c:v>0.26806890940000067</c:v>
                </c:pt>
                <c:pt idx="1031" formatCode="0.00">
                  <c:v>0.26777695497381843</c:v>
                </c:pt>
                <c:pt idx="1032" formatCode="0.00">
                  <c:v>0.27080980473328325</c:v>
                </c:pt>
                <c:pt idx="1033" formatCode="0.00">
                  <c:v>0.27168847658234158</c:v>
                </c:pt>
                <c:pt idx="1034" formatCode="0.00">
                  <c:v>0.2762472313617878</c:v>
                </c:pt>
                <c:pt idx="1035" formatCode="0.00">
                  <c:v>0.2755223497558264</c:v>
                </c:pt>
                <c:pt idx="1036" formatCode="0.00">
                  <c:v>0.27579755146045953</c:v>
                </c:pt>
                <c:pt idx="1037" formatCode="0.00">
                  <c:v>0.27572223563657272</c:v>
                </c:pt>
                <c:pt idx="1038" formatCode="0.00">
                  <c:v>0.27526170414830897</c:v>
                </c:pt>
                <c:pt idx="1039" formatCode="0.00">
                  <c:v>0.27493286329573796</c:v>
                </c:pt>
                <c:pt idx="1040" formatCode="0.00">
                  <c:v>0.27594949481500819</c:v>
                </c:pt>
                <c:pt idx="1041" formatCode="0.00">
                  <c:v>0.27601183700975856</c:v>
                </c:pt>
                <c:pt idx="1042" formatCode="0.00">
                  <c:v>0.27599983451000687</c:v>
                </c:pt>
                <c:pt idx="1043" formatCode="0.00">
                  <c:v>0.27681460286555776</c:v>
                </c:pt>
                <c:pt idx="1044" formatCode="0.00">
                  <c:v>0.27684185958763219</c:v>
                </c:pt>
                <c:pt idx="1045" formatCode="0.00">
                  <c:v>0.27811711077666229</c:v>
                </c:pt>
                <c:pt idx="1046" formatCode="0.00">
                  <c:v>0.27872989140751603</c:v>
                </c:pt>
                <c:pt idx="1047" formatCode="0.00">
                  <c:v>0.27886289449876339</c:v>
                </c:pt>
                <c:pt idx="1048" formatCode="0.00">
                  <c:v>0.27911087011009023</c:v>
                </c:pt>
                <c:pt idx="1049" formatCode="0.00">
                  <c:v>0.2788936425939661</c:v>
                </c:pt>
                <c:pt idx="1050" formatCode="0.00">
                  <c:v>0.27875239356729042</c:v>
                </c:pt>
                <c:pt idx="1051" formatCode="0.00">
                  <c:v>0.27858696627390972</c:v>
                </c:pt>
                <c:pt idx="1052" formatCode="0.00">
                  <c:v>0.27783234367289517</c:v>
                </c:pt>
                <c:pt idx="1053" formatCode="0.00">
                  <c:v>0.27780791172501973</c:v>
                </c:pt>
                <c:pt idx="1054" formatCode="0.00">
                  <c:v>0.2777834320208154</c:v>
                </c:pt>
                <c:pt idx="1055" formatCode="0.00">
                  <c:v>0.27761985906221603</c:v>
                </c:pt>
                <c:pt idx="1056" formatCode="0.00">
                  <c:v>0.27777815818253665</c:v>
                </c:pt>
                <c:pt idx="1057" formatCode="0.00">
                  <c:v>0.27694567769056866</c:v>
                </c:pt>
                <c:pt idx="1058" formatCode="0.00">
                  <c:v>0.27780638665901969</c:v>
                </c:pt>
                <c:pt idx="1059" formatCode="0.00">
                  <c:v>0.27812020155484218</c:v>
                </c:pt>
                <c:pt idx="1060" formatCode="0.00">
                  <c:v>0.2789846172869701</c:v>
                </c:pt>
                <c:pt idx="1061" formatCode="0.00">
                  <c:v>0.2783293036962855</c:v>
                </c:pt>
                <c:pt idx="1062" formatCode="0.00">
                  <c:v>0.27817316868481989</c:v>
                </c:pt>
                <c:pt idx="1063" formatCode="0.00">
                  <c:v>0.27815315939470919</c:v>
                </c:pt>
                <c:pt idx="1064" formatCode="0.00">
                  <c:v>0.27805456771451659</c:v>
                </c:pt>
                <c:pt idx="1065" formatCode="0.00">
                  <c:v>0.28088825726952349</c:v>
                </c:pt>
                <c:pt idx="1066" formatCode="0.00">
                  <c:v>0.28194123624385259</c:v>
                </c:pt>
                <c:pt idx="1067" formatCode="0.00">
                  <c:v>0.28139093095263884</c:v>
                </c:pt>
                <c:pt idx="1068" formatCode="0.00">
                  <c:v>0.28144216568956543</c:v>
                </c:pt>
                <c:pt idx="1069" formatCode="0.00">
                  <c:v>0.27981487326886834</c:v>
                </c:pt>
                <c:pt idx="1070" formatCode="0.00">
                  <c:v>0.27983282721381669</c:v>
                </c:pt>
                <c:pt idx="1071" formatCode="0.00">
                  <c:v>0.27919432611981265</c:v>
                </c:pt>
                <c:pt idx="1072" formatCode="0.00">
                  <c:v>0.27804391181103139</c:v>
                </c:pt>
                <c:pt idx="1073" formatCode="0.00">
                  <c:v>0.27879834781141832</c:v>
                </c:pt>
                <c:pt idx="1074" formatCode="0.00">
                  <c:v>0.27847908378566638</c:v>
                </c:pt>
                <c:pt idx="1075" formatCode="0.00">
                  <c:v>0.27718083973880914</c:v>
                </c:pt>
                <c:pt idx="1076" formatCode="0.00">
                  <c:v>0.27880839844964217</c:v>
                </c:pt>
                <c:pt idx="1077" formatCode="0.00">
                  <c:v>0.27709851050635165</c:v>
                </c:pt>
                <c:pt idx="1078" formatCode="0.00">
                  <c:v>0.27577757020247451</c:v>
                </c:pt>
                <c:pt idx="1079" formatCode="0.00">
                  <c:v>0.27577786332154153</c:v>
                </c:pt>
                <c:pt idx="1080" formatCode="0.00">
                  <c:v>0.27568209982973474</c:v>
                </c:pt>
                <c:pt idx="1081" formatCode="0.00">
                  <c:v>0.27543449258845321</c:v>
                </c:pt>
                <c:pt idx="1082" formatCode="0.00">
                  <c:v>0.27583160077066399</c:v>
                </c:pt>
                <c:pt idx="1083" formatCode="0.00">
                  <c:v>0.27665043818427415</c:v>
                </c:pt>
                <c:pt idx="1084" formatCode="0.00">
                  <c:v>0.27705252571913647</c:v>
                </c:pt>
                <c:pt idx="1085" formatCode="0.00">
                  <c:v>0.27706028207008399</c:v>
                </c:pt>
                <c:pt idx="1086" formatCode="0.00">
                  <c:v>0.27726521891955586</c:v>
                </c:pt>
                <c:pt idx="1087" formatCode="0.00">
                  <c:v>0.27733512253182424</c:v>
                </c:pt>
                <c:pt idx="1088" formatCode="0.00">
                  <c:v>0.27749322316420066</c:v>
                </c:pt>
                <c:pt idx="1089" formatCode="0.00">
                  <c:v>0.27722997037081404</c:v>
                </c:pt>
                <c:pt idx="1090" formatCode="0.00">
                  <c:v>0.27739010278847975</c:v>
                </c:pt>
                <c:pt idx="1091" formatCode="0.00">
                  <c:v>0.27726001362885505</c:v>
                </c:pt>
                <c:pt idx="1092" formatCode="0.00">
                  <c:v>0.27816861082658378</c:v>
                </c:pt>
                <c:pt idx="1093" formatCode="0.00">
                  <c:v>0.27796221674800103</c:v>
                </c:pt>
                <c:pt idx="1094" formatCode="0.00">
                  <c:v>0.27767764749770019</c:v>
                </c:pt>
                <c:pt idx="1095" formatCode="0.00">
                  <c:v>0.27691711418528897</c:v>
                </c:pt>
                <c:pt idx="1096" formatCode="0.00">
                  <c:v>0.27596325576334169</c:v>
                </c:pt>
                <c:pt idx="1097" formatCode="0.00">
                  <c:v>0.27595182891133191</c:v>
                </c:pt>
                <c:pt idx="1098" formatCode="0.00">
                  <c:v>0.275942665626426</c:v>
                </c:pt>
                <c:pt idx="1099" formatCode="0.00">
                  <c:v>0.27638953255435611</c:v>
                </c:pt>
                <c:pt idx="1100" formatCode="0.00">
                  <c:v>0.27674847460249891</c:v>
                </c:pt>
                <c:pt idx="1101" formatCode="0.00">
                  <c:v>0.27872571237001409</c:v>
                </c:pt>
                <c:pt idx="1102" formatCode="0.00">
                  <c:v>0.27942362566109347</c:v>
                </c:pt>
                <c:pt idx="1103" formatCode="0.00">
                  <c:v>0.2796660435399177</c:v>
                </c:pt>
                <c:pt idx="1104" formatCode="0.00">
                  <c:v>0.27893785057081166</c:v>
                </c:pt>
                <c:pt idx="1105" formatCode="0.00">
                  <c:v>0.27901124890786794</c:v>
                </c:pt>
                <c:pt idx="1106" formatCode="0.00">
                  <c:v>0.2790857300818852</c:v>
                </c:pt>
                <c:pt idx="1107" formatCode="0.00">
                  <c:v>0.27875606789479146</c:v>
                </c:pt>
                <c:pt idx="1108" formatCode="0.00">
                  <c:v>0.27872780196442465</c:v>
                </c:pt>
                <c:pt idx="1109" formatCode="0.00">
                  <c:v>0.27949393477049056</c:v>
                </c:pt>
                <c:pt idx="1110" formatCode="0.00">
                  <c:v>0.279723289270213</c:v>
                </c:pt>
                <c:pt idx="1111" formatCode="0.00">
                  <c:v>0.27965689522522835</c:v>
                </c:pt>
                <c:pt idx="1112" formatCode="0.00">
                  <c:v>0.27959693939149466</c:v>
                </c:pt>
                <c:pt idx="1113" formatCode="0.00">
                  <c:v>0.28018361071629161</c:v>
                </c:pt>
                <c:pt idx="1114" formatCode="0.00">
                  <c:v>0.27946833793763021</c:v>
                </c:pt>
                <c:pt idx="1115" formatCode="0.00">
                  <c:v>0.2791385632999468</c:v>
                </c:pt>
                <c:pt idx="1116" formatCode="0.00">
                  <c:v>0.27914813193093363</c:v>
                </c:pt>
                <c:pt idx="1117" formatCode="0.00">
                  <c:v>0.27891789110386228</c:v>
                </c:pt>
                <c:pt idx="1118" formatCode="0.00">
                  <c:v>0.27875881653635093</c:v>
                </c:pt>
                <c:pt idx="1119" formatCode="0.00">
                  <c:v>0.27869680502145955</c:v>
                </c:pt>
                <c:pt idx="1120" formatCode="0.00">
                  <c:v>0.27876375203467935</c:v>
                </c:pt>
                <c:pt idx="1121" formatCode="0.00">
                  <c:v>0.27859494734778201</c:v>
                </c:pt>
                <c:pt idx="1122" formatCode="0.00">
                  <c:v>0.27865628043607765</c:v>
                </c:pt>
                <c:pt idx="1123" formatCode="0.00">
                  <c:v>0.27806425200741058</c:v>
                </c:pt>
                <c:pt idx="1124" formatCode="0.00">
                  <c:v>0.2782047675887232</c:v>
                </c:pt>
                <c:pt idx="1125" formatCode="0.00">
                  <c:v>0.27823233097709105</c:v>
                </c:pt>
                <c:pt idx="1126" formatCode="0.00">
                  <c:v>0.27593322998626812</c:v>
                </c:pt>
                <c:pt idx="1127" formatCode="0.00">
                  <c:v>0.27620694387511058</c:v>
                </c:pt>
                <c:pt idx="1128" formatCode="0.00">
                  <c:v>0.2765522143391444</c:v>
                </c:pt>
                <c:pt idx="1129" formatCode="0.00">
                  <c:v>0.27505810420808413</c:v>
                </c:pt>
                <c:pt idx="1130" formatCode="0.00">
                  <c:v>0.27361732956427071</c:v>
                </c:pt>
                <c:pt idx="1131" formatCode="0.00">
                  <c:v>0.27220466465478421</c:v>
                </c:pt>
                <c:pt idx="1132" formatCode="0.00">
                  <c:v>0.27243876432457931</c:v>
                </c:pt>
                <c:pt idx="1133" formatCode="0.00">
                  <c:v>0.27264909211267713</c:v>
                </c:pt>
                <c:pt idx="1134" formatCode="0.00">
                  <c:v>0.2727536217437424</c:v>
                </c:pt>
                <c:pt idx="1135" formatCode="0.00">
                  <c:v>0.27270084198838279</c:v>
                </c:pt>
                <c:pt idx="1136" formatCode="0.00">
                  <c:v>0.27206870206861472</c:v>
                </c:pt>
                <c:pt idx="1137" formatCode="0.00">
                  <c:v>0.27291590009792188</c:v>
                </c:pt>
                <c:pt idx="1138" formatCode="0.00">
                  <c:v>0.27283054225138342</c:v>
                </c:pt>
                <c:pt idx="1139" formatCode="0.00">
                  <c:v>0.27199923405733117</c:v>
                </c:pt>
                <c:pt idx="1140" formatCode="0.00">
                  <c:v>0.27349874078011832</c:v>
                </c:pt>
                <c:pt idx="1141" formatCode="0.00">
                  <c:v>0.27508836127287484</c:v>
                </c:pt>
                <c:pt idx="1142" formatCode="0.00">
                  <c:v>0.27505176744090626</c:v>
                </c:pt>
                <c:pt idx="1143" formatCode="0.00">
                  <c:v>0.27491706597378379</c:v>
                </c:pt>
                <c:pt idx="1144" formatCode="0.00">
                  <c:v>0.27431674568660436</c:v>
                </c:pt>
                <c:pt idx="1145" formatCode="0.00">
                  <c:v>0.27412347343975851</c:v>
                </c:pt>
                <c:pt idx="1146" formatCode="0.00">
                  <c:v>0.27371746614287074</c:v>
                </c:pt>
                <c:pt idx="1147" formatCode="0.00">
                  <c:v>0.27301611576602169</c:v>
                </c:pt>
                <c:pt idx="1148" formatCode="0.00">
                  <c:v>0.27152546997772725</c:v>
                </c:pt>
                <c:pt idx="1149" formatCode="0.00">
                  <c:v>0.26882126551838292</c:v>
                </c:pt>
                <c:pt idx="1150" formatCode="0.00">
                  <c:v>0.2696946554937989</c:v>
                </c:pt>
                <c:pt idx="1151" formatCode="0.00">
                  <c:v>0.26770326611038364</c:v>
                </c:pt>
                <c:pt idx="1152" formatCode="0.00">
                  <c:v>0.26759465554386574</c:v>
                </c:pt>
                <c:pt idx="1153" formatCode="0.00">
                  <c:v>0.2680054415749189</c:v>
                </c:pt>
                <c:pt idx="1154" formatCode="0.00">
                  <c:v>0.26828219961197758</c:v>
                </c:pt>
                <c:pt idx="1155" formatCode="0.00">
                  <c:v>0.26796072268306259</c:v>
                </c:pt>
                <c:pt idx="1156" formatCode="0.00">
                  <c:v>0.2691379488391526</c:v>
                </c:pt>
                <c:pt idx="1157" formatCode="0.00">
                  <c:v>0.26927495284748798</c:v>
                </c:pt>
                <c:pt idx="1158" formatCode="0.00">
                  <c:v>0.26926361657454234</c:v>
                </c:pt>
                <c:pt idx="1159" formatCode="0.00">
                  <c:v>0.26938832526695045</c:v>
                </c:pt>
                <c:pt idx="1160" formatCode="0.00">
                  <c:v>0.26936449974464183</c:v>
                </c:pt>
                <c:pt idx="1161" formatCode="0.00">
                  <c:v>0.26894023689520752</c:v>
                </c:pt>
                <c:pt idx="1162" formatCode="0.00">
                  <c:v>0.26963243905873008</c:v>
                </c:pt>
                <c:pt idx="1163" formatCode="0.00">
                  <c:v>0.26761745556149713</c:v>
                </c:pt>
                <c:pt idx="1164" formatCode="0.00">
                  <c:v>0.26683875513628064</c:v>
                </c:pt>
                <c:pt idx="1165" formatCode="0.00">
                  <c:v>0.26676687177276664</c:v>
                </c:pt>
                <c:pt idx="1166" formatCode="0.00">
                  <c:v>0.26562308332821666</c:v>
                </c:pt>
                <c:pt idx="1167" formatCode="0.00">
                  <c:v>0.26557845175422135</c:v>
                </c:pt>
                <c:pt idx="1168" formatCode="0.00">
                  <c:v>0.26718149933201324</c:v>
                </c:pt>
                <c:pt idx="1169" formatCode="0.00">
                  <c:v>0.26350389237087551</c:v>
                </c:pt>
                <c:pt idx="1170" formatCode="0.00">
                  <c:v>0.26409086553756866</c:v>
                </c:pt>
                <c:pt idx="1171" formatCode="0.00">
                  <c:v>0.26378951614078971</c:v>
                </c:pt>
                <c:pt idx="1172" formatCode="0.00">
                  <c:v>0.26322288057589271</c:v>
                </c:pt>
                <c:pt idx="1173" formatCode="0.00">
                  <c:v>0.26323487176916788</c:v>
                </c:pt>
                <c:pt idx="1174" formatCode="0.00">
                  <c:v>0.26312304972193679</c:v>
                </c:pt>
                <c:pt idx="1175" formatCode="0.00">
                  <c:v>0.26302163501406983</c:v>
                </c:pt>
                <c:pt idx="1176" formatCode="0.00">
                  <c:v>0.26307399355033462</c:v>
                </c:pt>
                <c:pt idx="1177" formatCode="0.00">
                  <c:v>0.26414024955756049</c:v>
                </c:pt>
                <c:pt idx="1178" formatCode="0.00">
                  <c:v>0.2643276938245831</c:v>
                </c:pt>
                <c:pt idx="1179" formatCode="0.00">
                  <c:v>0.26435225951338809</c:v>
                </c:pt>
                <c:pt idx="1180" formatCode="0.00">
                  <c:v>0.26476331181338258</c:v>
                </c:pt>
                <c:pt idx="1181" formatCode="0.00">
                  <c:v>0.26380983647408318</c:v>
                </c:pt>
                <c:pt idx="1182" formatCode="0.00">
                  <c:v>0.265040051286829</c:v>
                </c:pt>
                <c:pt idx="1183" formatCode="0.00">
                  <c:v>0.2660229617378394</c:v>
                </c:pt>
                <c:pt idx="1184" formatCode="0.00">
                  <c:v>0.26605059727955355</c:v>
                </c:pt>
                <c:pt idx="1185" formatCode="0.00">
                  <c:v>0.26512250243398466</c:v>
                </c:pt>
                <c:pt idx="1186" formatCode="0.00">
                  <c:v>0.26614891741203955</c:v>
                </c:pt>
                <c:pt idx="1187" formatCode="0.00">
                  <c:v>0.26630464922523872</c:v>
                </c:pt>
                <c:pt idx="1188" formatCode="0.00">
                  <c:v>0.26580371536894498</c:v>
                </c:pt>
                <c:pt idx="1189" formatCode="0.00">
                  <c:v>0.26495724006265892</c:v>
                </c:pt>
                <c:pt idx="1190" formatCode="0.00">
                  <c:v>0.26503552326061386</c:v>
                </c:pt>
                <c:pt idx="1191" formatCode="0.00">
                  <c:v>0.26416032560054487</c:v>
                </c:pt>
                <c:pt idx="1192" formatCode="0.00">
                  <c:v>0.26179763779926024</c:v>
                </c:pt>
                <c:pt idx="1193" formatCode="0.00">
                  <c:v>0.26137959575415731</c:v>
                </c:pt>
                <c:pt idx="1194" formatCode="0.00">
                  <c:v>0.26047109255961431</c:v>
                </c:pt>
                <c:pt idx="1195" formatCode="0.00">
                  <c:v>0.2603235024485705</c:v>
                </c:pt>
                <c:pt idx="1196" formatCode="0.00">
                  <c:v>0.25892586675282647</c:v>
                </c:pt>
                <c:pt idx="1197" formatCode="0.00">
                  <c:v>0.25857676810792507</c:v>
                </c:pt>
                <c:pt idx="1198" formatCode="0.00">
                  <c:v>0.25906766956261684</c:v>
                </c:pt>
                <c:pt idx="1199" formatCode="0.00">
                  <c:v>0.25857969475129217</c:v>
                </c:pt>
                <c:pt idx="1200" formatCode="0.00">
                  <c:v>0.258569259646379</c:v>
                </c:pt>
                <c:pt idx="1201" formatCode="0.00">
                  <c:v>0.25848433667526594</c:v>
                </c:pt>
                <c:pt idx="1202" formatCode="0.00">
                  <c:v>0.25592394111497052</c:v>
                </c:pt>
                <c:pt idx="1203" formatCode="0.00">
                  <c:v>0.25617413702877972</c:v>
                </c:pt>
                <c:pt idx="1204" formatCode="0.00">
                  <c:v>0.25538561526421083</c:v>
                </c:pt>
                <c:pt idx="1205" formatCode="0.00">
                  <c:v>0.25567619990994439</c:v>
                </c:pt>
                <c:pt idx="1206" formatCode="0.00">
                  <c:v>0.25544286219042622</c:v>
                </c:pt>
                <c:pt idx="1207" formatCode="0.00">
                  <c:v>0.25630787299157276</c:v>
                </c:pt>
                <c:pt idx="1208" formatCode="0.00">
                  <c:v>0.25630401800608638</c:v>
                </c:pt>
                <c:pt idx="1209" formatCode="0.00">
                  <c:v>0.25616059064861391</c:v>
                </c:pt>
                <c:pt idx="1210" formatCode="0.00">
                  <c:v>0.25313255049972871</c:v>
                </c:pt>
                <c:pt idx="1211" formatCode="0.00">
                  <c:v>0.25329805598654997</c:v>
                </c:pt>
                <c:pt idx="1212" formatCode="0.00">
                  <c:v>0.25276327280688538</c:v>
                </c:pt>
                <c:pt idx="1213" formatCode="0.00">
                  <c:v>0.25238817005117703</c:v>
                </c:pt>
                <c:pt idx="1214" formatCode="0.00">
                  <c:v>0.25290364933285447</c:v>
                </c:pt>
                <c:pt idx="1215" formatCode="0.00">
                  <c:v>0.25633733010600579</c:v>
                </c:pt>
                <c:pt idx="1216" formatCode="0.00">
                  <c:v>0.25642606833960119</c:v>
                </c:pt>
                <c:pt idx="1217" formatCode="0.00">
                  <c:v>0.25784251634652977</c:v>
                </c:pt>
                <c:pt idx="1218" formatCode="0.00">
                  <c:v>0.25807405582756682</c:v>
                </c:pt>
                <c:pt idx="1219" formatCode="0.00">
                  <c:v>0.26011075202786677</c:v>
                </c:pt>
                <c:pt idx="1220" formatCode="0.00">
                  <c:v>0.25825813833257016</c:v>
                </c:pt>
                <c:pt idx="1221" formatCode="0.00">
                  <c:v>0.25812171507093251</c:v>
                </c:pt>
                <c:pt idx="1222" formatCode="0.00">
                  <c:v>0.2574559770145784</c:v>
                </c:pt>
                <c:pt idx="1223" formatCode="0.00">
                  <c:v>0.25740204096238589</c:v>
                </c:pt>
                <c:pt idx="1224" formatCode="0.00">
                  <c:v>0.25581185138722967</c:v>
                </c:pt>
                <c:pt idx="1225" formatCode="0.00">
                  <c:v>0.25205440154394471</c:v>
                </c:pt>
                <c:pt idx="1226" formatCode="0.00">
                  <c:v>0.25191409626091565</c:v>
                </c:pt>
                <c:pt idx="1227" formatCode="0.00">
                  <c:v>0.25303804485923159</c:v>
                </c:pt>
                <c:pt idx="1228" formatCode="0.00">
                  <c:v>0.25359274513466484</c:v>
                </c:pt>
                <c:pt idx="1229" formatCode="0.00">
                  <c:v>0.25361942259295223</c:v>
                </c:pt>
                <c:pt idx="1230" formatCode="0.00">
                  <c:v>0.25316950986420328</c:v>
                </c:pt>
                <c:pt idx="1231" formatCode="0.00">
                  <c:v>0.2537200161718432</c:v>
                </c:pt>
                <c:pt idx="1232" formatCode="0.00">
                  <c:v>0.25471161258826863</c:v>
                </c:pt>
                <c:pt idx="1233" formatCode="0.00">
                  <c:v>0.25464201288664112</c:v>
                </c:pt>
                <c:pt idx="1234" formatCode="0.00">
                  <c:v>0.25458598543818017</c:v>
                </c:pt>
                <c:pt idx="1235" formatCode="0.00">
                  <c:v>0.25240247200362442</c:v>
                </c:pt>
                <c:pt idx="1236" formatCode="0.00">
                  <c:v>0.25239740295483232</c:v>
                </c:pt>
                <c:pt idx="1237" formatCode="0.00">
                  <c:v>0.25522910754335032</c:v>
                </c:pt>
                <c:pt idx="1238" formatCode="0.00">
                  <c:v>0.25530332006170403</c:v>
                </c:pt>
                <c:pt idx="1239" formatCode="0.00">
                  <c:v>0.25510934479575986</c:v>
                </c:pt>
                <c:pt idx="1240" formatCode="0.00">
                  <c:v>0.2550544766369231</c:v>
                </c:pt>
                <c:pt idx="1241" formatCode="0.00">
                  <c:v>0.25566750357364276</c:v>
                </c:pt>
                <c:pt idx="1242" formatCode="0.00">
                  <c:v>0.25568107291234166</c:v>
                </c:pt>
                <c:pt idx="1243" formatCode="0.00">
                  <c:v>0.25570977525206395</c:v>
                </c:pt>
                <c:pt idx="1244" formatCode="0.00">
                  <c:v>0.25426083902490748</c:v>
                </c:pt>
                <c:pt idx="1245" formatCode="0.00">
                  <c:v>0.25339175473100423</c:v>
                </c:pt>
                <c:pt idx="1246" formatCode="0.00">
                  <c:v>0.2533830142676638</c:v>
                </c:pt>
                <c:pt idx="1247" formatCode="0.00">
                  <c:v>0.25176579578341179</c:v>
                </c:pt>
                <c:pt idx="1248" formatCode="0.00">
                  <c:v>0.24822690828059277</c:v>
                </c:pt>
                <c:pt idx="1249" formatCode="0.00">
                  <c:v>0.24393429020855914</c:v>
                </c:pt>
                <c:pt idx="1250" formatCode="0.00">
                  <c:v>0.24393529504928768</c:v>
                </c:pt>
                <c:pt idx="1251" formatCode="0.00">
                  <c:v>0.24769028823190403</c:v>
                </c:pt>
                <c:pt idx="1252" formatCode="0.00">
                  <c:v>0.24758396924371834</c:v>
                </c:pt>
                <c:pt idx="1253" formatCode="0.00">
                  <c:v>0.24761279775966627</c:v>
                </c:pt>
                <c:pt idx="1254" formatCode="0.00">
                  <c:v>0.24762094283041614</c:v>
                </c:pt>
                <c:pt idx="1255" formatCode="0.00">
                  <c:v>0.24811523420849407</c:v>
                </c:pt>
                <c:pt idx="1256" formatCode="0.00">
                  <c:v>0.2443430567257048</c:v>
                </c:pt>
                <c:pt idx="1257" formatCode="0.00">
                  <c:v>0.24497967135401294</c:v>
                </c:pt>
                <c:pt idx="1258" formatCode="0.00">
                  <c:v>0.24398211073324971</c:v>
                </c:pt>
                <c:pt idx="1259" formatCode="0.00">
                  <c:v>0.24277326407565503</c:v>
                </c:pt>
                <c:pt idx="1260" formatCode="0.00">
                  <c:v>0.24205256765377797</c:v>
                </c:pt>
                <c:pt idx="1261" formatCode="0.00">
                  <c:v>0.24189680209247552</c:v>
                </c:pt>
                <c:pt idx="1262" formatCode="0.00">
                  <c:v>0.24137602343676912</c:v>
                </c:pt>
                <c:pt idx="1263" formatCode="0.00">
                  <c:v>0.24078327875202143</c:v>
                </c:pt>
                <c:pt idx="1264" formatCode="0.00">
                  <c:v>0.24149003994897761</c:v>
                </c:pt>
                <c:pt idx="1265" formatCode="0.00">
                  <c:v>0.23988751250457038</c:v>
                </c:pt>
                <c:pt idx="1266" formatCode="0.00">
                  <c:v>0.24308778610586274</c:v>
                </c:pt>
                <c:pt idx="1267" formatCode="0.00">
                  <c:v>0.24310322149851607</c:v>
                </c:pt>
                <c:pt idx="1268" formatCode="0.00">
                  <c:v>0.24455883723527883</c:v>
                </c:pt>
                <c:pt idx="1269" formatCode="0.00">
                  <c:v>0.24536288819150759</c:v>
                </c:pt>
                <c:pt idx="1270" formatCode="0.00">
                  <c:v>0.24653884190031225</c:v>
                </c:pt>
                <c:pt idx="1271" formatCode="0.00">
                  <c:v>0.2465574290921165</c:v>
                </c:pt>
                <c:pt idx="1272" formatCode="0.00">
                  <c:v>0.2468113229091084</c:v>
                </c:pt>
                <c:pt idx="1273" formatCode="0.00">
                  <c:v>0.24681486399664118</c:v>
                </c:pt>
                <c:pt idx="1274" formatCode="0.00">
                  <c:v>0.24447291347836939</c:v>
                </c:pt>
                <c:pt idx="1275" formatCode="0.00">
                  <c:v>0.24505750713525637</c:v>
                </c:pt>
                <c:pt idx="1276" formatCode="0.00">
                  <c:v>0.24543953515064809</c:v>
                </c:pt>
                <c:pt idx="1277" formatCode="0.00">
                  <c:v>0.24517993732449445</c:v>
                </c:pt>
                <c:pt idx="1278" formatCode="0.00">
                  <c:v>0.24516138986696706</c:v>
                </c:pt>
                <c:pt idx="1279" formatCode="0.00">
                  <c:v>0.2453467943981151</c:v>
                </c:pt>
                <c:pt idx="1280" formatCode="0.00">
                  <c:v>0.24537894447037129</c:v>
                </c:pt>
                <c:pt idx="1281" formatCode="0.00">
                  <c:v>0.24667462339308319</c:v>
                </c:pt>
                <c:pt idx="1282" formatCode="0.00">
                  <c:v>0.24631899477685806</c:v>
                </c:pt>
                <c:pt idx="1283" formatCode="0.00">
                  <c:v>0.2458399666408603</c:v>
                </c:pt>
                <c:pt idx="1284" formatCode="0.00">
                  <c:v>0.24578609805970378</c:v>
                </c:pt>
                <c:pt idx="1285" formatCode="0.00">
                  <c:v>0.24284431400271911</c:v>
                </c:pt>
                <c:pt idx="1286" formatCode="0.00">
                  <c:v>0.24156653394683175</c:v>
                </c:pt>
                <c:pt idx="1287" formatCode="0.00">
                  <c:v>0.23681618381316066</c:v>
                </c:pt>
                <c:pt idx="1288" formatCode="0.00">
                  <c:v>0.23744532241025423</c:v>
                </c:pt>
                <c:pt idx="1289" formatCode="0.00">
                  <c:v>0.23828521302012468</c:v>
                </c:pt>
                <c:pt idx="1290" formatCode="0.00">
                  <c:v>0.23829758870035406</c:v>
                </c:pt>
                <c:pt idx="1291" formatCode="0.00">
                  <c:v>0.23818957000837021</c:v>
                </c:pt>
                <c:pt idx="1292" formatCode="0.00">
                  <c:v>0.23787069944332162</c:v>
                </c:pt>
                <c:pt idx="1293" formatCode="0.00">
                  <c:v>0.23769620148236095</c:v>
                </c:pt>
                <c:pt idx="1294" formatCode="0.00">
                  <c:v>0.23746726819299002</c:v>
                </c:pt>
                <c:pt idx="1295" formatCode="0.00">
                  <c:v>0.23770774135945316</c:v>
                </c:pt>
                <c:pt idx="1296" formatCode="0.00">
                  <c:v>0.23713819645946771</c:v>
                </c:pt>
                <c:pt idx="1297" formatCode="0.00">
                  <c:v>0.24283620490284075</c:v>
                </c:pt>
                <c:pt idx="1298" formatCode="0.00">
                  <c:v>0.24114616084434728</c:v>
                </c:pt>
                <c:pt idx="1299" formatCode="0.00">
                  <c:v>0.24115478681368169</c:v>
                </c:pt>
                <c:pt idx="1300" formatCode="0.00">
                  <c:v>0.2414301884589044</c:v>
                </c:pt>
                <c:pt idx="1301" formatCode="0.00">
                  <c:v>0.24129921928831582</c:v>
                </c:pt>
                <c:pt idx="1302" formatCode="0.00">
                  <c:v>0.24145191704823579</c:v>
                </c:pt>
                <c:pt idx="1303" formatCode="0.00">
                  <c:v>0.24128443277455383</c:v>
                </c:pt>
                <c:pt idx="1304" formatCode="0.00">
                  <c:v>0.24109312146604525</c:v>
                </c:pt>
                <c:pt idx="1305" formatCode="0.00">
                  <c:v>0.24106325422597522</c:v>
                </c:pt>
                <c:pt idx="1306" formatCode="0.00">
                  <c:v>0.24103347215474227</c:v>
                </c:pt>
                <c:pt idx="1307" formatCode="0.00">
                  <c:v>0.2409767410458219</c:v>
                </c:pt>
                <c:pt idx="1308" formatCode="0.00">
                  <c:v>0.24105269660765019</c:v>
                </c:pt>
                <c:pt idx="1309" formatCode="0.00">
                  <c:v>0.24076040535089763</c:v>
                </c:pt>
                <c:pt idx="1310" formatCode="0.00">
                  <c:v>0.24173206214609219</c:v>
                </c:pt>
                <c:pt idx="1311" formatCode="0.00">
                  <c:v>0.24083238858673051</c:v>
                </c:pt>
                <c:pt idx="1312" formatCode="0.00">
                  <c:v>0.24038285730641332</c:v>
                </c:pt>
                <c:pt idx="1313" formatCode="0.00">
                  <c:v>0.24005513104223744</c:v>
                </c:pt>
                <c:pt idx="1314" formatCode="0.00">
                  <c:v>0.24066566941177409</c:v>
                </c:pt>
                <c:pt idx="1315" formatCode="0.00">
                  <c:v>0.24033226593139315</c:v>
                </c:pt>
                <c:pt idx="1316" formatCode="0.00">
                  <c:v>0.24083007408806129</c:v>
                </c:pt>
                <c:pt idx="1317" formatCode="0.00">
                  <c:v>0.24088697748002502</c:v>
                </c:pt>
                <c:pt idx="1318" formatCode="0.00">
                  <c:v>0.23771340888347475</c:v>
                </c:pt>
                <c:pt idx="1319" formatCode="0.00">
                  <c:v>0.23674287207761724</c:v>
                </c:pt>
                <c:pt idx="1320" formatCode="0.00">
                  <c:v>0.23823571654344441</c:v>
                </c:pt>
                <c:pt idx="1321" formatCode="0.00">
                  <c:v>0.23856552562517833</c:v>
                </c:pt>
                <c:pt idx="1322" formatCode="0.00">
                  <c:v>0.23917041277270901</c:v>
                </c:pt>
                <c:pt idx="1323" formatCode="0.00">
                  <c:v>0.23943847721563835</c:v>
                </c:pt>
                <c:pt idx="1324" formatCode="0.00">
                  <c:v>0.23941711879612865</c:v>
                </c:pt>
                <c:pt idx="1325" formatCode="0.00">
                  <c:v>0.23651838497114394</c:v>
                </c:pt>
                <c:pt idx="1326" formatCode="0.00">
                  <c:v>0.23550895881872388</c:v>
                </c:pt>
                <c:pt idx="1327" formatCode="0.00">
                  <c:v>0.23548252091991548</c:v>
                </c:pt>
                <c:pt idx="1328" formatCode="0.00">
                  <c:v>0.23556346110309206</c:v>
                </c:pt>
                <c:pt idx="1329" formatCode="0.00">
                  <c:v>0.23510040266906734</c:v>
                </c:pt>
                <c:pt idx="1330" formatCode="0.00">
                  <c:v>0.23507180804590094</c:v>
                </c:pt>
                <c:pt idx="1331" formatCode="0.00">
                  <c:v>0.23521420691270936</c:v>
                </c:pt>
                <c:pt idx="1332" formatCode="0.00">
                  <c:v>0.23613615679592218</c:v>
                </c:pt>
                <c:pt idx="1333" formatCode="0.00">
                  <c:v>0.23666647219493481</c:v>
                </c:pt>
                <c:pt idx="1334" formatCode="0.00">
                  <c:v>0.23664258774958111</c:v>
                </c:pt>
                <c:pt idx="1335" formatCode="0.00">
                  <c:v>0.23622228065579934</c:v>
                </c:pt>
                <c:pt idx="1336" formatCode="0.00">
                  <c:v>0.23572031430326179</c:v>
                </c:pt>
                <c:pt idx="1337" formatCode="0.00">
                  <c:v>0.23524634502001893</c:v>
                </c:pt>
                <c:pt idx="1338" formatCode="0.00">
                  <c:v>0.23498613600339568</c:v>
                </c:pt>
                <c:pt idx="1339" formatCode="0.00">
                  <c:v>0.23477035574030689</c:v>
                </c:pt>
                <c:pt idx="1340" formatCode="0.00">
                  <c:v>0.23578195177950353</c:v>
                </c:pt>
                <c:pt idx="1341" formatCode="0.00">
                  <c:v>0.23584262667024791</c:v>
                </c:pt>
                <c:pt idx="1342" formatCode="0.00">
                  <c:v>0.23632368055591851</c:v>
                </c:pt>
                <c:pt idx="1343" formatCode="0.00">
                  <c:v>0.23635609542881869</c:v>
                </c:pt>
                <c:pt idx="1344" formatCode="0.00">
                  <c:v>0.23679618300967281</c:v>
                </c:pt>
                <c:pt idx="1345" formatCode="0.00">
                  <c:v>0.23581301296209317</c:v>
                </c:pt>
                <c:pt idx="1346" formatCode="0.00">
                  <c:v>0.23583261136446432</c:v>
                </c:pt>
                <c:pt idx="1347" formatCode="0.00">
                  <c:v>0.23585846539770228</c:v>
                </c:pt>
                <c:pt idx="1348" formatCode="0.00">
                  <c:v>0.23613870038709037</c:v>
                </c:pt>
                <c:pt idx="1349" formatCode="0.00">
                  <c:v>0.23616470037124448</c:v>
                </c:pt>
                <c:pt idx="1350" formatCode="0.00">
                  <c:v>0.2365817633082101</c:v>
                </c:pt>
                <c:pt idx="1351" formatCode="0.00">
                  <c:v>0.23660992300037445</c:v>
                </c:pt>
                <c:pt idx="1352" formatCode="0.00">
                  <c:v>0.23627323533708891</c:v>
                </c:pt>
                <c:pt idx="1353" formatCode="0.00">
                  <c:v>0.23627995156078949</c:v>
                </c:pt>
                <c:pt idx="1354" formatCode="0.00">
                  <c:v>0.23410537198624576</c:v>
                </c:pt>
                <c:pt idx="1355" formatCode="0.00">
                  <c:v>0.2332084214904514</c:v>
                </c:pt>
                <c:pt idx="1356" formatCode="0.00">
                  <c:v>0.23293109355481872</c:v>
                </c:pt>
                <c:pt idx="1357" formatCode="0.00">
                  <c:v>0.23387087916360907</c:v>
                </c:pt>
                <c:pt idx="1358" formatCode="0.00">
                  <c:v>0.23367495955761428</c:v>
                </c:pt>
                <c:pt idx="1359" formatCode="0.00">
                  <c:v>0.23369674459906287</c:v>
                </c:pt>
                <c:pt idx="1360" formatCode="0.00">
                  <c:v>0.23396514161778875</c:v>
                </c:pt>
                <c:pt idx="1361" formatCode="0.00">
                  <c:v>0.23432443621810214</c:v>
                </c:pt>
                <c:pt idx="1362" formatCode="0.00">
                  <c:v>0.23342625555274413</c:v>
                </c:pt>
                <c:pt idx="1363" formatCode="0.00">
                  <c:v>0.23340143459947071</c:v>
                </c:pt>
                <c:pt idx="1364" formatCode="0.00">
                  <c:v>0.23408439890691249</c:v>
                </c:pt>
                <c:pt idx="1365" formatCode="0.00">
                  <c:v>0.23435158226077735</c:v>
                </c:pt>
                <c:pt idx="1366" formatCode="0.00">
                  <c:v>0.23364005186708028</c:v>
                </c:pt>
                <c:pt idx="1367" formatCode="0.00">
                  <c:v>0.23459975498326985</c:v>
                </c:pt>
                <c:pt idx="1368" formatCode="0.00">
                  <c:v>0.23479009418266586</c:v>
                </c:pt>
                <c:pt idx="1369" formatCode="0.00">
                  <c:v>0.23518876514295928</c:v>
                </c:pt>
                <c:pt idx="1370" formatCode="0.00">
                  <c:v>0.23567594059998209</c:v>
                </c:pt>
                <c:pt idx="1371" formatCode="0.00">
                  <c:v>0.23535971273845813</c:v>
                </c:pt>
                <c:pt idx="1372" formatCode="0.00">
                  <c:v>0.23532078036575751</c:v>
                </c:pt>
                <c:pt idx="1373" formatCode="0.00">
                  <c:v>0.23531662888426808</c:v>
                </c:pt>
                <c:pt idx="1374" formatCode="0.00">
                  <c:v>0.23543681819128268</c:v>
                </c:pt>
                <c:pt idx="1375" formatCode="0.00">
                  <c:v>0.23543038059278479</c:v>
                </c:pt>
                <c:pt idx="1376" formatCode="0.00">
                  <c:v>0.23486739705682488</c:v>
                </c:pt>
                <c:pt idx="1377" formatCode="0.00">
                  <c:v>0.23468012400476113</c:v>
                </c:pt>
                <c:pt idx="1378" formatCode="0.00">
                  <c:v>0.23461575905016924</c:v>
                </c:pt>
                <c:pt idx="1379" formatCode="0.00">
                  <c:v>0.2344538034594216</c:v>
                </c:pt>
                <c:pt idx="1380" formatCode="0.00">
                  <c:v>0.23472306744385713</c:v>
                </c:pt>
                <c:pt idx="1381" formatCode="0.00">
                  <c:v>0.23433013469317349</c:v>
                </c:pt>
                <c:pt idx="1382" formatCode="0.00">
                  <c:v>0.23374054646325854</c:v>
                </c:pt>
                <c:pt idx="1383" formatCode="0.00">
                  <c:v>0.2336769374598873</c:v>
                </c:pt>
                <c:pt idx="1384" formatCode="0.00">
                  <c:v>0.2330165147262411</c:v>
                </c:pt>
                <c:pt idx="1385" formatCode="0.00">
                  <c:v>0.23294147191022843</c:v>
                </c:pt>
                <c:pt idx="1386" formatCode="0.00">
                  <c:v>0.23268673714362631</c:v>
                </c:pt>
                <c:pt idx="1387" formatCode="0.00">
                  <c:v>0.23431108981463494</c:v>
                </c:pt>
                <c:pt idx="1388" formatCode="0.00">
                  <c:v>0.23487048787819342</c:v>
                </c:pt>
                <c:pt idx="1389" formatCode="0.00">
                  <c:v>0.23487087320722094</c:v>
                </c:pt>
                <c:pt idx="1390" formatCode="0.00">
                  <c:v>0.23380662614786893</c:v>
                </c:pt>
                <c:pt idx="1391" formatCode="0.00">
                  <c:v>0.2335458217983894</c:v>
                </c:pt>
                <c:pt idx="1392" formatCode="0.00">
                  <c:v>0.23348098034929812</c:v>
                </c:pt>
                <c:pt idx="1393" formatCode="0.00">
                  <c:v>0.23152812407893597</c:v>
                </c:pt>
                <c:pt idx="1394" formatCode="0.00">
                  <c:v>0.22930347782568689</c:v>
                </c:pt>
                <c:pt idx="1395" formatCode="0.00">
                  <c:v>0.22933277365776047</c:v>
                </c:pt>
                <c:pt idx="1396" formatCode="0.00">
                  <c:v>0.22943080469976579</c:v>
                </c:pt>
                <c:pt idx="1397" formatCode="0.00">
                  <c:v>0.22940327064578814</c:v>
                </c:pt>
                <c:pt idx="1398" formatCode="0.00">
                  <c:v>0.2295379361348969</c:v>
                </c:pt>
                <c:pt idx="1399" formatCode="0.00">
                  <c:v>0.22968745160263304</c:v>
                </c:pt>
                <c:pt idx="1400" formatCode="0.00">
                  <c:v>0.22947275608824674</c:v>
                </c:pt>
                <c:pt idx="1401" formatCode="0.00">
                  <c:v>0.22945848216258335</c:v>
                </c:pt>
                <c:pt idx="1402" formatCode="0.00">
                  <c:v>0.2296341823812747</c:v>
                </c:pt>
                <c:pt idx="1403" formatCode="0.00">
                  <c:v>0.22831514991266805</c:v>
                </c:pt>
                <c:pt idx="1404" formatCode="0.00">
                  <c:v>0.22976053512619807</c:v>
                </c:pt>
                <c:pt idx="1405" formatCode="0.00">
                  <c:v>0.2296464631323443</c:v>
                </c:pt>
                <c:pt idx="1406" formatCode="0.00">
                  <c:v>0.22917256336841033</c:v>
                </c:pt>
                <c:pt idx="1407" formatCode="0.00">
                  <c:v>0.2280865116821004</c:v>
                </c:pt>
                <c:pt idx="1408" formatCode="0.00">
                  <c:v>0.22871047285733515</c:v>
                </c:pt>
                <c:pt idx="1409" formatCode="0.00">
                  <c:v>0.22769911924382424</c:v>
                </c:pt>
                <c:pt idx="1410" formatCode="0.00">
                  <c:v>0.22758765701889083</c:v>
                </c:pt>
                <c:pt idx="1411" formatCode="0.00">
                  <c:v>0.22810935068615346</c:v>
                </c:pt>
                <c:pt idx="1412" formatCode="0.00">
                  <c:v>0.22809220583194442</c:v>
                </c:pt>
                <c:pt idx="1413" formatCode="0.00">
                  <c:v>0.22856610126432386</c:v>
                </c:pt>
                <c:pt idx="1414" formatCode="0.00">
                  <c:v>0.22866032520962071</c:v>
                </c:pt>
                <c:pt idx="1415" formatCode="0.00">
                  <c:v>0.22776091829687808</c:v>
                </c:pt>
                <c:pt idx="1416" formatCode="0.00">
                  <c:v>0.22743954148478407</c:v>
                </c:pt>
                <c:pt idx="1417" formatCode="0.00">
                  <c:v>0.22793828102457531</c:v>
                </c:pt>
                <c:pt idx="1418" formatCode="0.00">
                  <c:v>0.22794412669768191</c:v>
                </c:pt>
                <c:pt idx="1419" formatCode="0.00">
                  <c:v>0.2269337362228433</c:v>
                </c:pt>
                <c:pt idx="1420" formatCode="0.00">
                  <c:v>0.22708031150974609</c:v>
                </c:pt>
                <c:pt idx="1421" formatCode="0.00">
                  <c:v>0.22529898167471007</c:v>
                </c:pt>
                <c:pt idx="1422" formatCode="0.00">
                  <c:v>0.22464909590715695</c:v>
                </c:pt>
                <c:pt idx="1423" formatCode="0.00">
                  <c:v>0.22304423092439193</c:v>
                </c:pt>
                <c:pt idx="1424" formatCode="0.00">
                  <c:v>0.22292343216483962</c:v>
                </c:pt>
                <c:pt idx="1425" formatCode="0.00">
                  <c:v>0.22295865064945009</c:v>
                </c:pt>
                <c:pt idx="1426" formatCode="0.00">
                  <c:v>0.22369585216664603</c:v>
                </c:pt>
                <c:pt idx="1427" formatCode="0.00">
                  <c:v>0.22457778877247914</c:v>
                </c:pt>
                <c:pt idx="1428" formatCode="0.00">
                  <c:v>0.22568457782754084</c:v>
                </c:pt>
                <c:pt idx="1429" formatCode="0.00">
                  <c:v>0.22523759767056012</c:v>
                </c:pt>
                <c:pt idx="1430" formatCode="0.00">
                  <c:v>0.22434485458474629</c:v>
                </c:pt>
                <c:pt idx="1431" formatCode="0.00">
                  <c:v>0.22447762751248929</c:v>
                </c:pt>
                <c:pt idx="1432" formatCode="0.00">
                  <c:v>0.22447812255644087</c:v>
                </c:pt>
                <c:pt idx="1433" formatCode="0.00">
                  <c:v>0.22407635813748741</c:v>
                </c:pt>
                <c:pt idx="1434" formatCode="0.00">
                  <c:v>0.22394699653803851</c:v>
                </c:pt>
                <c:pt idx="1435" formatCode="0.00">
                  <c:v>0.22346742248836746</c:v>
                </c:pt>
                <c:pt idx="1436" formatCode="0.00">
                  <c:v>0.2224451379439584</c:v>
                </c:pt>
                <c:pt idx="1437" formatCode="0.00">
                  <c:v>0.22246335333713949</c:v>
                </c:pt>
                <c:pt idx="1438" formatCode="0.00">
                  <c:v>0.22250433325911084</c:v>
                </c:pt>
                <c:pt idx="1439" formatCode="0.00">
                  <c:v>0.22232777930804198</c:v>
                </c:pt>
                <c:pt idx="1440" formatCode="0.00">
                  <c:v>0.22236151184008726</c:v>
                </c:pt>
                <c:pt idx="1441" formatCode="0.00">
                  <c:v>0.2224019825681931</c:v>
                </c:pt>
                <c:pt idx="1442" formatCode="0.00">
                  <c:v>0.22243958523542864</c:v>
                </c:pt>
                <c:pt idx="1443" formatCode="0.00">
                  <c:v>0.22200758287416397</c:v>
                </c:pt>
                <c:pt idx="1444" formatCode="0.00">
                  <c:v>0.22190701004483229</c:v>
                </c:pt>
                <c:pt idx="1445" formatCode="0.00">
                  <c:v>0.22112318968734557</c:v>
                </c:pt>
                <c:pt idx="1446" formatCode="0.00">
                  <c:v>0.22110111972101915</c:v>
                </c:pt>
                <c:pt idx="1447" formatCode="0.00">
                  <c:v>0.22107299089753488</c:v>
                </c:pt>
                <c:pt idx="1448" formatCode="0.00">
                  <c:v>0.22109945607820297</c:v>
                </c:pt>
                <c:pt idx="1449" formatCode="0.00">
                  <c:v>0.22108765842747977</c:v>
                </c:pt>
                <c:pt idx="1450" formatCode="0.00">
                  <c:v>0.22141801568593164</c:v>
                </c:pt>
                <c:pt idx="1451" formatCode="0.00">
                  <c:v>0.22016103196801767</c:v>
                </c:pt>
                <c:pt idx="1452" formatCode="0.00">
                  <c:v>0.22015105516919123</c:v>
                </c:pt>
                <c:pt idx="1453" formatCode="0.00">
                  <c:v>0.22021108443795054</c:v>
                </c:pt>
                <c:pt idx="1454" formatCode="0.00">
                  <c:v>0.22118772320861366</c:v>
                </c:pt>
                <c:pt idx="1455" formatCode="0.00">
                  <c:v>0.22168439059355594</c:v>
                </c:pt>
                <c:pt idx="1456" formatCode="0.00">
                  <c:v>0.22076983056165314</c:v>
                </c:pt>
                <c:pt idx="1457" formatCode="0.00">
                  <c:v>0.22075846694847959</c:v>
                </c:pt>
                <c:pt idx="1458" formatCode="0.00">
                  <c:v>0.22046193279639498</c:v>
                </c:pt>
                <c:pt idx="1459" formatCode="0.00">
                  <c:v>0.22035174419268178</c:v>
                </c:pt>
                <c:pt idx="1460" formatCode="0.00">
                  <c:v>0.21966110078960871</c:v>
                </c:pt>
                <c:pt idx="1461" formatCode="0.00">
                  <c:v>0.22003088627193224</c:v>
                </c:pt>
                <c:pt idx="1462" formatCode="0.00">
                  <c:v>0.22146835687961722</c:v>
                </c:pt>
                <c:pt idx="1463" formatCode="0.00">
                  <c:v>0.22395910147840731</c:v>
                </c:pt>
                <c:pt idx="1464" formatCode="0.00">
                  <c:v>0.22322848816114388</c:v>
                </c:pt>
                <c:pt idx="1465" formatCode="0.00">
                  <c:v>0.22218044052789393</c:v>
                </c:pt>
                <c:pt idx="1466" formatCode="0.00">
                  <c:v>0.22223141081156586</c:v>
                </c:pt>
                <c:pt idx="1467" formatCode="0.00">
                  <c:v>0.22139302949937517</c:v>
                </c:pt>
                <c:pt idx="1468" formatCode="0.00">
                  <c:v>0.21944523261323753</c:v>
                </c:pt>
                <c:pt idx="1469" formatCode="0.00">
                  <c:v>0.21997652680826249</c:v>
                </c:pt>
                <c:pt idx="1470" formatCode="0.00">
                  <c:v>0.22068537452077144</c:v>
                </c:pt>
                <c:pt idx="1471" formatCode="0.00">
                  <c:v>0.22063974185751623</c:v>
                </c:pt>
                <c:pt idx="1472" formatCode="0.00">
                  <c:v>0.21896668117630799</c:v>
                </c:pt>
                <c:pt idx="1473" formatCode="0.00">
                  <c:v>0.21923926485082287</c:v>
                </c:pt>
                <c:pt idx="1474" formatCode="0.00">
                  <c:v>0.21888770917798456</c:v>
                </c:pt>
                <c:pt idx="1475" formatCode="0.00">
                  <c:v>0.21943013332007691</c:v>
                </c:pt>
                <c:pt idx="1476" formatCode="0.00">
                  <c:v>0.21941599726727462</c:v>
                </c:pt>
                <c:pt idx="1477" formatCode="0.00">
                  <c:v>0.21949089765983912</c:v>
                </c:pt>
                <c:pt idx="1478" formatCode="0.00">
                  <c:v>0.21913791414659806</c:v>
                </c:pt>
                <c:pt idx="1479" formatCode="0.00">
                  <c:v>0.21896008119172833</c:v>
                </c:pt>
                <c:pt idx="1480" formatCode="0.00">
                  <c:v>0.21760366387378377</c:v>
                </c:pt>
                <c:pt idx="1481" formatCode="0.00">
                  <c:v>0.21669194769421862</c:v>
                </c:pt>
                <c:pt idx="1482" formatCode="0.00">
                  <c:v>0.21663477989093244</c:v>
                </c:pt>
                <c:pt idx="1483" formatCode="0.00">
                  <c:v>0.21737840525337901</c:v>
                </c:pt>
                <c:pt idx="1484" formatCode="0.00">
                  <c:v>0.21651454022214692</c:v>
                </c:pt>
                <c:pt idx="1485" formatCode="0.00">
                  <c:v>0.21379017039719017</c:v>
                </c:pt>
                <c:pt idx="1486" formatCode="0.00">
                  <c:v>0.21412121861939623</c:v>
                </c:pt>
                <c:pt idx="1487" formatCode="0.00">
                  <c:v>0.21643324906079364</c:v>
                </c:pt>
                <c:pt idx="1488" formatCode="0.00">
                  <c:v>0.21635460598331457</c:v>
                </c:pt>
                <c:pt idx="1489" formatCode="0.00">
                  <c:v>0.21642427725105015</c:v>
                </c:pt>
                <c:pt idx="1490" formatCode="0.00">
                  <c:v>0.21432940625575217</c:v>
                </c:pt>
                <c:pt idx="1491" formatCode="0.00">
                  <c:v>0.21460775854711306</c:v>
                </c:pt>
                <c:pt idx="1492" formatCode="0.00">
                  <c:v>0.21463446849973622</c:v>
                </c:pt>
                <c:pt idx="1493" formatCode="0.00">
                  <c:v>0.2147544814253666</c:v>
                </c:pt>
                <c:pt idx="1494" formatCode="0.00">
                  <c:v>0.2142549321446926</c:v>
                </c:pt>
                <c:pt idx="1495" formatCode="0.00">
                  <c:v>0.21433817307877776</c:v>
                </c:pt>
                <c:pt idx="1496" formatCode="0.00">
                  <c:v>0.21480256580574633</c:v>
                </c:pt>
                <c:pt idx="1497" formatCode="0.00">
                  <c:v>0.21511710684111679</c:v>
                </c:pt>
                <c:pt idx="1498" formatCode="0.00">
                  <c:v>0.21508751226375603</c:v>
                </c:pt>
                <c:pt idx="1499" formatCode="0.00">
                  <c:v>0.21650114414786209</c:v>
                </c:pt>
                <c:pt idx="1500" formatCode="0.00">
                  <c:v>0.21637574770828283</c:v>
                </c:pt>
                <c:pt idx="1501" formatCode="0.00">
                  <c:v>0.21638672810335038</c:v>
                </c:pt>
                <c:pt idx="1502" formatCode="0.00">
                  <c:v>0.21683127828092422</c:v>
                </c:pt>
                <c:pt idx="1503" formatCode="0.00">
                  <c:v>0.21698450413972972</c:v>
                </c:pt>
                <c:pt idx="1504" formatCode="0.00">
                  <c:v>0.21264685133086123</c:v>
                </c:pt>
                <c:pt idx="1505" formatCode="0.00">
                  <c:v>0.2125794428451919</c:v>
                </c:pt>
                <c:pt idx="1506" formatCode="0.00">
                  <c:v>0.21250170257309356</c:v>
                </c:pt>
                <c:pt idx="1507" formatCode="0.00">
                  <c:v>0.2127121165156024</c:v>
                </c:pt>
                <c:pt idx="1508" formatCode="0.00">
                  <c:v>0.21131356691781641</c:v>
                </c:pt>
                <c:pt idx="1509" formatCode="0.00">
                  <c:v>0.21108859762764109</c:v>
                </c:pt>
                <c:pt idx="1510" formatCode="0.00">
                  <c:v>0.21032936476332276</c:v>
                </c:pt>
                <c:pt idx="1511" formatCode="0.00">
                  <c:v>0.21031900859544586</c:v>
                </c:pt>
                <c:pt idx="1512" formatCode="0.00">
                  <c:v>0.21064879338202006</c:v>
                </c:pt>
                <c:pt idx="1513" formatCode="0.00">
                  <c:v>0.2110626163652764</c:v>
                </c:pt>
                <c:pt idx="1514" formatCode="0.00">
                  <c:v>0.21458100544983574</c:v>
                </c:pt>
                <c:pt idx="1515" formatCode="0.00">
                  <c:v>0.2149392812431109</c:v>
                </c:pt>
                <c:pt idx="1516" formatCode="0.00">
                  <c:v>0.21492244259904883</c:v>
                </c:pt>
                <c:pt idx="1517" formatCode="0.00">
                  <c:v>0.21663253775293537</c:v>
                </c:pt>
                <c:pt idx="1518" formatCode="0.00">
                  <c:v>0.21579962708899639</c:v>
                </c:pt>
                <c:pt idx="1519" formatCode="0.00">
                  <c:v>0.21219156626372432</c:v>
                </c:pt>
                <c:pt idx="1520" formatCode="0.00">
                  <c:v>0.21210586339859436</c:v>
                </c:pt>
                <c:pt idx="1521" formatCode="0.00">
                  <c:v>0.21087336723770128</c:v>
                </c:pt>
                <c:pt idx="1522" formatCode="0.00">
                  <c:v>0.20949558528156312</c:v>
                </c:pt>
                <c:pt idx="1523" formatCode="0.00">
                  <c:v>0.20816050113823434</c:v>
                </c:pt>
                <c:pt idx="1524" formatCode="0.00">
                  <c:v>0.20857398149335862</c:v>
                </c:pt>
                <c:pt idx="1525" formatCode="0.00">
                  <c:v>0.20903005192484253</c:v>
                </c:pt>
                <c:pt idx="1526" formatCode="0.00">
                  <c:v>0.20887198158971523</c:v>
                </c:pt>
                <c:pt idx="1527" formatCode="0.00">
                  <c:v>0.20796229856671819</c:v>
                </c:pt>
                <c:pt idx="1528" formatCode="0.00">
                  <c:v>0.20722050875781739</c:v>
                </c:pt>
                <c:pt idx="1529" formatCode="0.00">
                  <c:v>0.20620183925551441</c:v>
                </c:pt>
                <c:pt idx="1530" formatCode="0.00">
                  <c:v>0.20621067775084742</c:v>
                </c:pt>
                <c:pt idx="1531" formatCode="0.00">
                  <c:v>0.20598647350822286</c:v>
                </c:pt>
                <c:pt idx="1532" formatCode="0.00">
                  <c:v>0.2056804079514537</c:v>
                </c:pt>
                <c:pt idx="1533" formatCode="0.00">
                  <c:v>0.20694169899571188</c:v>
                </c:pt>
                <c:pt idx="1534" formatCode="0.00">
                  <c:v>0.20684933810223863</c:v>
                </c:pt>
                <c:pt idx="1535" formatCode="0.00">
                  <c:v>0.20694511966552157</c:v>
                </c:pt>
                <c:pt idx="1536" formatCode="0.00">
                  <c:v>0.20694122251791941</c:v>
                </c:pt>
                <c:pt idx="1537" formatCode="0.00">
                  <c:v>0.2107967233937709</c:v>
                </c:pt>
                <c:pt idx="1538" formatCode="0.00">
                  <c:v>0.21087957386174719</c:v>
                </c:pt>
                <c:pt idx="1539" formatCode="0.00">
                  <c:v>0.21183315625092014</c:v>
                </c:pt>
                <c:pt idx="1540" formatCode="0.00">
                  <c:v>0.21172247695379373</c:v>
                </c:pt>
                <c:pt idx="1541" formatCode="0.00">
                  <c:v>0.21073261770318538</c:v>
                </c:pt>
                <c:pt idx="1542" formatCode="0.00">
                  <c:v>0.20896805200864715</c:v>
                </c:pt>
                <c:pt idx="1543" formatCode="0.00">
                  <c:v>0.20920655813979594</c:v>
                </c:pt>
                <c:pt idx="1544" formatCode="0.00">
                  <c:v>0.20907621882003347</c:v>
                </c:pt>
                <c:pt idx="1545" formatCode="0.00">
                  <c:v>0.20937557975974189</c:v>
                </c:pt>
                <c:pt idx="1546" formatCode="0.00">
                  <c:v>0.20846514383352266</c:v>
                </c:pt>
                <c:pt idx="1547" formatCode="0.00">
                  <c:v>0.20920731002380225</c:v>
                </c:pt>
                <c:pt idx="1548" formatCode="0.00">
                  <c:v>0.20896430498317084</c:v>
                </c:pt>
                <c:pt idx="1549" formatCode="0.00">
                  <c:v>0.20864035556197816</c:v>
                </c:pt>
                <c:pt idx="1550" formatCode="0.00">
                  <c:v>0.20356426666932376</c:v>
                </c:pt>
                <c:pt idx="1551" formatCode="0.00">
                  <c:v>0.20364740208286139</c:v>
                </c:pt>
                <c:pt idx="1552" formatCode="0.00">
                  <c:v>0.20290128105013017</c:v>
                </c:pt>
                <c:pt idx="1553" formatCode="0.00">
                  <c:v>0.20268438738292444</c:v>
                </c:pt>
                <c:pt idx="1554" formatCode="0.00">
                  <c:v>0.20314836764795333</c:v>
                </c:pt>
                <c:pt idx="1555" formatCode="0.00">
                  <c:v>0.20298485092891219</c:v>
                </c:pt>
                <c:pt idx="1556" formatCode="0.00">
                  <c:v>0.20303353614884714</c:v>
                </c:pt>
                <c:pt idx="1557" formatCode="0.00">
                  <c:v>0.20391181137730191</c:v>
                </c:pt>
                <c:pt idx="1558" formatCode="0.00">
                  <c:v>0.20388952660629892</c:v>
                </c:pt>
                <c:pt idx="1559" formatCode="0.00">
                  <c:v>0.20388475328588337</c:v>
                </c:pt>
                <c:pt idx="1560" formatCode="0.00">
                  <c:v>0.2039608108684848</c:v>
                </c:pt>
                <c:pt idx="1561" formatCode="0.00">
                  <c:v>0.20386350892985786</c:v>
                </c:pt>
                <c:pt idx="1562" formatCode="0.00">
                  <c:v>0.20405161297705174</c:v>
                </c:pt>
                <c:pt idx="1563" formatCode="0.00">
                  <c:v>0.20326034555966405</c:v>
                </c:pt>
                <c:pt idx="1564" formatCode="0.00">
                  <c:v>0.20292252560584378</c:v>
                </c:pt>
                <c:pt idx="1565" formatCode="0.00">
                  <c:v>0.20279710997132436</c:v>
                </c:pt>
                <c:pt idx="1566" formatCode="0.00">
                  <c:v>0.20269422747729862</c:v>
                </c:pt>
                <c:pt idx="1567" formatCode="0.00">
                  <c:v>0.20266753197798396</c:v>
                </c:pt>
                <c:pt idx="1568" formatCode="0.00">
                  <c:v>0.20277088917349434</c:v>
                </c:pt>
                <c:pt idx="1569" formatCode="0.00">
                  <c:v>0.20242158654685935</c:v>
                </c:pt>
                <c:pt idx="1570" formatCode="0.00">
                  <c:v>0.20246479348191063</c:v>
                </c:pt>
                <c:pt idx="1571" formatCode="0.00">
                  <c:v>0.20300760533450271</c:v>
                </c:pt>
                <c:pt idx="1572" formatCode="0.00">
                  <c:v>0.20282083472030921</c:v>
                </c:pt>
                <c:pt idx="1573" formatCode="0.00">
                  <c:v>0.20110977720292816</c:v>
                </c:pt>
                <c:pt idx="1574" formatCode="0.00">
                  <c:v>0.20043118365991153</c:v>
                </c:pt>
                <c:pt idx="1575" formatCode="0.00">
                  <c:v>0.19926854884229472</c:v>
                </c:pt>
                <c:pt idx="1576" formatCode="0.00">
                  <c:v>0.19910270978289837</c:v>
                </c:pt>
                <c:pt idx="1577" formatCode="0.00">
                  <c:v>0.20044933993115474</c:v>
                </c:pt>
                <c:pt idx="1578" formatCode="0.00">
                  <c:v>0.2006539636209822</c:v>
                </c:pt>
                <c:pt idx="1579" formatCode="0.00">
                  <c:v>0.20090261747717836</c:v>
                </c:pt>
                <c:pt idx="1580" formatCode="0.00">
                  <c:v>0.20099587270679167</c:v>
                </c:pt>
                <c:pt idx="1581" formatCode="0.00">
                  <c:v>0.20182027617579995</c:v>
                </c:pt>
                <c:pt idx="1582" formatCode="0.00">
                  <c:v>0.19970652641255096</c:v>
                </c:pt>
                <c:pt idx="1583" formatCode="0.00">
                  <c:v>0.19977934249047891</c:v>
                </c:pt>
                <c:pt idx="1584" formatCode="0.00">
                  <c:v>0.19980344034910349</c:v>
                </c:pt>
                <c:pt idx="1585" formatCode="0.00">
                  <c:v>0.1985426397216693</c:v>
                </c:pt>
                <c:pt idx="1586" formatCode="0.00">
                  <c:v>0.19783765906470246</c:v>
                </c:pt>
                <c:pt idx="1587" formatCode="0.00">
                  <c:v>0.19837629251728964</c:v>
                </c:pt>
                <c:pt idx="1588" formatCode="0.00">
                  <c:v>0.19841149045797571</c:v>
                </c:pt>
                <c:pt idx="1589" formatCode="0.00">
                  <c:v>0.19819877887551282</c:v>
                </c:pt>
                <c:pt idx="1590" formatCode="0.00">
                  <c:v>0.19817317471688942</c:v>
                </c:pt>
                <c:pt idx="1591" formatCode="0.00">
                  <c:v>0.19798963363330443</c:v>
                </c:pt>
                <c:pt idx="1592" formatCode="0.00">
                  <c:v>0.20076108174768575</c:v>
                </c:pt>
                <c:pt idx="1593" formatCode="0.00">
                  <c:v>0.1995829303511002</c:v>
                </c:pt>
                <c:pt idx="1594" formatCode="0.00">
                  <c:v>0.19939546727195873</c:v>
                </c:pt>
                <c:pt idx="1595" formatCode="0.00">
                  <c:v>0.19928622571243082</c:v>
                </c:pt>
                <c:pt idx="1596" formatCode="0.00">
                  <c:v>0.19953682171486481</c:v>
                </c:pt>
                <c:pt idx="1597" formatCode="0.00">
                  <c:v>0.19926024333593464</c:v>
                </c:pt>
                <c:pt idx="1598" formatCode="0.00">
                  <c:v>0.19938535976948243</c:v>
                </c:pt>
                <c:pt idx="1599" formatCode="0.00">
                  <c:v>0.19943242835295139</c:v>
                </c:pt>
                <c:pt idx="1600" formatCode="0.00">
                  <c:v>0.19935155565796173</c:v>
                </c:pt>
                <c:pt idx="1601" formatCode="0.00">
                  <c:v>0.19898371115101596</c:v>
                </c:pt>
                <c:pt idx="1602" formatCode="0.00">
                  <c:v>0.19928527477451186</c:v>
                </c:pt>
                <c:pt idx="1603" formatCode="0.00">
                  <c:v>0.19998611699892174</c:v>
                </c:pt>
                <c:pt idx="1604" formatCode="0.00">
                  <c:v>0.19982523881092901</c:v>
                </c:pt>
                <c:pt idx="1605" formatCode="0.00">
                  <c:v>0.1999886618601194</c:v>
                </c:pt>
                <c:pt idx="1606" formatCode="0.00">
                  <c:v>0.19954765720322634</c:v>
                </c:pt>
                <c:pt idx="1607" formatCode="0.00">
                  <c:v>0.19928507157819117</c:v>
                </c:pt>
                <c:pt idx="1608" formatCode="0.00">
                  <c:v>0.20009107723269504</c:v>
                </c:pt>
                <c:pt idx="1609" formatCode="0.00">
                  <c:v>0.20104722216017984</c:v>
                </c:pt>
                <c:pt idx="1610" formatCode="0.00">
                  <c:v>0.19943350874211546</c:v>
                </c:pt>
                <c:pt idx="1611" formatCode="0.00">
                  <c:v>0.19965361414939384</c:v>
                </c:pt>
                <c:pt idx="1612" formatCode="0.00">
                  <c:v>0.19962582110599758</c:v>
                </c:pt>
                <c:pt idx="1613" formatCode="0.00">
                  <c:v>0.2007203079405388</c:v>
                </c:pt>
                <c:pt idx="1614" formatCode="0.00">
                  <c:v>0.20036282192798871</c:v>
                </c:pt>
                <c:pt idx="1615" formatCode="0.00">
                  <c:v>0.2003726414607086</c:v>
                </c:pt>
                <c:pt idx="1616" formatCode="0.00">
                  <c:v>0.20166343841946563</c:v>
                </c:pt>
                <c:pt idx="1617" formatCode="0.00">
                  <c:v>0.20347442557640946</c:v>
                </c:pt>
                <c:pt idx="1618" formatCode="0.00">
                  <c:v>0.20365996339332981</c:v>
                </c:pt>
                <c:pt idx="1619" formatCode="0.00">
                  <c:v>0.20365466082989439</c:v>
                </c:pt>
                <c:pt idx="1620" formatCode="0.00">
                  <c:v>0.20551328026130064</c:v>
                </c:pt>
                <c:pt idx="1621" formatCode="0.00">
                  <c:v>0.20573036665010949</c:v>
                </c:pt>
                <c:pt idx="1622" formatCode="0.00">
                  <c:v>0.20540234674758573</c:v>
                </c:pt>
                <c:pt idx="1623" formatCode="0.00">
                  <c:v>0.20522234162405981</c:v>
                </c:pt>
                <c:pt idx="1624" formatCode="0.00">
                  <c:v>0.20523025251606905</c:v>
                </c:pt>
                <c:pt idx="1625" formatCode="0.00">
                  <c:v>0.20545599990456109</c:v>
                </c:pt>
                <c:pt idx="1626" formatCode="0.00">
                  <c:v>0.20535607492567293</c:v>
                </c:pt>
                <c:pt idx="1627" formatCode="0.00">
                  <c:v>0.20594539494213498</c:v>
                </c:pt>
                <c:pt idx="1628" formatCode="0.00">
                  <c:v>0.20642841644520368</c:v>
                </c:pt>
                <c:pt idx="1629" formatCode="0.00">
                  <c:v>0.2064885329308872</c:v>
                </c:pt>
                <c:pt idx="1630" formatCode="0.00">
                  <c:v>0.2064942506095129</c:v>
                </c:pt>
                <c:pt idx="1631" formatCode="0.00">
                  <c:v>0.20705950125138398</c:v>
                </c:pt>
                <c:pt idx="1632" formatCode="0.00">
                  <c:v>0.20716455816853507</c:v>
                </c:pt>
                <c:pt idx="1633" formatCode="0.00">
                  <c:v>0.20651181676944025</c:v>
                </c:pt>
                <c:pt idx="1634" formatCode="0.00">
                  <c:v>0.20707884760176362</c:v>
                </c:pt>
                <c:pt idx="1635" formatCode="0.00">
                  <c:v>0.20796702655255056</c:v>
                </c:pt>
                <c:pt idx="1636" formatCode="0.00">
                  <c:v>0.2084317980741372</c:v>
                </c:pt>
                <c:pt idx="1637" formatCode="0.00">
                  <c:v>0.20901682682205686</c:v>
                </c:pt>
                <c:pt idx="1638" formatCode="0.00">
                  <c:v>0.20977653935355864</c:v>
                </c:pt>
                <c:pt idx="1639" formatCode="0.00">
                  <c:v>0.2098108813621116</c:v>
                </c:pt>
                <c:pt idx="1640" formatCode="0.00">
                  <c:v>0.20794176497809611</c:v>
                </c:pt>
                <c:pt idx="1641" formatCode="0.00">
                  <c:v>0.20728848003635847</c:v>
                </c:pt>
                <c:pt idx="1642" formatCode="0.00">
                  <c:v>0.2072929971721082</c:v>
                </c:pt>
                <c:pt idx="1643" formatCode="0.00">
                  <c:v>0.20713239769410083</c:v>
                </c:pt>
                <c:pt idx="1644" formatCode="0.00">
                  <c:v>0.20750678940442294</c:v>
                </c:pt>
                <c:pt idx="1645" formatCode="0.00">
                  <c:v>0.20827180644671719</c:v>
                </c:pt>
                <c:pt idx="1646" formatCode="0.00">
                  <c:v>0.2081835239831723</c:v>
                </c:pt>
                <c:pt idx="1647" formatCode="0.00">
                  <c:v>0.20909412803193683</c:v>
                </c:pt>
                <c:pt idx="1648" formatCode="0.00">
                  <c:v>0.20955623377940832</c:v>
                </c:pt>
                <c:pt idx="1649" formatCode="0.00">
                  <c:v>0.20948564816416079</c:v>
                </c:pt>
                <c:pt idx="1650" formatCode="0.00">
                  <c:v>0.21019880215211345</c:v>
                </c:pt>
                <c:pt idx="1651" formatCode="0.00">
                  <c:v>0.21007086132088393</c:v>
                </c:pt>
                <c:pt idx="1652" formatCode="0.00">
                  <c:v>0.21275975527474242</c:v>
                </c:pt>
                <c:pt idx="1653" formatCode="0.00">
                  <c:v>0.21272271347063018</c:v>
                </c:pt>
                <c:pt idx="1654" formatCode="0.00">
                  <c:v>0.21278478714220433</c:v>
                </c:pt>
                <c:pt idx="1655" formatCode="0.00">
                  <c:v>0.2125905362239329</c:v>
                </c:pt>
                <c:pt idx="1656" formatCode="0.00">
                  <c:v>0.2124460743367303</c:v>
                </c:pt>
                <c:pt idx="1657" formatCode="0.00">
                  <c:v>0.21164069937954802</c:v>
                </c:pt>
                <c:pt idx="1658" formatCode="0.00">
                  <c:v>0.21180231760207555</c:v>
                </c:pt>
                <c:pt idx="1659" formatCode="0.00">
                  <c:v>0.21179856677082148</c:v>
                </c:pt>
                <c:pt idx="1660" formatCode="0.00">
                  <c:v>0.21256492038676125</c:v>
                </c:pt>
                <c:pt idx="1661" formatCode="0.00">
                  <c:v>0.21221008212703898</c:v>
                </c:pt>
                <c:pt idx="1662" formatCode="0.00">
                  <c:v>0.21500277127632036</c:v>
                </c:pt>
                <c:pt idx="1663" formatCode="0.00">
                  <c:v>0.21520550343777017</c:v>
                </c:pt>
                <c:pt idx="1664" formatCode="0.00">
                  <c:v>0.21479992768713366</c:v>
                </c:pt>
                <c:pt idx="1665" formatCode="0.00">
                  <c:v>0.21466439744703111</c:v>
                </c:pt>
                <c:pt idx="1666" formatCode="0.00">
                  <c:v>0.21413967525866118</c:v>
                </c:pt>
                <c:pt idx="1667" formatCode="0.00">
                  <c:v>0.21509296443428894</c:v>
                </c:pt>
                <c:pt idx="1668" formatCode="0.00">
                  <c:v>0.21510728798607276</c:v>
                </c:pt>
                <c:pt idx="1669" formatCode="0.00">
                  <c:v>0.21564162084754507</c:v>
                </c:pt>
                <c:pt idx="1670" formatCode="0.00">
                  <c:v>0.21510622522790238</c:v>
                </c:pt>
                <c:pt idx="1671" formatCode="0.00">
                  <c:v>0.21515665999680042</c:v>
                </c:pt>
                <c:pt idx="1672" formatCode="0.00">
                  <c:v>0.21528630713939606</c:v>
                </c:pt>
                <c:pt idx="1673" formatCode="0.00">
                  <c:v>0.2155458990744222</c:v>
                </c:pt>
                <c:pt idx="1674" formatCode="0.00">
                  <c:v>0.21583074113033432</c:v>
                </c:pt>
                <c:pt idx="1675" formatCode="0.00">
                  <c:v>0.21580274863003648</c:v>
                </c:pt>
                <c:pt idx="1676" formatCode="0.00">
                  <c:v>0.21593876388162694</c:v>
                </c:pt>
                <c:pt idx="1677" formatCode="0.00">
                  <c:v>0.21640169337968815</c:v>
                </c:pt>
                <c:pt idx="1678" formatCode="0.00">
                  <c:v>0.21638674445097034</c:v>
                </c:pt>
                <c:pt idx="1679" formatCode="0.00">
                  <c:v>0.21559619444834524</c:v>
                </c:pt>
                <c:pt idx="1680" formatCode="0.00">
                  <c:v>0.21470155169107266</c:v>
                </c:pt>
                <c:pt idx="1681" formatCode="0.00">
                  <c:v>0.21343630427524296</c:v>
                </c:pt>
                <c:pt idx="1682" formatCode="0.00">
                  <c:v>0.2134341676184697</c:v>
                </c:pt>
                <c:pt idx="1683" formatCode="0.00">
                  <c:v>0.21303377987272007</c:v>
                </c:pt>
                <c:pt idx="1684" formatCode="0.00">
                  <c:v>0.21304768081031963</c:v>
                </c:pt>
                <c:pt idx="1685" formatCode="0.00">
                  <c:v>0.21286907201078265</c:v>
                </c:pt>
                <c:pt idx="1686" formatCode="0.00">
                  <c:v>0.21288300920219258</c:v>
                </c:pt>
                <c:pt idx="1687" formatCode="0.00">
                  <c:v>0.21729989678714323</c:v>
                </c:pt>
                <c:pt idx="1688" formatCode="0.00">
                  <c:v>0.21783177845756052</c:v>
                </c:pt>
                <c:pt idx="1689" formatCode="0.00">
                  <c:v>0.21793192486896168</c:v>
                </c:pt>
                <c:pt idx="1690" formatCode="0.00">
                  <c:v>0.21854374560212392</c:v>
                </c:pt>
                <c:pt idx="1691" formatCode="0.00">
                  <c:v>0.22169737351525881</c:v>
                </c:pt>
                <c:pt idx="1692" formatCode="0.00">
                  <c:v>0.22120354653122357</c:v>
                </c:pt>
                <c:pt idx="1693" formatCode="0.00">
                  <c:v>0.22110452832526828</c:v>
                </c:pt>
                <c:pt idx="1694" formatCode="0.00">
                  <c:v>0.22123519138465067</c:v>
                </c:pt>
                <c:pt idx="1695" formatCode="0.00">
                  <c:v>0.22233688468818477</c:v>
                </c:pt>
                <c:pt idx="1696" formatCode="0.00">
                  <c:v>0.22238357312186247</c:v>
                </c:pt>
                <c:pt idx="1697" formatCode="0.00">
                  <c:v>0.22227558621394614</c:v>
                </c:pt>
                <c:pt idx="1698" formatCode="0.00">
                  <c:v>0.22255673544235022</c:v>
                </c:pt>
                <c:pt idx="1699" formatCode="0.00">
                  <c:v>0.22226569194211318</c:v>
                </c:pt>
                <c:pt idx="1700" formatCode="0.00">
                  <c:v>0.22247574190517774</c:v>
                </c:pt>
                <c:pt idx="1701" formatCode="0.00">
                  <c:v>0.2227725748427884</c:v>
                </c:pt>
                <c:pt idx="1702" formatCode="0.00">
                  <c:v>0.22279611748876299</c:v>
                </c:pt>
                <c:pt idx="1703" formatCode="0.00">
                  <c:v>0.22235393571759007</c:v>
                </c:pt>
                <c:pt idx="1704" formatCode="0.00">
                  <c:v>0.22265320251757262</c:v>
                </c:pt>
                <c:pt idx="1705" formatCode="0.00">
                  <c:v>0.22275721442701105</c:v>
                </c:pt>
                <c:pt idx="1706" formatCode="0.00">
                  <c:v>0.22319125667586218</c:v>
                </c:pt>
                <c:pt idx="1707" formatCode="0.00">
                  <c:v>0.22189175064277758</c:v>
                </c:pt>
                <c:pt idx="1708" formatCode="0.00">
                  <c:v>0.22142826617735539</c:v>
                </c:pt>
                <c:pt idx="1709" formatCode="0.00">
                  <c:v>0.22154253722229092</c:v>
                </c:pt>
                <c:pt idx="1710" formatCode="0.00">
                  <c:v>0.22212593616103141</c:v>
                </c:pt>
                <c:pt idx="1711" formatCode="0.00">
                  <c:v>0.22258120091106726</c:v>
                </c:pt>
                <c:pt idx="1712" formatCode="0.00">
                  <c:v>0.22312676657922884</c:v>
                </c:pt>
                <c:pt idx="1713" formatCode="0.00">
                  <c:v>0.22151345979001197</c:v>
                </c:pt>
                <c:pt idx="1714" formatCode="0.00">
                  <c:v>0.22118250128927497</c:v>
                </c:pt>
                <c:pt idx="1715" formatCode="0.00">
                  <c:v>0.21991231725277499</c:v>
                </c:pt>
                <c:pt idx="1716" formatCode="0.00">
                  <c:v>0.21759371888189663</c:v>
                </c:pt>
                <c:pt idx="1717" formatCode="0.00">
                  <c:v>0.21805435858519828</c:v>
                </c:pt>
                <c:pt idx="1718" formatCode="0.00">
                  <c:v>0.21914262754669592</c:v>
                </c:pt>
                <c:pt idx="1719" formatCode="0.00">
                  <c:v>0.21924455321477052</c:v>
                </c:pt>
                <c:pt idx="1720" formatCode="0.00">
                  <c:v>0.21910721957559023</c:v>
                </c:pt>
                <c:pt idx="1721" formatCode="0.00">
                  <c:v>0.22193534459702419</c:v>
                </c:pt>
                <c:pt idx="1722" formatCode="0.00">
                  <c:v>0.22169954162656241</c:v>
                </c:pt>
                <c:pt idx="1723" formatCode="0.00">
                  <c:v>0.22221619850141744</c:v>
                </c:pt>
                <c:pt idx="1724" formatCode="0.00">
                  <c:v>0.22260637048809123</c:v>
                </c:pt>
                <c:pt idx="1725" formatCode="0.00">
                  <c:v>0.22466675512152276</c:v>
                </c:pt>
                <c:pt idx="1726" formatCode="0.00">
                  <c:v>0.22576921148668383</c:v>
                </c:pt>
                <c:pt idx="1727" formatCode="0.00">
                  <c:v>0.22850550812878037</c:v>
                </c:pt>
                <c:pt idx="1728" formatCode="0.00">
                  <c:v>0.2322572104526929</c:v>
                </c:pt>
                <c:pt idx="1729" formatCode="0.00">
                  <c:v>0.23462170784935937</c:v>
                </c:pt>
                <c:pt idx="1730" formatCode="0.00">
                  <c:v>0.23662410329487046</c:v>
                </c:pt>
                <c:pt idx="1731" formatCode="0.00">
                  <c:v>0.23693274852892549</c:v>
                </c:pt>
                <c:pt idx="1732" formatCode="0.00">
                  <c:v>0.23697750660355335</c:v>
                </c:pt>
                <c:pt idx="1733" formatCode="0.00">
                  <c:v>0.23732046058265924</c:v>
                </c:pt>
                <c:pt idx="1734" formatCode="0.00">
                  <c:v>0.24722806444943024</c:v>
                </c:pt>
                <c:pt idx="1735" formatCode="0.00">
                  <c:v>0.25217210700001341</c:v>
                </c:pt>
                <c:pt idx="1736" formatCode="0.00">
                  <c:v>0.25172676208514599</c:v>
                </c:pt>
                <c:pt idx="1737" formatCode="0.00">
                  <c:v>0.25356963174799013</c:v>
                </c:pt>
                <c:pt idx="1738" formatCode="0.00">
                  <c:v>0.25940225394204708</c:v>
                </c:pt>
                <c:pt idx="1739" formatCode="0.00">
                  <c:v>0.25914519078225817</c:v>
                </c:pt>
                <c:pt idx="1740" formatCode="0.00">
                  <c:v>0.26232427931803393</c:v>
                </c:pt>
                <c:pt idx="1741" formatCode="0.00">
                  <c:v>0.26330243164337247</c:v>
                </c:pt>
                <c:pt idx="1742" formatCode="0.00">
                  <c:v>0.2632388892658471</c:v>
                </c:pt>
                <c:pt idx="1743" formatCode="0.00">
                  <c:v>0.26252183745197205</c:v>
                </c:pt>
                <c:pt idx="1744" formatCode="0.00">
                  <c:v>0.26240050957065986</c:v>
                </c:pt>
                <c:pt idx="1745" formatCode="0.00">
                  <c:v>0.26325584619569409</c:v>
                </c:pt>
                <c:pt idx="1746" formatCode="0.00">
                  <c:v>0.26332072411861457</c:v>
                </c:pt>
                <c:pt idx="1747" formatCode="0.00">
                  <c:v>0.26535402781737022</c:v>
                </c:pt>
                <c:pt idx="1748" formatCode="0.00">
                  <c:v>0.26575650329170397</c:v>
                </c:pt>
                <c:pt idx="1749" formatCode="0.00">
                  <c:v>0.26552465866624148</c:v>
                </c:pt>
                <c:pt idx="1750" formatCode="0.00">
                  <c:v>0.2673654293705246</c:v>
                </c:pt>
                <c:pt idx="1751" formatCode="0.00">
                  <c:v>0.26755049154444027</c:v>
                </c:pt>
                <c:pt idx="1752" formatCode="0.00">
                  <c:v>0.26699352090940998</c:v>
                </c:pt>
                <c:pt idx="1753" formatCode="0.00">
                  <c:v>0.26729013029964566</c:v>
                </c:pt>
                <c:pt idx="1754" formatCode="0.00">
                  <c:v>0.26727326532955403</c:v>
                </c:pt>
                <c:pt idx="1755" formatCode="0.00">
                  <c:v>0.26696310356953057</c:v>
                </c:pt>
                <c:pt idx="1756" formatCode="0.00">
                  <c:v>0.26757143787262705</c:v>
                </c:pt>
                <c:pt idx="1757" formatCode="0.00">
                  <c:v>0.26876691149514448</c:v>
                </c:pt>
                <c:pt idx="1758" formatCode="0.00">
                  <c:v>0.26881705103183262</c:v>
                </c:pt>
                <c:pt idx="1759" formatCode="0.00">
                  <c:v>0.26938286011390555</c:v>
                </c:pt>
                <c:pt idx="1760" formatCode="0.00">
                  <c:v>0.2689798633693562</c:v>
                </c:pt>
                <c:pt idx="1761" formatCode="0.00">
                  <c:v>0.26889193750876533</c:v>
                </c:pt>
                <c:pt idx="1762" formatCode="0.00">
                  <c:v>0.26901149473658109</c:v>
                </c:pt>
                <c:pt idx="1763" formatCode="0.00">
                  <c:v>0.26937401320156079</c:v>
                </c:pt>
                <c:pt idx="1764" formatCode="0.00">
                  <c:v>0.27743147492844283</c:v>
                </c:pt>
                <c:pt idx="1765" formatCode="0.00">
                  <c:v>0.2809026628568656</c:v>
                </c:pt>
                <c:pt idx="1766" formatCode="0.00">
                  <c:v>0.2806316690474448</c:v>
                </c:pt>
                <c:pt idx="1767" formatCode="0.00">
                  <c:v>0.2780616212049446</c:v>
                </c:pt>
                <c:pt idx="1768" formatCode="0.00">
                  <c:v>0.27937539232986441</c:v>
                </c:pt>
                <c:pt idx="1769" formatCode="0.00">
                  <c:v>0.27953732856469665</c:v>
                </c:pt>
                <c:pt idx="1770" formatCode="0.00">
                  <c:v>0.27801754359024256</c:v>
                </c:pt>
                <c:pt idx="1771" formatCode="0.00">
                  <c:v>0.2779841991645311</c:v>
                </c:pt>
                <c:pt idx="1772" formatCode="0.00">
                  <c:v>0.27796538214991545</c:v>
                </c:pt>
                <c:pt idx="1773" formatCode="0.00">
                  <c:v>0.27900561308898136</c:v>
                </c:pt>
                <c:pt idx="1774" formatCode="0.00">
                  <c:v>0.27861489293957936</c:v>
                </c:pt>
                <c:pt idx="1775" formatCode="0.00">
                  <c:v>0.27987299290724965</c:v>
                </c:pt>
                <c:pt idx="1776" formatCode="0.00">
                  <c:v>0.27989147167477874</c:v>
                </c:pt>
                <c:pt idx="1777" formatCode="0.00">
                  <c:v>0.27961154674142341</c:v>
                </c:pt>
                <c:pt idx="1778" formatCode="0.00">
                  <c:v>0.27930906739319611</c:v>
                </c:pt>
                <c:pt idx="1779" formatCode="0.00">
                  <c:v>0.27997517408945277</c:v>
                </c:pt>
                <c:pt idx="1780" formatCode="0.00">
                  <c:v>0.27988629828852446</c:v>
                </c:pt>
                <c:pt idx="1781" formatCode="0.00">
                  <c:v>0.28007789930815924</c:v>
                </c:pt>
                <c:pt idx="1782" formatCode="0.00">
                  <c:v>0.28038404823044688</c:v>
                </c:pt>
                <c:pt idx="1783" formatCode="0.00">
                  <c:v>0.28047622050499477</c:v>
                </c:pt>
                <c:pt idx="1784" formatCode="0.00">
                  <c:v>0.28069728112952563</c:v>
                </c:pt>
                <c:pt idx="1785" formatCode="0.00">
                  <c:v>0.28078715423340422</c:v>
                </c:pt>
                <c:pt idx="1786" formatCode="0.00">
                  <c:v>0.27983481564743079</c:v>
                </c:pt>
                <c:pt idx="1787" formatCode="0.00">
                  <c:v>0.27894509365869524</c:v>
                </c:pt>
                <c:pt idx="1788" formatCode="0.00">
                  <c:v>0.28009735789566387</c:v>
                </c:pt>
                <c:pt idx="1789" formatCode="0.00">
                  <c:v>0.28073104659331488</c:v>
                </c:pt>
                <c:pt idx="1790" formatCode="0.00">
                  <c:v>0.27791408991207284</c:v>
                </c:pt>
                <c:pt idx="1791" formatCode="0.00">
                  <c:v>0.27784044452074053</c:v>
                </c:pt>
                <c:pt idx="1792" formatCode="0.00">
                  <c:v>0.27798083741566865</c:v>
                </c:pt>
                <c:pt idx="1793" formatCode="0.00">
                  <c:v>0.28017244255769091</c:v>
                </c:pt>
                <c:pt idx="1794" formatCode="0.00">
                  <c:v>0.28157462724667054</c:v>
                </c:pt>
                <c:pt idx="1795" formatCode="0.00">
                  <c:v>0.28358052696821573</c:v>
                </c:pt>
                <c:pt idx="1796" formatCode="0.00">
                  <c:v>0.28659584923547532</c:v>
                </c:pt>
                <c:pt idx="1797" formatCode="0.00">
                  <c:v>0.28670606252846398</c:v>
                </c:pt>
                <c:pt idx="1798" formatCode="0.00">
                  <c:v>0.28653465132982958</c:v>
                </c:pt>
                <c:pt idx="1799" formatCode="0.00">
                  <c:v>0.28762993090506223</c:v>
                </c:pt>
                <c:pt idx="1800" formatCode="0.00">
                  <c:v>0.28765531791104726</c:v>
                </c:pt>
                <c:pt idx="1801" formatCode="0.00">
                  <c:v>0.28764836734544175</c:v>
                </c:pt>
                <c:pt idx="1802" formatCode="0.00">
                  <c:v>0.28766052129041875</c:v>
                </c:pt>
                <c:pt idx="1803" formatCode="0.00">
                  <c:v>0.28667888049877532</c:v>
                </c:pt>
                <c:pt idx="1804" formatCode="0.00">
                  <c:v>0.28664652825534609</c:v>
                </c:pt>
                <c:pt idx="1805" formatCode="0.00">
                  <c:v>0.28639744835189634</c:v>
                </c:pt>
                <c:pt idx="1806" formatCode="0.00">
                  <c:v>0.28623320636619171</c:v>
                </c:pt>
                <c:pt idx="1807" formatCode="0.00">
                  <c:v>0.28631538828788777</c:v>
                </c:pt>
                <c:pt idx="1808" formatCode="0.00">
                  <c:v>0.28632168886623299</c:v>
                </c:pt>
                <c:pt idx="1809" formatCode="0.00">
                  <c:v>0.28744175897193547</c:v>
                </c:pt>
                <c:pt idx="1810" formatCode="0.00">
                  <c:v>0.28722468235653464</c:v>
                </c:pt>
                <c:pt idx="1811" formatCode="0.00">
                  <c:v>0.2875375557469641</c:v>
                </c:pt>
                <c:pt idx="1812" formatCode="0.00">
                  <c:v>0.28771098166517073</c:v>
                </c:pt>
                <c:pt idx="1813" formatCode="0.00">
                  <c:v>0.28780908481267808</c:v>
                </c:pt>
                <c:pt idx="1814" formatCode="0.00">
                  <c:v>0.28801531629507909</c:v>
                </c:pt>
                <c:pt idx="1815" formatCode="0.00">
                  <c:v>0.2891963577179209</c:v>
                </c:pt>
                <c:pt idx="1816" formatCode="0.00">
                  <c:v>0.28895241638038133</c:v>
                </c:pt>
                <c:pt idx="1817" formatCode="0.00">
                  <c:v>0.28891130652906433</c:v>
                </c:pt>
                <c:pt idx="1818" formatCode="0.00">
                  <c:v>0.28905377778307023</c:v>
                </c:pt>
                <c:pt idx="1819" formatCode="0.00">
                  <c:v>0.28876082890370036</c:v>
                </c:pt>
                <c:pt idx="1820" formatCode="0.00">
                  <c:v>0.28826813181786715</c:v>
                </c:pt>
                <c:pt idx="1821" formatCode="0.00">
                  <c:v>0.2880850565838971</c:v>
                </c:pt>
                <c:pt idx="1822" formatCode="0.00">
                  <c:v>0.2880227053349293</c:v>
                </c:pt>
                <c:pt idx="1823" formatCode="0.00">
                  <c:v>0.28833077642811972</c:v>
                </c:pt>
                <c:pt idx="1824" formatCode="0.00">
                  <c:v>0.28798309091541469</c:v>
                </c:pt>
                <c:pt idx="1825" formatCode="0.00">
                  <c:v>0.28800568445311214</c:v>
                </c:pt>
                <c:pt idx="1826" formatCode="0.00">
                  <c:v>0.28863642604872297</c:v>
                </c:pt>
                <c:pt idx="1827" formatCode="0.00">
                  <c:v>0.28923532325772394</c:v>
                </c:pt>
                <c:pt idx="1828" formatCode="0.00">
                  <c:v>0.28989886827467082</c:v>
                </c:pt>
                <c:pt idx="1829" formatCode="0.00">
                  <c:v>0.2900069200559115</c:v>
                </c:pt>
                <c:pt idx="1830" formatCode="0.00">
                  <c:v>0.28919710432827628</c:v>
                </c:pt>
                <c:pt idx="1831" formatCode="0.00">
                  <c:v>0.28929746296245051</c:v>
                </c:pt>
                <c:pt idx="1832" formatCode="0.00">
                  <c:v>0.28908326127850958</c:v>
                </c:pt>
                <c:pt idx="1833" formatCode="0.00">
                  <c:v>0.28898838019864553</c:v>
                </c:pt>
                <c:pt idx="1834" formatCode="0.00">
                  <c:v>0.28838869206211815</c:v>
                </c:pt>
                <c:pt idx="1835" formatCode="0.00">
                  <c:v>0.28834085133163428</c:v>
                </c:pt>
                <c:pt idx="1836" formatCode="0.00">
                  <c:v>0.28848045383396576</c:v>
                </c:pt>
                <c:pt idx="1837" formatCode="0.00">
                  <c:v>0.28846950551300998</c:v>
                </c:pt>
                <c:pt idx="1838" formatCode="0.00">
                  <c:v>0.28873497674789511</c:v>
                </c:pt>
                <c:pt idx="1839" formatCode="0.00">
                  <c:v>0.28887321312374126</c:v>
                </c:pt>
                <c:pt idx="1840" formatCode="0.00">
                  <c:v>0.2884886162988306</c:v>
                </c:pt>
                <c:pt idx="1841" formatCode="0.00">
                  <c:v>0.28849073498260952</c:v>
                </c:pt>
                <c:pt idx="1842" formatCode="0.00">
                  <c:v>0.28836259332870923</c:v>
                </c:pt>
                <c:pt idx="1843" formatCode="0.00">
                  <c:v>0.28848201380838917</c:v>
                </c:pt>
                <c:pt idx="1844" formatCode="0.00">
                  <c:v>0.29036991408915303</c:v>
                </c:pt>
                <c:pt idx="1845" formatCode="0.00">
                  <c:v>0.28952504189630501</c:v>
                </c:pt>
                <c:pt idx="1846" formatCode="0.00">
                  <c:v>0.28936605268223248</c:v>
                </c:pt>
                <c:pt idx="1847" formatCode="0.00">
                  <c:v>0.28960391994793583</c:v>
                </c:pt>
                <c:pt idx="1848" formatCode="0.00">
                  <c:v>0.28980830987303535</c:v>
                </c:pt>
                <c:pt idx="1849" formatCode="0.00">
                  <c:v>0.28952395958892496</c:v>
                </c:pt>
                <c:pt idx="1850" formatCode="0.00">
                  <c:v>0.28965345506767715</c:v>
                </c:pt>
                <c:pt idx="1851" formatCode="0.00">
                  <c:v>0.29117721230674687</c:v>
                </c:pt>
                <c:pt idx="1852" formatCode="0.00">
                  <c:v>0.29124328448087478</c:v>
                </c:pt>
                <c:pt idx="1853" formatCode="0.00">
                  <c:v>0.29162294780987474</c:v>
                </c:pt>
                <c:pt idx="1854" formatCode="0.00">
                  <c:v>0.29257677409847632</c:v>
                </c:pt>
                <c:pt idx="1855" formatCode="0.00">
                  <c:v>0.29261332088144276</c:v>
                </c:pt>
                <c:pt idx="1856" formatCode="0.00">
                  <c:v>0.29298516519212053</c:v>
                </c:pt>
                <c:pt idx="1857" formatCode="0.00">
                  <c:v>0.29303606364305268</c:v>
                </c:pt>
                <c:pt idx="1858" formatCode="0.00">
                  <c:v>0.2931629480229318</c:v>
                </c:pt>
                <c:pt idx="1859" formatCode="0.00">
                  <c:v>0.29315823076508463</c:v>
                </c:pt>
                <c:pt idx="1860" formatCode="0.00">
                  <c:v>0.29394226296355763</c:v>
                </c:pt>
                <c:pt idx="1861" formatCode="0.00">
                  <c:v>0.29376577308526652</c:v>
                </c:pt>
                <c:pt idx="1862" formatCode="0.00">
                  <c:v>0.29315577501893353</c:v>
                </c:pt>
                <c:pt idx="1863" formatCode="0.00">
                  <c:v>0.29331756262514069</c:v>
                </c:pt>
                <c:pt idx="1864" formatCode="0.00">
                  <c:v>0.29475118921573218</c:v>
                </c:pt>
                <c:pt idx="1865" formatCode="0.00">
                  <c:v>0.29629266027706558</c:v>
                </c:pt>
                <c:pt idx="1866" formatCode="0.00">
                  <c:v>0.29574013243226954</c:v>
                </c:pt>
                <c:pt idx="1867" formatCode="0.00">
                  <c:v>0.29572747793674642</c:v>
                </c:pt>
                <c:pt idx="1868" formatCode="0.00">
                  <c:v>0.29623266588885649</c:v>
                </c:pt>
                <c:pt idx="1869" formatCode="0.00">
                  <c:v>0.29516303967749863</c:v>
                </c:pt>
                <c:pt idx="1870" formatCode="0.00">
                  <c:v>0.29480154246029389</c:v>
                </c:pt>
                <c:pt idx="1871" formatCode="0.00">
                  <c:v>0.29513860050602037</c:v>
                </c:pt>
                <c:pt idx="1872" formatCode="0.00">
                  <c:v>0.29511728465887055</c:v>
                </c:pt>
                <c:pt idx="1873" formatCode="0.00">
                  <c:v>0.29310478160111808</c:v>
                </c:pt>
                <c:pt idx="1874" formatCode="0.00">
                  <c:v>0.29287701759397178</c:v>
                </c:pt>
                <c:pt idx="1875" formatCode="0.00">
                  <c:v>0.29280606593308728</c:v>
                </c:pt>
                <c:pt idx="1876" formatCode="0.00">
                  <c:v>0.29378168484066086</c:v>
                </c:pt>
                <c:pt idx="1877" formatCode="0.00">
                  <c:v>0.29385535889975489</c:v>
                </c:pt>
                <c:pt idx="1878" formatCode="0.00">
                  <c:v>0.29359246819247697</c:v>
                </c:pt>
                <c:pt idx="1879" formatCode="0.00">
                  <c:v>0.29355946989117765</c:v>
                </c:pt>
              </c:numCache>
            </c:numRef>
          </c:val>
          <c:smooth val="0"/>
        </c:ser>
        <c:dLbls>
          <c:showLegendKey val="0"/>
          <c:showVal val="0"/>
          <c:showCatName val="0"/>
          <c:showSerName val="0"/>
          <c:showPercent val="0"/>
          <c:showBubbleSize val="0"/>
        </c:dLbls>
        <c:marker val="1"/>
        <c:smooth val="0"/>
        <c:axId val="144366976"/>
        <c:axId val="144372864"/>
      </c:lineChart>
      <c:dateAx>
        <c:axId val="144366976"/>
        <c:scaling>
          <c:orientation val="minMax"/>
          <c:min val="41365"/>
        </c:scaling>
        <c:delete val="0"/>
        <c:axPos val="b"/>
        <c:majorGridlines/>
        <c:numFmt formatCode="mmm\-yy" sourceLinked="0"/>
        <c:majorTickMark val="out"/>
        <c:minorTickMark val="none"/>
        <c:tickLblPos val="nextTo"/>
        <c:crossAx val="144372864"/>
        <c:crosses val="autoZero"/>
        <c:auto val="1"/>
        <c:lblOffset val="100"/>
        <c:baseTimeUnit val="days"/>
        <c:majorUnit val="6"/>
        <c:majorTimeUnit val="months"/>
      </c:dateAx>
      <c:valAx>
        <c:axId val="144372864"/>
        <c:scaling>
          <c:orientation val="minMax"/>
        </c:scaling>
        <c:delete val="0"/>
        <c:axPos val="l"/>
        <c:majorGridlines/>
        <c:title>
          <c:tx>
            <c:rich>
              <a:bodyPr rot="-5400000" vert="horz"/>
              <a:lstStyle/>
              <a:p>
                <a:pPr>
                  <a:defRPr/>
                </a:pPr>
                <a:r>
                  <a:rPr lang="en-GB"/>
                  <a:t>Tracking Error (% p.a.)</a:t>
                </a:r>
              </a:p>
            </c:rich>
          </c:tx>
          <c:overlay val="0"/>
        </c:title>
        <c:numFmt formatCode="#,##0.00" sourceLinked="0"/>
        <c:majorTickMark val="out"/>
        <c:minorTickMark val="none"/>
        <c:tickLblPos val="nextTo"/>
        <c:crossAx val="144366976"/>
        <c:crosses val="autoZero"/>
        <c:crossBetween val="between"/>
      </c:valAx>
    </c:plotArea>
    <c:legend>
      <c:legendPos val="b"/>
      <c:overlay val="0"/>
    </c:legend>
    <c:plotVisOnly val="1"/>
    <c:dispBlanksAs val="gap"/>
    <c:showDLblsOverMax val="0"/>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cdr:x>
      <cdr:y>0.02118</cdr:y>
    </cdr:from>
    <cdr:to>
      <cdr:x>0.3125</cdr:x>
      <cdr:y>0.08502</cdr:y>
    </cdr:to>
    <cdr:sp macro="" textlink="">
      <cdr:nvSpPr>
        <cdr:cNvPr id="2" name="TextBox 1"/>
        <cdr:cNvSpPr txBox="1"/>
      </cdr:nvSpPr>
      <cdr:spPr>
        <a:xfrm xmlns:a="http://schemas.openxmlformats.org/drawingml/2006/main">
          <a:off x="0" y="72077"/>
          <a:ext cx="1214437" cy="21730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GB" sz="1100" b="1" dirty="0" smtClean="0"/>
            <a:t>VALUE</a:t>
          </a:r>
          <a:endParaRPr lang="en-GB" sz="1100" b="1" dirty="0"/>
        </a:p>
      </cdr:txBody>
    </cdr:sp>
  </cdr:relSizeAnchor>
  <cdr:relSizeAnchor xmlns:cdr="http://schemas.openxmlformats.org/drawingml/2006/chartDrawing">
    <cdr:from>
      <cdr:x>0</cdr:x>
      <cdr:y>0.12295</cdr:y>
    </cdr:from>
    <cdr:to>
      <cdr:x>0.3125</cdr:x>
      <cdr:y>0.1868</cdr:y>
    </cdr:to>
    <cdr:sp macro="" textlink="">
      <cdr:nvSpPr>
        <cdr:cNvPr id="3" name="TextBox 1"/>
        <cdr:cNvSpPr txBox="1"/>
      </cdr:nvSpPr>
      <cdr:spPr>
        <a:xfrm xmlns:a="http://schemas.openxmlformats.org/drawingml/2006/main">
          <a:off x="0" y="381000"/>
          <a:ext cx="1214437" cy="197844"/>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dirty="0"/>
            <a:t> </a:t>
          </a:r>
          <a:r>
            <a:rPr lang="en-GB" dirty="0" smtClean="0"/>
            <a:t>  </a:t>
          </a:r>
          <a:r>
            <a:rPr lang="en-GB" dirty="0"/>
            <a:t>E</a:t>
          </a:r>
          <a:r>
            <a:rPr lang="en-GB" dirty="0" smtClean="0"/>
            <a:t>arnings Yield </a:t>
          </a:r>
          <a:endParaRPr lang="en-GB" sz="1100" dirty="0"/>
        </a:p>
      </cdr:txBody>
    </cdr:sp>
  </cdr:relSizeAnchor>
  <cdr:relSizeAnchor xmlns:cdr="http://schemas.openxmlformats.org/drawingml/2006/chartDrawing">
    <cdr:from>
      <cdr:x>0</cdr:x>
      <cdr:y>0.19887</cdr:y>
    </cdr:from>
    <cdr:to>
      <cdr:x>0.3125</cdr:x>
      <cdr:y>0.26271</cdr:y>
    </cdr:to>
    <cdr:sp macro="" textlink="">
      <cdr:nvSpPr>
        <cdr:cNvPr id="4" name="TextBox 1"/>
        <cdr:cNvSpPr txBox="1"/>
      </cdr:nvSpPr>
      <cdr:spPr>
        <a:xfrm xmlns:a="http://schemas.openxmlformats.org/drawingml/2006/main">
          <a:off x="0" y="616243"/>
          <a:ext cx="1214437" cy="197842"/>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dirty="0"/>
            <a:t> </a:t>
          </a:r>
          <a:r>
            <a:rPr lang="en-GB" dirty="0" smtClean="0"/>
            <a:t>  Book to Price</a:t>
          </a:r>
          <a:endParaRPr lang="en-GB" sz="1100" dirty="0"/>
        </a:p>
      </cdr:txBody>
    </cdr:sp>
  </cdr:relSizeAnchor>
  <cdr:relSizeAnchor xmlns:cdr="http://schemas.openxmlformats.org/drawingml/2006/chartDrawing">
    <cdr:from>
      <cdr:x>0</cdr:x>
      <cdr:y>0.29833</cdr:y>
    </cdr:from>
    <cdr:to>
      <cdr:x>0.3125</cdr:x>
      <cdr:y>0.36218</cdr:y>
    </cdr:to>
    <cdr:sp macro="" textlink="">
      <cdr:nvSpPr>
        <cdr:cNvPr id="5" name="TextBox 1"/>
        <cdr:cNvSpPr txBox="1"/>
      </cdr:nvSpPr>
      <cdr:spPr>
        <a:xfrm xmlns:a="http://schemas.openxmlformats.org/drawingml/2006/main">
          <a:off x="0" y="924467"/>
          <a:ext cx="1214437" cy="19784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b="0" dirty="0" smtClean="0"/>
            <a:t>   Dividend Yield</a:t>
          </a:r>
          <a:endParaRPr lang="en-GB" sz="1100" b="0" dirty="0"/>
        </a:p>
      </cdr:txBody>
    </cdr:sp>
  </cdr:relSizeAnchor>
  <cdr:relSizeAnchor xmlns:cdr="http://schemas.openxmlformats.org/drawingml/2006/chartDrawing">
    <cdr:from>
      <cdr:x>0</cdr:x>
      <cdr:y>0.40537</cdr:y>
    </cdr:from>
    <cdr:to>
      <cdr:x>0.3125</cdr:x>
      <cdr:y>0.46922</cdr:y>
    </cdr:to>
    <cdr:sp macro="" textlink="">
      <cdr:nvSpPr>
        <cdr:cNvPr id="6" name="TextBox 1"/>
        <cdr:cNvSpPr txBox="1"/>
      </cdr:nvSpPr>
      <cdr:spPr>
        <a:xfrm xmlns:a="http://schemas.openxmlformats.org/drawingml/2006/main">
          <a:off x="0" y="1256164"/>
          <a:ext cx="1214437" cy="19784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b="1" dirty="0"/>
            <a:t>S</a:t>
          </a:r>
          <a:r>
            <a:rPr lang="en-GB" b="1" dirty="0" smtClean="0"/>
            <a:t>ize (</a:t>
          </a:r>
          <a:r>
            <a:rPr lang="en-GB" b="1" dirty="0" err="1" smtClean="0"/>
            <a:t>Smallcap</a:t>
          </a:r>
          <a:r>
            <a:rPr lang="en-GB" b="1" dirty="0" smtClean="0"/>
            <a:t>)</a:t>
          </a:r>
          <a:endParaRPr lang="en-GB" sz="1100" b="1" dirty="0"/>
        </a:p>
      </cdr:txBody>
    </cdr:sp>
  </cdr:relSizeAnchor>
  <cdr:relSizeAnchor xmlns:cdr="http://schemas.openxmlformats.org/drawingml/2006/chartDrawing">
    <cdr:from>
      <cdr:x>0</cdr:x>
      <cdr:y>0.49182</cdr:y>
    </cdr:from>
    <cdr:to>
      <cdr:x>0.3125</cdr:x>
      <cdr:y>0.55566</cdr:y>
    </cdr:to>
    <cdr:sp macro="" textlink="">
      <cdr:nvSpPr>
        <cdr:cNvPr id="7" name="TextBox 1"/>
        <cdr:cNvSpPr txBox="1"/>
      </cdr:nvSpPr>
      <cdr:spPr>
        <a:xfrm xmlns:a="http://schemas.openxmlformats.org/drawingml/2006/main">
          <a:off x="0" y="1524047"/>
          <a:ext cx="1214437" cy="197842"/>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b="1" dirty="0" smtClean="0"/>
            <a:t>Momentum</a:t>
          </a:r>
          <a:endParaRPr lang="en-GB" sz="1100" b="1" dirty="0"/>
        </a:p>
      </cdr:txBody>
    </cdr:sp>
  </cdr:relSizeAnchor>
  <cdr:relSizeAnchor xmlns:cdr="http://schemas.openxmlformats.org/drawingml/2006/chartDrawing">
    <cdr:from>
      <cdr:x>0</cdr:x>
      <cdr:y>0.56764</cdr:y>
    </cdr:from>
    <cdr:to>
      <cdr:x>0.3125</cdr:x>
      <cdr:y>0.63149</cdr:y>
    </cdr:to>
    <cdr:sp macro="" textlink="">
      <cdr:nvSpPr>
        <cdr:cNvPr id="8" name="TextBox 1"/>
        <cdr:cNvSpPr txBox="1"/>
      </cdr:nvSpPr>
      <cdr:spPr>
        <a:xfrm xmlns:a="http://schemas.openxmlformats.org/drawingml/2006/main">
          <a:off x="0" y="1759004"/>
          <a:ext cx="1214437" cy="19784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sz="1100" b="1" dirty="0" smtClean="0"/>
            <a:t>Quality</a:t>
          </a:r>
          <a:endParaRPr lang="en-GB" sz="1100" b="1" dirty="0"/>
        </a:p>
      </cdr:txBody>
    </cdr:sp>
  </cdr:relSizeAnchor>
  <cdr:relSizeAnchor xmlns:cdr="http://schemas.openxmlformats.org/drawingml/2006/chartDrawing">
    <cdr:from>
      <cdr:x>0</cdr:x>
      <cdr:y>0.64855</cdr:y>
    </cdr:from>
    <cdr:to>
      <cdr:x>0.3125</cdr:x>
      <cdr:y>0.7124</cdr:y>
    </cdr:to>
    <cdr:sp macro="" textlink="">
      <cdr:nvSpPr>
        <cdr:cNvPr id="9" name="TextBox 1"/>
        <cdr:cNvSpPr txBox="1"/>
      </cdr:nvSpPr>
      <cdr:spPr>
        <a:xfrm xmlns:a="http://schemas.openxmlformats.org/drawingml/2006/main">
          <a:off x="0" y="2009733"/>
          <a:ext cx="1214437" cy="19784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dirty="0"/>
            <a:t> </a:t>
          </a:r>
          <a:r>
            <a:rPr lang="en-GB" dirty="0" smtClean="0"/>
            <a:t>  ROE</a:t>
          </a:r>
          <a:endParaRPr lang="en-GB" sz="1100" dirty="0"/>
        </a:p>
      </cdr:txBody>
    </cdr:sp>
  </cdr:relSizeAnchor>
  <cdr:relSizeAnchor xmlns:cdr="http://schemas.openxmlformats.org/drawingml/2006/chartDrawing">
    <cdr:from>
      <cdr:x>0</cdr:x>
      <cdr:y>0.79681</cdr:y>
    </cdr:from>
    <cdr:to>
      <cdr:x>0.3125</cdr:x>
      <cdr:y>0.86066</cdr:y>
    </cdr:to>
    <cdr:sp macro="" textlink="">
      <cdr:nvSpPr>
        <cdr:cNvPr id="11" name="TextBox 1"/>
        <cdr:cNvSpPr txBox="1"/>
      </cdr:nvSpPr>
      <cdr:spPr>
        <a:xfrm xmlns:a="http://schemas.openxmlformats.org/drawingml/2006/main">
          <a:off x="0" y="2469157"/>
          <a:ext cx="1214437" cy="19784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dirty="0"/>
            <a:t> </a:t>
          </a:r>
          <a:r>
            <a:rPr lang="en-GB" dirty="0" smtClean="0"/>
            <a:t>  Low Volatility</a:t>
          </a:r>
          <a:endParaRPr lang="en-GB" sz="1100" dirty="0"/>
        </a:p>
      </cdr:txBody>
    </cdr:sp>
  </cdr:relSizeAnchor>
  <cdr:relSizeAnchor xmlns:cdr="http://schemas.openxmlformats.org/drawingml/2006/chartDrawing">
    <cdr:from>
      <cdr:x>0</cdr:x>
      <cdr:y>0.71945</cdr:y>
    </cdr:from>
    <cdr:to>
      <cdr:x>0.3125</cdr:x>
      <cdr:y>0.7833</cdr:y>
    </cdr:to>
    <cdr:sp macro="" textlink="">
      <cdr:nvSpPr>
        <cdr:cNvPr id="10" name="TextBox 1"/>
        <cdr:cNvSpPr txBox="1"/>
      </cdr:nvSpPr>
      <cdr:spPr>
        <a:xfrm xmlns:a="http://schemas.openxmlformats.org/drawingml/2006/main">
          <a:off x="0" y="2229436"/>
          <a:ext cx="1214437" cy="197844"/>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dirty="0"/>
            <a:t> </a:t>
          </a:r>
          <a:r>
            <a:rPr lang="en-GB" dirty="0" smtClean="0"/>
            <a:t>  D/E</a:t>
          </a:r>
          <a:endParaRPr lang="en-GB" sz="1100" dirty="0"/>
        </a:p>
      </cdr:txBody>
    </cdr:sp>
  </cdr:relSizeAnchor>
  <cdr:relSizeAnchor xmlns:cdr="http://schemas.openxmlformats.org/drawingml/2006/chartDrawing">
    <cdr:from>
      <cdr:x>0.36887</cdr:x>
      <cdr:y>0.92864</cdr:y>
    </cdr:from>
    <cdr:to>
      <cdr:x>0.93015</cdr:x>
      <cdr:y>1</cdr:y>
    </cdr:to>
    <cdr:sp macro="" textlink="">
      <cdr:nvSpPr>
        <cdr:cNvPr id="12" name="TextBox 11"/>
        <cdr:cNvSpPr txBox="1"/>
      </cdr:nvSpPr>
      <cdr:spPr>
        <a:xfrm xmlns:a="http://schemas.openxmlformats.org/drawingml/2006/main">
          <a:off x="1433512" y="3160709"/>
          <a:ext cx="2181225" cy="24289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GB" dirty="0" smtClean="0"/>
            <a:t>Average Rank Correlation</a:t>
          </a:r>
          <a:endParaRPr lang="en-GB" sz="1100" dirty="0"/>
        </a:p>
      </cdr:txBody>
    </cdr:sp>
  </cdr:relSizeAnchor>
</c:userShapes>
</file>

<file path=ppt/drawings/drawing2.xml><?xml version="1.0" encoding="utf-8"?>
<c:userShapes xmlns:c="http://schemas.openxmlformats.org/drawingml/2006/chart">
  <cdr:relSizeAnchor xmlns:cdr="http://schemas.openxmlformats.org/drawingml/2006/chartDrawing">
    <cdr:from>
      <cdr:x>0</cdr:x>
      <cdr:y>0</cdr:y>
    </cdr:from>
    <cdr:to>
      <cdr:x>0.3125</cdr:x>
      <cdr:y>0.06221</cdr:y>
    </cdr:to>
    <cdr:sp macro="" textlink="">
      <cdr:nvSpPr>
        <cdr:cNvPr id="2" name="TextBox 1"/>
        <cdr:cNvSpPr txBox="1"/>
      </cdr:nvSpPr>
      <cdr:spPr>
        <a:xfrm xmlns:a="http://schemas.openxmlformats.org/drawingml/2006/main">
          <a:off x="0" y="-2666999"/>
          <a:ext cx="1214437" cy="225878"/>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sz="1100" b="1" dirty="0" smtClean="0"/>
            <a:t>VALUE</a:t>
          </a:r>
          <a:endParaRPr lang="en-GB" sz="1100" b="1" dirty="0"/>
        </a:p>
      </cdr:txBody>
    </cdr:sp>
  </cdr:relSizeAnchor>
  <cdr:relSizeAnchor xmlns:cdr="http://schemas.openxmlformats.org/drawingml/2006/chartDrawing">
    <cdr:from>
      <cdr:x>0</cdr:x>
      <cdr:y>0.08904</cdr:y>
    </cdr:from>
    <cdr:to>
      <cdr:x>0.3125</cdr:x>
      <cdr:y>0.15126</cdr:y>
    </cdr:to>
    <cdr:sp macro="" textlink="">
      <cdr:nvSpPr>
        <cdr:cNvPr id="3" name="TextBox 1"/>
        <cdr:cNvSpPr txBox="1"/>
      </cdr:nvSpPr>
      <cdr:spPr>
        <a:xfrm xmlns:a="http://schemas.openxmlformats.org/drawingml/2006/main">
          <a:off x="0" y="267517"/>
          <a:ext cx="1214437" cy="186915"/>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dirty="0"/>
            <a:t> </a:t>
          </a:r>
          <a:r>
            <a:rPr lang="en-GB" dirty="0" smtClean="0"/>
            <a:t>  </a:t>
          </a:r>
          <a:r>
            <a:rPr lang="en-GB" dirty="0"/>
            <a:t>E</a:t>
          </a:r>
          <a:r>
            <a:rPr lang="en-GB" dirty="0" smtClean="0"/>
            <a:t>arnings Yield </a:t>
          </a:r>
          <a:endParaRPr lang="en-GB" sz="1100" dirty="0"/>
        </a:p>
      </cdr:txBody>
    </cdr:sp>
  </cdr:relSizeAnchor>
  <cdr:relSizeAnchor xmlns:cdr="http://schemas.openxmlformats.org/drawingml/2006/chartDrawing">
    <cdr:from>
      <cdr:x>0</cdr:x>
      <cdr:y>0.17877</cdr:y>
    </cdr:from>
    <cdr:to>
      <cdr:x>0.3125</cdr:x>
      <cdr:y>0.24099</cdr:y>
    </cdr:to>
    <cdr:sp macro="" textlink="">
      <cdr:nvSpPr>
        <cdr:cNvPr id="4" name="TextBox 1"/>
        <cdr:cNvSpPr txBox="1"/>
      </cdr:nvSpPr>
      <cdr:spPr>
        <a:xfrm xmlns:a="http://schemas.openxmlformats.org/drawingml/2006/main">
          <a:off x="0" y="537102"/>
          <a:ext cx="1214437" cy="186915"/>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dirty="0"/>
            <a:t> </a:t>
          </a:r>
          <a:r>
            <a:rPr lang="en-GB" dirty="0" smtClean="0"/>
            <a:t>  Book to Price</a:t>
          </a:r>
          <a:endParaRPr lang="en-GB" sz="1100" dirty="0"/>
        </a:p>
      </cdr:txBody>
    </cdr:sp>
  </cdr:relSizeAnchor>
  <cdr:relSizeAnchor xmlns:cdr="http://schemas.openxmlformats.org/drawingml/2006/chartDrawing">
    <cdr:from>
      <cdr:x>0</cdr:x>
      <cdr:y>0.25085</cdr:y>
    </cdr:from>
    <cdr:to>
      <cdr:x>0.3125</cdr:x>
      <cdr:y>0.31584</cdr:y>
    </cdr:to>
    <cdr:sp macro="" textlink="">
      <cdr:nvSpPr>
        <cdr:cNvPr id="5" name="TextBox 1"/>
        <cdr:cNvSpPr txBox="1"/>
      </cdr:nvSpPr>
      <cdr:spPr>
        <a:xfrm xmlns:a="http://schemas.openxmlformats.org/drawingml/2006/main">
          <a:off x="0" y="753629"/>
          <a:ext cx="1214437" cy="195252"/>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dirty="0" smtClean="0"/>
            <a:t>   Dividend Yield</a:t>
          </a:r>
          <a:endParaRPr lang="en-GB" sz="1100" dirty="0"/>
        </a:p>
      </cdr:txBody>
    </cdr:sp>
  </cdr:relSizeAnchor>
  <cdr:relSizeAnchor xmlns:cdr="http://schemas.openxmlformats.org/drawingml/2006/chartDrawing">
    <cdr:from>
      <cdr:x>0</cdr:x>
      <cdr:y>0.36904</cdr:y>
    </cdr:from>
    <cdr:to>
      <cdr:x>0.3125</cdr:x>
      <cdr:y>0.43403</cdr:y>
    </cdr:to>
    <cdr:sp macro="" textlink="">
      <cdr:nvSpPr>
        <cdr:cNvPr id="6" name="TextBox 1"/>
        <cdr:cNvSpPr txBox="1"/>
      </cdr:nvSpPr>
      <cdr:spPr>
        <a:xfrm xmlns:a="http://schemas.openxmlformats.org/drawingml/2006/main">
          <a:off x="0" y="1108734"/>
          <a:ext cx="1214437" cy="195252"/>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b="1" dirty="0" smtClean="0"/>
            <a:t>Size (</a:t>
          </a:r>
          <a:r>
            <a:rPr lang="en-GB" b="1" dirty="0" err="1" smtClean="0"/>
            <a:t>Smallcap</a:t>
          </a:r>
          <a:r>
            <a:rPr lang="en-GB" b="1" dirty="0" smtClean="0"/>
            <a:t>)</a:t>
          </a:r>
          <a:endParaRPr lang="en-GB" sz="1100" b="1" dirty="0"/>
        </a:p>
      </cdr:txBody>
    </cdr:sp>
  </cdr:relSizeAnchor>
  <cdr:relSizeAnchor xmlns:cdr="http://schemas.openxmlformats.org/drawingml/2006/chartDrawing">
    <cdr:from>
      <cdr:x>0</cdr:x>
      <cdr:y>0.4759</cdr:y>
    </cdr:from>
    <cdr:to>
      <cdr:x>0.3125</cdr:x>
      <cdr:y>0.54089</cdr:y>
    </cdr:to>
    <cdr:sp macro="" textlink="">
      <cdr:nvSpPr>
        <cdr:cNvPr id="7" name="TextBox 1"/>
        <cdr:cNvSpPr txBox="1"/>
      </cdr:nvSpPr>
      <cdr:spPr>
        <a:xfrm xmlns:a="http://schemas.openxmlformats.org/drawingml/2006/main">
          <a:off x="0" y="1429761"/>
          <a:ext cx="1214437" cy="195252"/>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b="1" dirty="0" smtClean="0"/>
            <a:t>Momentum</a:t>
          </a:r>
          <a:endParaRPr lang="en-GB" sz="1100" b="1" dirty="0"/>
        </a:p>
      </cdr:txBody>
    </cdr:sp>
  </cdr:relSizeAnchor>
  <cdr:relSizeAnchor xmlns:cdr="http://schemas.openxmlformats.org/drawingml/2006/chartDrawing">
    <cdr:from>
      <cdr:x>0</cdr:x>
      <cdr:y>0.54577</cdr:y>
    </cdr:from>
    <cdr:to>
      <cdr:x>0.3125</cdr:x>
      <cdr:y>0.61076</cdr:y>
    </cdr:to>
    <cdr:sp macro="" textlink="">
      <cdr:nvSpPr>
        <cdr:cNvPr id="8" name="TextBox 1"/>
        <cdr:cNvSpPr txBox="1"/>
      </cdr:nvSpPr>
      <cdr:spPr>
        <a:xfrm xmlns:a="http://schemas.openxmlformats.org/drawingml/2006/main">
          <a:off x="0" y="1639682"/>
          <a:ext cx="1214437" cy="195252"/>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sz="1100" b="1" dirty="0" smtClean="0"/>
            <a:t>Quality</a:t>
          </a:r>
          <a:endParaRPr lang="en-GB" sz="1100" b="1" dirty="0"/>
        </a:p>
      </cdr:txBody>
    </cdr:sp>
  </cdr:relSizeAnchor>
  <cdr:relSizeAnchor xmlns:cdr="http://schemas.openxmlformats.org/drawingml/2006/chartDrawing">
    <cdr:from>
      <cdr:x>0</cdr:x>
      <cdr:y>0.62038</cdr:y>
    </cdr:from>
    <cdr:to>
      <cdr:x>0.3125</cdr:x>
      <cdr:y>0.68537</cdr:y>
    </cdr:to>
    <cdr:sp macro="" textlink="">
      <cdr:nvSpPr>
        <cdr:cNvPr id="9" name="TextBox 1"/>
        <cdr:cNvSpPr txBox="1"/>
      </cdr:nvSpPr>
      <cdr:spPr>
        <a:xfrm xmlns:a="http://schemas.openxmlformats.org/drawingml/2006/main">
          <a:off x="0" y="1863834"/>
          <a:ext cx="1214437" cy="195252"/>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dirty="0"/>
            <a:t> </a:t>
          </a:r>
          <a:r>
            <a:rPr lang="en-GB" dirty="0" smtClean="0"/>
            <a:t>  ROE</a:t>
          </a:r>
          <a:endParaRPr lang="en-GB" sz="1100" dirty="0"/>
        </a:p>
      </cdr:txBody>
    </cdr:sp>
  </cdr:relSizeAnchor>
  <cdr:relSizeAnchor xmlns:cdr="http://schemas.openxmlformats.org/drawingml/2006/chartDrawing">
    <cdr:from>
      <cdr:x>0</cdr:x>
      <cdr:y>0.72071</cdr:y>
    </cdr:from>
    <cdr:to>
      <cdr:x>0.3125</cdr:x>
      <cdr:y>0.7857</cdr:y>
    </cdr:to>
    <cdr:sp macro="" textlink="">
      <cdr:nvSpPr>
        <cdr:cNvPr id="10" name="TextBox 1"/>
        <cdr:cNvSpPr txBox="1"/>
      </cdr:nvSpPr>
      <cdr:spPr>
        <a:xfrm xmlns:a="http://schemas.openxmlformats.org/drawingml/2006/main">
          <a:off x="0" y="2165262"/>
          <a:ext cx="1214437" cy="195252"/>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dirty="0"/>
            <a:t> </a:t>
          </a:r>
          <a:r>
            <a:rPr lang="en-GB" dirty="0" smtClean="0"/>
            <a:t>  D/E</a:t>
          </a:r>
          <a:endParaRPr lang="en-GB" sz="1100" dirty="0"/>
        </a:p>
      </cdr:txBody>
    </cdr:sp>
  </cdr:relSizeAnchor>
  <cdr:relSizeAnchor xmlns:cdr="http://schemas.openxmlformats.org/drawingml/2006/chartDrawing">
    <cdr:from>
      <cdr:x>0</cdr:x>
      <cdr:y>0.81004</cdr:y>
    </cdr:from>
    <cdr:to>
      <cdr:x>0.3125</cdr:x>
      <cdr:y>0.87503</cdr:y>
    </cdr:to>
    <cdr:sp macro="" textlink="">
      <cdr:nvSpPr>
        <cdr:cNvPr id="11" name="TextBox 1"/>
        <cdr:cNvSpPr txBox="1"/>
      </cdr:nvSpPr>
      <cdr:spPr>
        <a:xfrm xmlns:a="http://schemas.openxmlformats.org/drawingml/2006/main">
          <a:off x="0" y="2433649"/>
          <a:ext cx="1214437" cy="195251"/>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dirty="0"/>
            <a:t> </a:t>
          </a:r>
          <a:r>
            <a:rPr lang="en-GB" dirty="0" smtClean="0"/>
            <a:t>  Low Volatility</a:t>
          </a:r>
          <a:endParaRPr lang="en-GB" sz="1100" dirty="0"/>
        </a:p>
      </cdr:txBody>
    </cdr:sp>
  </cdr:relSizeAnchor>
  <cdr:relSizeAnchor xmlns:cdr="http://schemas.openxmlformats.org/drawingml/2006/chartDrawing">
    <cdr:from>
      <cdr:x>0.38194</cdr:x>
      <cdr:y>0.9258</cdr:y>
    </cdr:from>
    <cdr:to>
      <cdr:x>0.94322</cdr:x>
      <cdr:y>0.99425</cdr:y>
    </cdr:to>
    <cdr:sp macro="" textlink="">
      <cdr:nvSpPr>
        <cdr:cNvPr id="12" name="TextBox 1"/>
        <cdr:cNvSpPr txBox="1"/>
      </cdr:nvSpPr>
      <cdr:spPr>
        <a:xfrm xmlns:a="http://schemas.openxmlformats.org/drawingml/2006/main">
          <a:off x="1484312" y="2990850"/>
          <a:ext cx="2181225" cy="22114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dirty="0" smtClean="0"/>
            <a:t>Average Rank Correlation</a:t>
          </a:r>
          <a:endParaRPr lang="en-GB" sz="110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4" cy="513507"/>
          </a:xfrm>
          <a:prstGeom prst="rect">
            <a:avLst/>
          </a:prstGeom>
        </p:spPr>
        <p:txBody>
          <a:bodyPr vert="horz" lIns="96416" tIns="48209" rIns="96416" bIns="48209" rtlCol="0"/>
          <a:lstStyle>
            <a:lvl1pPr algn="l">
              <a:defRPr sz="1200"/>
            </a:lvl1pPr>
          </a:lstStyle>
          <a:p>
            <a:endParaRPr lang="en-US" dirty="0"/>
          </a:p>
        </p:txBody>
      </p:sp>
      <p:sp>
        <p:nvSpPr>
          <p:cNvPr id="3" name="Date Placeholder 2"/>
          <p:cNvSpPr>
            <a:spLocks noGrp="1"/>
          </p:cNvSpPr>
          <p:nvPr>
            <p:ph type="dt" sz="quarter" idx="1"/>
          </p:nvPr>
        </p:nvSpPr>
        <p:spPr>
          <a:xfrm>
            <a:off x="4021295" y="0"/>
            <a:ext cx="3076364" cy="513507"/>
          </a:xfrm>
          <a:prstGeom prst="rect">
            <a:avLst/>
          </a:prstGeom>
        </p:spPr>
        <p:txBody>
          <a:bodyPr vert="horz" lIns="96416" tIns="48209" rIns="96416" bIns="48209" rtlCol="0"/>
          <a:lstStyle>
            <a:lvl1pPr algn="r">
              <a:defRPr sz="1200"/>
            </a:lvl1pPr>
          </a:lstStyle>
          <a:p>
            <a:fld id="{047A38AB-5C56-4AB7-A637-4FDDD81E3AD7}" type="datetimeFigureOut">
              <a:rPr lang="en-US" smtClean="0"/>
              <a:t>9/6/2019</a:t>
            </a:fld>
            <a:endParaRPr lang="en-US" dirty="0"/>
          </a:p>
        </p:txBody>
      </p:sp>
      <p:sp>
        <p:nvSpPr>
          <p:cNvPr id="4" name="Footer Placeholder 3"/>
          <p:cNvSpPr>
            <a:spLocks noGrp="1"/>
          </p:cNvSpPr>
          <p:nvPr>
            <p:ph type="ftr" sz="quarter" idx="2"/>
          </p:nvPr>
        </p:nvSpPr>
        <p:spPr>
          <a:xfrm>
            <a:off x="0" y="9721108"/>
            <a:ext cx="3076364" cy="513506"/>
          </a:xfrm>
          <a:prstGeom prst="rect">
            <a:avLst/>
          </a:prstGeom>
        </p:spPr>
        <p:txBody>
          <a:bodyPr vert="horz" lIns="96416" tIns="48209" rIns="96416" bIns="48209" rtlCol="0" anchor="b"/>
          <a:lstStyle>
            <a:lvl1pPr algn="l">
              <a:defRPr sz="1200"/>
            </a:lvl1pPr>
          </a:lstStyle>
          <a:p>
            <a:endParaRPr lang="en-US" dirty="0"/>
          </a:p>
        </p:txBody>
      </p:sp>
      <p:sp>
        <p:nvSpPr>
          <p:cNvPr id="5" name="Slide Number Placeholder 4"/>
          <p:cNvSpPr>
            <a:spLocks noGrp="1"/>
          </p:cNvSpPr>
          <p:nvPr>
            <p:ph type="sldNum" sz="quarter" idx="3"/>
          </p:nvPr>
        </p:nvSpPr>
        <p:spPr>
          <a:xfrm>
            <a:off x="4021295" y="9721108"/>
            <a:ext cx="3076364" cy="513506"/>
          </a:xfrm>
          <a:prstGeom prst="rect">
            <a:avLst/>
          </a:prstGeom>
        </p:spPr>
        <p:txBody>
          <a:bodyPr vert="horz" lIns="96416" tIns="48209" rIns="96416" bIns="48209" rtlCol="0" anchor="b"/>
          <a:lstStyle>
            <a:lvl1pPr algn="r">
              <a:defRPr sz="1200"/>
            </a:lvl1pPr>
          </a:lstStyle>
          <a:p>
            <a:fld id="{05FEBF84-6D90-4FE0-9DA9-7EBFF50238FB}" type="slidenum">
              <a:rPr lang="en-US" smtClean="0"/>
              <a:t>‹#›</a:t>
            </a:fld>
            <a:endParaRPr lang="en-US" dirty="0"/>
          </a:p>
        </p:txBody>
      </p:sp>
    </p:spTree>
    <p:extLst>
      <p:ext uri="{BB962C8B-B14F-4D97-AF65-F5344CB8AC3E}">
        <p14:creationId xmlns:p14="http://schemas.microsoft.com/office/powerpoint/2010/main" val="99515723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4" cy="513507"/>
          </a:xfrm>
          <a:prstGeom prst="rect">
            <a:avLst/>
          </a:prstGeom>
        </p:spPr>
        <p:txBody>
          <a:bodyPr vert="horz" lIns="96416" tIns="48209" rIns="96416" bIns="48209" rtlCol="0"/>
          <a:lstStyle>
            <a:lvl1pPr algn="l">
              <a:defRPr sz="1200"/>
            </a:lvl1pPr>
          </a:lstStyle>
          <a:p>
            <a:endParaRPr lang="en-US" dirty="0"/>
          </a:p>
        </p:txBody>
      </p:sp>
      <p:sp>
        <p:nvSpPr>
          <p:cNvPr id="3" name="Date Placeholder 2"/>
          <p:cNvSpPr>
            <a:spLocks noGrp="1"/>
          </p:cNvSpPr>
          <p:nvPr>
            <p:ph type="dt" idx="1"/>
          </p:nvPr>
        </p:nvSpPr>
        <p:spPr>
          <a:xfrm>
            <a:off x="4021295" y="0"/>
            <a:ext cx="3076364" cy="513507"/>
          </a:xfrm>
          <a:prstGeom prst="rect">
            <a:avLst/>
          </a:prstGeom>
        </p:spPr>
        <p:txBody>
          <a:bodyPr vert="horz" lIns="96416" tIns="48209" rIns="96416" bIns="48209" rtlCol="0"/>
          <a:lstStyle>
            <a:lvl1pPr algn="r">
              <a:defRPr sz="1200"/>
            </a:lvl1pPr>
          </a:lstStyle>
          <a:p>
            <a:fld id="{3F504BE4-1C3A-423F-B4E5-B89DFD667A48}" type="datetimeFigureOut">
              <a:rPr lang="en-US" smtClean="0"/>
              <a:t>9/6/2019</a:t>
            </a:fld>
            <a:endParaRPr lang="en-US" dirty="0"/>
          </a:p>
        </p:txBody>
      </p:sp>
      <p:sp>
        <p:nvSpPr>
          <p:cNvPr id="4" name="Slide Image Placeholder 3"/>
          <p:cNvSpPr>
            <a:spLocks noGrp="1" noRot="1" noChangeAspect="1"/>
          </p:cNvSpPr>
          <p:nvPr>
            <p:ph type="sldImg" idx="2"/>
          </p:nvPr>
        </p:nvSpPr>
        <p:spPr>
          <a:xfrm>
            <a:off x="1246188" y="1279525"/>
            <a:ext cx="4606925" cy="3454400"/>
          </a:xfrm>
          <a:prstGeom prst="rect">
            <a:avLst/>
          </a:prstGeom>
          <a:noFill/>
          <a:ln w="12700">
            <a:solidFill>
              <a:prstClr val="black"/>
            </a:solidFill>
          </a:ln>
        </p:spPr>
        <p:txBody>
          <a:bodyPr vert="horz" lIns="96416" tIns="48209" rIns="96416" bIns="48209" rtlCol="0" anchor="ctr"/>
          <a:lstStyle/>
          <a:p>
            <a:endParaRPr lang="en-US" dirty="0"/>
          </a:p>
        </p:txBody>
      </p:sp>
      <p:sp>
        <p:nvSpPr>
          <p:cNvPr id="5" name="Notes Placeholder 4"/>
          <p:cNvSpPr>
            <a:spLocks noGrp="1"/>
          </p:cNvSpPr>
          <p:nvPr>
            <p:ph type="body" sz="quarter" idx="3"/>
          </p:nvPr>
        </p:nvSpPr>
        <p:spPr>
          <a:xfrm>
            <a:off x="709930" y="4925406"/>
            <a:ext cx="5679440" cy="4029880"/>
          </a:xfrm>
          <a:prstGeom prst="rect">
            <a:avLst/>
          </a:prstGeom>
        </p:spPr>
        <p:txBody>
          <a:bodyPr vert="horz" lIns="96416" tIns="48209" rIns="96416" bIns="4820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721108"/>
            <a:ext cx="3076364" cy="513506"/>
          </a:xfrm>
          <a:prstGeom prst="rect">
            <a:avLst/>
          </a:prstGeom>
        </p:spPr>
        <p:txBody>
          <a:bodyPr vert="horz" lIns="96416" tIns="48209" rIns="96416" bIns="48209" rtlCol="0" anchor="b"/>
          <a:lstStyle>
            <a:lvl1pPr algn="l">
              <a:defRPr sz="1200"/>
            </a:lvl1pPr>
          </a:lstStyle>
          <a:p>
            <a:endParaRPr lang="en-US" dirty="0"/>
          </a:p>
        </p:txBody>
      </p:sp>
      <p:sp>
        <p:nvSpPr>
          <p:cNvPr id="7" name="Slide Number Placeholder 6"/>
          <p:cNvSpPr>
            <a:spLocks noGrp="1"/>
          </p:cNvSpPr>
          <p:nvPr>
            <p:ph type="sldNum" sz="quarter" idx="5"/>
          </p:nvPr>
        </p:nvSpPr>
        <p:spPr>
          <a:xfrm>
            <a:off x="4021295" y="9721108"/>
            <a:ext cx="3076364" cy="513506"/>
          </a:xfrm>
          <a:prstGeom prst="rect">
            <a:avLst/>
          </a:prstGeom>
        </p:spPr>
        <p:txBody>
          <a:bodyPr vert="horz" lIns="96416" tIns="48209" rIns="96416" bIns="48209" rtlCol="0" anchor="b"/>
          <a:lstStyle>
            <a:lvl1pPr algn="r">
              <a:defRPr sz="1200"/>
            </a:lvl1pPr>
          </a:lstStyle>
          <a:p>
            <a:fld id="{D8D980F8-E3F2-431A-88B7-E9D686125FCF}" type="slidenum">
              <a:rPr lang="en-US" smtClean="0"/>
              <a:t>‹#›</a:t>
            </a:fld>
            <a:endParaRPr lang="en-US" dirty="0"/>
          </a:p>
        </p:txBody>
      </p:sp>
    </p:spTree>
    <p:extLst>
      <p:ext uri="{BB962C8B-B14F-4D97-AF65-F5344CB8AC3E}">
        <p14:creationId xmlns:p14="http://schemas.microsoft.com/office/powerpoint/2010/main" val="37612628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8D980F8-E3F2-431A-88B7-E9D686125FCF}" type="slidenum">
              <a:rPr lang="en-US" smtClean="0"/>
              <a:t>18</a:t>
            </a:fld>
            <a:endParaRPr lang="en-US" dirty="0"/>
          </a:p>
        </p:txBody>
      </p:sp>
    </p:spTree>
    <p:extLst>
      <p:ext uri="{BB962C8B-B14F-4D97-AF65-F5344CB8AC3E}">
        <p14:creationId xmlns:p14="http://schemas.microsoft.com/office/powerpoint/2010/main" val="37155668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_slide_image">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t="24102"/>
          <a:stretch/>
        </p:blipFill>
        <p:spPr>
          <a:xfrm>
            <a:off x="0" y="-82062"/>
            <a:ext cx="9144000" cy="6940062"/>
          </a:xfrm>
          <a:prstGeom prst="rect">
            <a:avLst/>
          </a:prstGeom>
        </p:spPr>
      </p:pic>
      <p:sp>
        <p:nvSpPr>
          <p:cNvPr id="2" name="Title 1"/>
          <p:cNvSpPr>
            <a:spLocks noGrp="1"/>
          </p:cNvSpPr>
          <p:nvPr>
            <p:ph type="ctrTitle" hasCustomPrompt="1"/>
          </p:nvPr>
        </p:nvSpPr>
        <p:spPr>
          <a:xfrm>
            <a:off x="457200" y="419100"/>
            <a:ext cx="5943600" cy="2473149"/>
          </a:xfrm>
        </p:spPr>
        <p:txBody>
          <a:bodyPr lIns="0" tIns="0" rIns="0" bIns="0" anchor="b">
            <a:noAutofit/>
          </a:bodyPr>
          <a:lstStyle>
            <a:lvl1pPr algn="l">
              <a:defRPr sz="3600" b="1" baseline="0">
                <a:solidFill>
                  <a:schemeClr val="bg1"/>
                </a:solidFill>
              </a:defRPr>
            </a:lvl1pPr>
          </a:lstStyle>
          <a:p>
            <a:r>
              <a:rPr lang="en-US" dirty="0"/>
              <a:t>Click to edit master title style for this document</a:t>
            </a:r>
          </a:p>
        </p:txBody>
      </p:sp>
      <p:sp>
        <p:nvSpPr>
          <p:cNvPr id="3" name="Subtitle 2"/>
          <p:cNvSpPr>
            <a:spLocks noGrp="1"/>
          </p:cNvSpPr>
          <p:nvPr>
            <p:ph type="subTitle" idx="1"/>
          </p:nvPr>
        </p:nvSpPr>
        <p:spPr>
          <a:xfrm>
            <a:off x="457200" y="2984324"/>
            <a:ext cx="5943600" cy="1305043"/>
          </a:xfrm>
        </p:spPr>
        <p:txBody>
          <a:bodyPr lIns="0" tIns="0" rIns="0" bIns="0"/>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0" name="Text Placeholder 14"/>
          <p:cNvSpPr>
            <a:spLocks noGrp="1"/>
          </p:cNvSpPr>
          <p:nvPr>
            <p:ph type="body" sz="quarter" idx="13" hasCustomPrompt="1"/>
          </p:nvPr>
        </p:nvSpPr>
        <p:spPr>
          <a:xfrm>
            <a:off x="2737184" y="6054575"/>
            <a:ext cx="5943600" cy="365760"/>
          </a:xfrm>
        </p:spPr>
        <p:txBody>
          <a:bodyPr anchor="b">
            <a:noAutofit/>
          </a:bodyPr>
          <a:lstStyle>
            <a:lvl1pPr algn="r">
              <a:buFontTx/>
              <a:buNone/>
              <a:defRPr lang="en-US" sz="1400" b="0" kern="1200" cap="none" baseline="0" dirty="0">
                <a:solidFill>
                  <a:schemeClr val="bg1"/>
                </a:solidFill>
                <a:latin typeface="+mn-lt"/>
                <a:ea typeface="+mn-ea"/>
                <a:cs typeface="+mn-cs"/>
              </a:defRPr>
            </a:lvl1pPr>
          </a:lstStyle>
          <a:p>
            <a:pPr lvl="0"/>
            <a:r>
              <a:rPr lang="en-US" dirty="0"/>
              <a:t>Month DD, YYYY</a:t>
            </a:r>
          </a:p>
        </p:txBody>
      </p:sp>
      <p:sp>
        <p:nvSpPr>
          <p:cNvPr id="11" name="Text Placeholder 12"/>
          <p:cNvSpPr>
            <a:spLocks noGrp="1"/>
          </p:cNvSpPr>
          <p:nvPr>
            <p:ph type="body" sz="quarter" idx="14" hasCustomPrompt="1"/>
          </p:nvPr>
        </p:nvSpPr>
        <p:spPr>
          <a:xfrm>
            <a:off x="2737184" y="5466630"/>
            <a:ext cx="5943600" cy="575068"/>
          </a:xfrm>
        </p:spPr>
        <p:txBody>
          <a:bodyPr anchor="b" anchorCtr="0">
            <a:noAutofit/>
          </a:bodyPr>
          <a:lstStyle>
            <a:lvl1pPr algn="r">
              <a:buFontTx/>
              <a:buNone/>
              <a:defRPr sz="1400" b="0" baseline="0">
                <a:solidFill>
                  <a:schemeClr val="bg1"/>
                </a:solidFill>
              </a:defRPr>
            </a:lvl1pPr>
          </a:lstStyle>
          <a:p>
            <a:pPr lvl="0"/>
            <a:r>
              <a:rPr lang="en-US" dirty="0"/>
              <a:t>Click to edit presenter first and last name, and title</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7537784" y="459970"/>
            <a:ext cx="1143000" cy="1143000"/>
          </a:xfrm>
          <a:prstGeom prst="rect">
            <a:avLst/>
          </a:prstGeom>
        </p:spPr>
      </p:pic>
      <p:sp>
        <p:nvSpPr>
          <p:cNvPr id="13" name="TextBox 12"/>
          <p:cNvSpPr txBox="1"/>
          <p:nvPr userDrawn="1"/>
        </p:nvSpPr>
        <p:spPr bwMode="gray">
          <a:xfrm>
            <a:off x="457200" y="6146015"/>
            <a:ext cx="1554480" cy="274320"/>
          </a:xfrm>
          <a:prstGeom prst="rect">
            <a:avLst/>
          </a:prstGeom>
          <a:noFill/>
        </p:spPr>
        <p:txBody>
          <a:bodyPr wrap="square" lIns="0" tIns="0" rIns="0" bIns="0" rtlCol="0" anchor="b" anchorCtr="0">
            <a:spAutoFit/>
          </a:bodyPr>
          <a:lstStyle/>
          <a:p>
            <a:pPr algn="l"/>
            <a:r>
              <a:rPr lang="en-US" sz="1400" b="1" dirty="0">
                <a:solidFill>
                  <a:schemeClr val="bg1"/>
                </a:solidFill>
              </a:rPr>
              <a:t>ftserussell.com</a:t>
            </a:r>
          </a:p>
        </p:txBody>
      </p:sp>
    </p:spTree>
    <p:extLst>
      <p:ext uri="{BB962C8B-B14F-4D97-AF65-F5344CB8AC3E}">
        <p14:creationId xmlns:p14="http://schemas.microsoft.com/office/powerpoint/2010/main" val="197593021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
          <p:cNvSpPr/>
          <p:nvPr userDrawn="1"/>
        </p:nvSpPr>
        <p:spPr>
          <a:xfrm>
            <a:off x="0" y="6231835"/>
            <a:ext cx="9144000" cy="4969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884438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es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642456"/>
            <a:ext cx="5785225" cy="2852737"/>
          </a:xfrm>
        </p:spPr>
        <p:txBody>
          <a:bodyPr anchor="b">
            <a:noAutofit/>
          </a:bodyPr>
          <a:lstStyle>
            <a:lvl1pPr>
              <a:defRPr sz="3600" baseline="0"/>
            </a:lvl1pPr>
          </a:lstStyle>
          <a:p>
            <a:r>
              <a:rPr lang="en-US" dirty="0"/>
              <a:t>Q&amp;A</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37784" y="459970"/>
            <a:ext cx="1143000" cy="1143000"/>
          </a:xfrm>
          <a:prstGeom prst="rect">
            <a:avLst/>
          </a:prstGeom>
        </p:spPr>
      </p:pic>
    </p:spTree>
    <p:extLst>
      <p:ext uri="{BB962C8B-B14F-4D97-AF65-F5344CB8AC3E}">
        <p14:creationId xmlns:p14="http://schemas.microsoft.com/office/powerpoint/2010/main" val="26782374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ank_yo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642456"/>
            <a:ext cx="5785225" cy="2852737"/>
          </a:xfrm>
        </p:spPr>
        <p:txBody>
          <a:bodyPr anchor="b">
            <a:noAutofit/>
          </a:bodyPr>
          <a:lstStyle>
            <a:lvl1pPr>
              <a:defRPr sz="3600" baseline="0">
                <a:solidFill>
                  <a:schemeClr val="bg1"/>
                </a:solidFill>
              </a:defRPr>
            </a:lvl1pPr>
          </a:lstStyle>
          <a:p>
            <a:r>
              <a:rPr lang="en-US" dirty="0"/>
              <a:t>Thank you</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37784" y="459970"/>
            <a:ext cx="1143000" cy="1143000"/>
          </a:xfrm>
          <a:prstGeom prst="rect">
            <a:avLst/>
          </a:prstGeom>
        </p:spPr>
      </p:pic>
    </p:spTree>
    <p:extLst>
      <p:ext uri="{BB962C8B-B14F-4D97-AF65-F5344CB8AC3E}">
        <p14:creationId xmlns:p14="http://schemas.microsoft.com/office/powerpoint/2010/main" val="33634087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e_whit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03909" y="2040183"/>
            <a:ext cx="2743200" cy="2743200"/>
          </a:xfrm>
          <a:prstGeom prst="rect">
            <a:avLst/>
          </a:prstGeom>
        </p:spPr>
      </p:pic>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03909" y="2040183"/>
            <a:ext cx="2743200" cy="2743200"/>
          </a:xfrm>
          <a:prstGeom prst="rect">
            <a:avLst/>
          </a:prstGeom>
        </p:spPr>
      </p:pic>
      <p:sp>
        <p:nvSpPr>
          <p:cNvPr id="5" name="TextBox 4"/>
          <p:cNvSpPr txBox="1"/>
          <p:nvPr userDrawn="1"/>
        </p:nvSpPr>
        <p:spPr>
          <a:xfrm>
            <a:off x="6570106" y="6223881"/>
            <a:ext cx="2103120" cy="215444"/>
          </a:xfrm>
          <a:prstGeom prst="rect">
            <a:avLst/>
          </a:prstGeom>
          <a:noFill/>
        </p:spPr>
        <p:txBody>
          <a:bodyPr wrap="square" lIns="0" tIns="0" rIns="0" bIns="0" rtlCol="0">
            <a:spAutoFit/>
          </a:bodyPr>
          <a:lstStyle/>
          <a:p>
            <a:pPr algn="r"/>
            <a:r>
              <a:rPr lang="en-US" sz="1400" b="1" dirty="0">
                <a:solidFill>
                  <a:schemeClr val="accent1"/>
                </a:solidFill>
              </a:rPr>
              <a:t>ftserussell.com</a:t>
            </a:r>
          </a:p>
        </p:txBody>
      </p:sp>
    </p:spTree>
    <p:extLst>
      <p:ext uri="{BB962C8B-B14F-4D97-AF65-F5344CB8AC3E}">
        <p14:creationId xmlns:p14="http://schemas.microsoft.com/office/powerpoint/2010/main" val="30087397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e_burgundy">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3203909" y="2040183"/>
            <a:ext cx="2743200" cy="2743200"/>
          </a:xfrm>
          <a:prstGeom prst="rect">
            <a:avLst/>
          </a:prstGeom>
        </p:spPr>
      </p:pic>
      <p:sp>
        <p:nvSpPr>
          <p:cNvPr id="5" name="TextBox 4"/>
          <p:cNvSpPr txBox="1"/>
          <p:nvPr userDrawn="1"/>
        </p:nvSpPr>
        <p:spPr>
          <a:xfrm>
            <a:off x="6570106" y="6223881"/>
            <a:ext cx="2103120" cy="215444"/>
          </a:xfrm>
          <a:prstGeom prst="rect">
            <a:avLst/>
          </a:prstGeom>
          <a:noFill/>
        </p:spPr>
        <p:txBody>
          <a:bodyPr wrap="square" lIns="0" tIns="0" rIns="0" bIns="0" rtlCol="0">
            <a:spAutoFit/>
          </a:bodyPr>
          <a:lstStyle/>
          <a:p>
            <a:pPr algn="r"/>
            <a:r>
              <a:rPr lang="en-US" sz="1400" b="1" dirty="0">
                <a:solidFill>
                  <a:schemeClr val="bg1"/>
                </a:solidFill>
              </a:rPr>
              <a:t>ftserussell.com</a:t>
            </a:r>
          </a:p>
        </p:txBody>
      </p:sp>
    </p:spTree>
    <p:extLst>
      <p:ext uri="{BB962C8B-B14F-4D97-AF65-F5344CB8AC3E}">
        <p14:creationId xmlns:p14="http://schemas.microsoft.com/office/powerpoint/2010/main" val="40404701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lvl5pPr>
              <a:defRPr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500677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Content internal use">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349200" y="301617"/>
            <a:ext cx="8370600" cy="917988"/>
          </a:xfrm>
        </p:spPr>
        <p:txBody>
          <a:bodyPr/>
          <a:lstStyle>
            <a:lvl1pPr>
              <a:defRPr b="1"/>
            </a:lvl1pPr>
          </a:lstStyle>
          <a:p>
            <a:r>
              <a:rPr lang="en-US" dirty="0" smtClean="0"/>
              <a:t>Click to edit title</a:t>
            </a:r>
            <a:endParaRPr lang="en-US" dirty="0"/>
          </a:p>
        </p:txBody>
      </p:sp>
      <p:sp>
        <p:nvSpPr>
          <p:cNvPr id="3" name="Content Placeholder 2"/>
          <p:cNvSpPr>
            <a:spLocks noGrp="1"/>
          </p:cNvSpPr>
          <p:nvPr>
            <p:ph idx="1"/>
          </p:nvPr>
        </p:nvSpPr>
        <p:spPr>
          <a:xfrm>
            <a:off x="356636" y="1231901"/>
            <a:ext cx="8355050" cy="4577772"/>
          </a:xfrm>
        </p:spPr>
        <p:txBody>
          <a:bodyPr/>
          <a:lstStyle>
            <a:lvl1pPr>
              <a:buClrTx/>
              <a:defRPr/>
            </a:lvl1pPr>
            <a:lvl2pPr marL="457200" marR="0" indent="-228600" algn="l" defTabSz="914400" rtl="0" eaLnBrk="1" fontAlgn="base" latinLnBrk="0" hangingPunct="1">
              <a:lnSpc>
                <a:spcPct val="100000"/>
              </a:lnSpc>
              <a:spcBef>
                <a:spcPts val="0"/>
              </a:spcBef>
              <a:spcAft>
                <a:spcPts val="800"/>
              </a:spcAft>
              <a:buClrTx/>
              <a:buSzTx/>
              <a:buFont typeface="Arial" panose="020B0604020202020204" pitchFamily="34" charset="0"/>
              <a:buChar char="•"/>
              <a:tabLst/>
              <a:defRPr lang="en-US" sz="2000" b="0" kern="1200" baseline="0" dirty="0" smtClean="0">
                <a:solidFill>
                  <a:schemeClr val="accent2"/>
                </a:solidFill>
                <a:latin typeface="+mn-lt"/>
                <a:ea typeface="+mn-ea"/>
                <a:cs typeface="+mn-cs"/>
              </a:defRPr>
            </a:lvl2pPr>
            <a:lvl3pPr>
              <a:buClrTx/>
              <a:defRPr/>
            </a:lvl3pPr>
            <a:lvl4pPr>
              <a:buClrTx/>
              <a:defRPr/>
            </a:lvl4pPr>
            <a:lvl5pPr>
              <a:buClrTx/>
              <a:defRPr/>
            </a:lvl5pPr>
          </a:lstStyle>
          <a:p>
            <a:pPr lvl="0"/>
            <a:r>
              <a:rPr lang="en-US" dirty="0" smtClean="0"/>
              <a:t>Click to edit Master text styles</a:t>
            </a:r>
          </a:p>
          <a:p>
            <a:pPr marL="571500" marR="0" lvl="1" indent="-342900" algn="l" defTabSz="914400" rtl="0" eaLnBrk="1" fontAlgn="base" latinLnBrk="0" hangingPunct="1">
              <a:lnSpc>
                <a:spcPct val="100000"/>
              </a:lnSpc>
              <a:spcBef>
                <a:spcPts val="0"/>
              </a:spcBef>
              <a:spcAft>
                <a:spcPts val="800"/>
              </a:spcAft>
              <a:buClrTx/>
              <a:buSzTx/>
              <a:buFont typeface="Arial" panose="020B0604020202020204" pitchFamily="34" charset="0"/>
              <a:buChar char="•"/>
              <a:tabLst/>
            </a:pPr>
            <a:r>
              <a:rPr lang="en-US" dirty="0" smtClean="0"/>
              <a:t>Second level bullets</a:t>
            </a:r>
          </a:p>
          <a:p>
            <a:pPr lvl="2"/>
            <a:r>
              <a:rPr lang="en-US" dirty="0" smtClean="0"/>
              <a:t>Third level bullets</a:t>
            </a:r>
          </a:p>
          <a:p>
            <a:pPr lvl="3"/>
            <a:r>
              <a:rPr lang="en-US" dirty="0" smtClean="0"/>
              <a:t>Fourth level bullets</a:t>
            </a:r>
          </a:p>
          <a:p>
            <a:pPr lvl="4"/>
            <a:r>
              <a:rPr lang="en-US" dirty="0" smtClean="0"/>
              <a:t>Fifth level bullets</a:t>
            </a:r>
            <a:endParaRPr lang="en-US" dirty="0"/>
          </a:p>
        </p:txBody>
      </p:sp>
      <p:sp>
        <p:nvSpPr>
          <p:cNvPr id="4" name="Text Placeholder 3"/>
          <p:cNvSpPr>
            <a:spLocks noGrp="1"/>
          </p:cNvSpPr>
          <p:nvPr>
            <p:ph type="body" sz="quarter" idx="10" hasCustomPrompt="1"/>
          </p:nvPr>
        </p:nvSpPr>
        <p:spPr>
          <a:xfrm>
            <a:off x="356636" y="6003636"/>
            <a:ext cx="8356263" cy="240146"/>
          </a:xfrm>
        </p:spPr>
        <p:txBody>
          <a:bodyPr>
            <a:noAutofit/>
          </a:bodyPr>
          <a:lstStyle>
            <a:lvl1pPr marL="0" indent="0">
              <a:buNone/>
              <a:defRPr sz="800" i="1" baseline="0"/>
            </a:lvl1pPr>
          </a:lstStyle>
          <a:p>
            <a:pPr lvl="0"/>
            <a:r>
              <a:rPr lang="en-US" dirty="0" smtClean="0"/>
              <a:t>Source: information goes here…</a:t>
            </a:r>
            <a:endParaRPr lang="en-US" dirty="0"/>
          </a:p>
        </p:txBody>
      </p:sp>
      <p:sp>
        <p:nvSpPr>
          <p:cNvPr id="8" name="Slide Number Placeholder 18"/>
          <p:cNvSpPr>
            <a:spLocks noGrp="1"/>
          </p:cNvSpPr>
          <p:nvPr>
            <p:ph type="sldNum" sz="quarter" idx="4"/>
          </p:nvPr>
        </p:nvSpPr>
        <p:spPr>
          <a:xfrm>
            <a:off x="7778147" y="6349081"/>
            <a:ext cx="1012926" cy="185673"/>
          </a:xfrm>
          <a:prstGeom prst="rect">
            <a:avLst/>
          </a:prstGeom>
        </p:spPr>
        <p:txBody>
          <a:bodyPr vert="horz" lIns="91440" tIns="45720" rIns="91440" bIns="45720" rtlCol="0" anchor="ctr"/>
          <a:lstStyle>
            <a:lvl1pPr algn="r">
              <a:defRPr sz="900" b="0">
                <a:solidFill>
                  <a:schemeClr val="accent1"/>
                </a:solidFill>
              </a:defRPr>
            </a:lvl1pPr>
          </a:lstStyle>
          <a:p>
            <a:fld id="{6C664EB6-AA07-463F-A5A5-9F88A3164854}" type="slidenum">
              <a:rPr lang="en-US" smtClean="0">
                <a:solidFill>
                  <a:srgbClr val="531732"/>
                </a:solidFill>
              </a:rPr>
              <a:pPr/>
              <a:t>‹#›</a:t>
            </a:fld>
            <a:endParaRPr lang="en-US" dirty="0">
              <a:solidFill>
                <a:srgbClr val="531732"/>
              </a:solidFill>
            </a:endParaRPr>
          </a:p>
        </p:txBody>
      </p:sp>
    </p:spTree>
    <p:extLst>
      <p:ext uri="{BB962C8B-B14F-4D97-AF65-F5344CB8AC3E}">
        <p14:creationId xmlns:p14="http://schemas.microsoft.com/office/powerpoint/2010/main" val="920512683"/>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_slide_burgundy">
    <p:spTree>
      <p:nvGrpSpPr>
        <p:cNvPr id="1" name=""/>
        <p:cNvGrpSpPr/>
        <p:nvPr/>
      </p:nvGrpSpPr>
      <p:grpSpPr>
        <a:xfrm>
          <a:off x="0" y="0"/>
          <a:ext cx="0" cy="0"/>
          <a:chOff x="0" y="0"/>
          <a:chExt cx="0" cy="0"/>
        </a:xfrm>
      </p:grpSpPr>
      <p:sp>
        <p:nvSpPr>
          <p:cNvPr id="13" name="Rectangle 12"/>
          <p:cNvSpPr/>
          <p:nvPr userDrawn="1"/>
        </p:nvSpPr>
        <p:spPr>
          <a:xfrm>
            <a:off x="0" y="6326376"/>
            <a:ext cx="9144000" cy="49973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hasCustomPrompt="1"/>
          </p:nvPr>
        </p:nvSpPr>
        <p:spPr>
          <a:xfrm>
            <a:off x="457200" y="419100"/>
            <a:ext cx="5943600" cy="2473149"/>
          </a:xfrm>
        </p:spPr>
        <p:txBody>
          <a:bodyPr lIns="0" tIns="0" rIns="0" bIns="0" anchor="b">
            <a:noAutofit/>
          </a:bodyPr>
          <a:lstStyle>
            <a:lvl1pPr algn="l">
              <a:defRPr sz="3600" b="1" baseline="0">
                <a:solidFill>
                  <a:schemeClr val="bg1"/>
                </a:solidFill>
              </a:defRPr>
            </a:lvl1pPr>
          </a:lstStyle>
          <a:p>
            <a:r>
              <a:rPr lang="en-US" dirty="0"/>
              <a:t>Click to edit master title style for this document</a:t>
            </a:r>
          </a:p>
        </p:txBody>
      </p:sp>
      <p:sp>
        <p:nvSpPr>
          <p:cNvPr id="3" name="Subtitle 2"/>
          <p:cNvSpPr>
            <a:spLocks noGrp="1"/>
          </p:cNvSpPr>
          <p:nvPr>
            <p:ph type="subTitle" idx="1"/>
          </p:nvPr>
        </p:nvSpPr>
        <p:spPr>
          <a:xfrm>
            <a:off x="457200" y="2984324"/>
            <a:ext cx="5943600" cy="1305043"/>
          </a:xfrm>
        </p:spPr>
        <p:txBody>
          <a:bodyPr lIns="0" tIns="0" rIns="0" bIns="0"/>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0" name="Text Placeholder 14"/>
          <p:cNvSpPr>
            <a:spLocks noGrp="1"/>
          </p:cNvSpPr>
          <p:nvPr>
            <p:ph type="body" sz="quarter" idx="13" hasCustomPrompt="1"/>
          </p:nvPr>
        </p:nvSpPr>
        <p:spPr>
          <a:xfrm>
            <a:off x="2737184" y="6054575"/>
            <a:ext cx="5943600" cy="365760"/>
          </a:xfrm>
        </p:spPr>
        <p:txBody>
          <a:bodyPr anchor="b">
            <a:noAutofit/>
          </a:bodyPr>
          <a:lstStyle>
            <a:lvl1pPr algn="r">
              <a:buFontTx/>
              <a:buNone/>
              <a:defRPr lang="en-US" sz="1400" b="0" kern="1200" cap="none" baseline="0" dirty="0">
                <a:solidFill>
                  <a:schemeClr val="bg1"/>
                </a:solidFill>
                <a:latin typeface="+mn-lt"/>
                <a:ea typeface="+mn-ea"/>
                <a:cs typeface="+mn-cs"/>
              </a:defRPr>
            </a:lvl1pPr>
          </a:lstStyle>
          <a:p>
            <a:pPr lvl="0"/>
            <a:r>
              <a:rPr lang="en-US" dirty="0"/>
              <a:t>Month DD, YYYY</a:t>
            </a:r>
          </a:p>
        </p:txBody>
      </p:sp>
      <p:sp>
        <p:nvSpPr>
          <p:cNvPr id="11" name="Text Placeholder 12"/>
          <p:cNvSpPr>
            <a:spLocks noGrp="1"/>
          </p:cNvSpPr>
          <p:nvPr>
            <p:ph type="body" sz="quarter" idx="14" hasCustomPrompt="1"/>
          </p:nvPr>
        </p:nvSpPr>
        <p:spPr>
          <a:xfrm>
            <a:off x="2737184" y="5466630"/>
            <a:ext cx="5943600" cy="575068"/>
          </a:xfrm>
        </p:spPr>
        <p:txBody>
          <a:bodyPr anchor="b" anchorCtr="0">
            <a:noAutofit/>
          </a:bodyPr>
          <a:lstStyle>
            <a:lvl1pPr algn="r">
              <a:buFontTx/>
              <a:buNone/>
              <a:defRPr sz="1400" b="0" baseline="0">
                <a:solidFill>
                  <a:schemeClr val="bg1"/>
                </a:solidFill>
              </a:defRPr>
            </a:lvl1pPr>
          </a:lstStyle>
          <a:p>
            <a:pPr lvl="0"/>
            <a:r>
              <a:rPr lang="en-US" dirty="0"/>
              <a:t>Click to edit presenter first and last name, and titl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37784" y="459970"/>
            <a:ext cx="1143000" cy="1143000"/>
          </a:xfrm>
          <a:prstGeom prst="rect">
            <a:avLst/>
          </a:prstGeom>
        </p:spPr>
      </p:pic>
      <p:sp>
        <p:nvSpPr>
          <p:cNvPr id="14" name="TextBox 13"/>
          <p:cNvSpPr txBox="1"/>
          <p:nvPr userDrawn="1"/>
        </p:nvSpPr>
        <p:spPr bwMode="gray">
          <a:xfrm>
            <a:off x="457200" y="6146015"/>
            <a:ext cx="1554480" cy="274320"/>
          </a:xfrm>
          <a:prstGeom prst="rect">
            <a:avLst/>
          </a:prstGeom>
          <a:noFill/>
        </p:spPr>
        <p:txBody>
          <a:bodyPr wrap="square" lIns="0" tIns="0" rIns="0" bIns="0" rtlCol="0" anchor="b" anchorCtr="0">
            <a:spAutoFit/>
          </a:bodyPr>
          <a:lstStyle/>
          <a:p>
            <a:pPr algn="l"/>
            <a:r>
              <a:rPr lang="en-US" sz="1400" b="1" dirty="0">
                <a:solidFill>
                  <a:schemeClr val="bg1"/>
                </a:solidFill>
              </a:rPr>
              <a:t>ftserussell.com</a:t>
            </a:r>
          </a:p>
        </p:txBody>
      </p:sp>
    </p:spTree>
    <p:extLst>
      <p:ext uri="{BB962C8B-B14F-4D97-AF65-F5344CB8AC3E}">
        <p14:creationId xmlns:p14="http://schemas.microsoft.com/office/powerpoint/2010/main" val="33435907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_slide_white">
    <p:spTree>
      <p:nvGrpSpPr>
        <p:cNvPr id="1" name=""/>
        <p:cNvGrpSpPr/>
        <p:nvPr/>
      </p:nvGrpSpPr>
      <p:grpSpPr>
        <a:xfrm>
          <a:off x="0" y="0"/>
          <a:ext cx="0" cy="0"/>
          <a:chOff x="0" y="0"/>
          <a:chExt cx="0" cy="0"/>
        </a:xfrm>
      </p:grpSpPr>
      <p:sp>
        <p:nvSpPr>
          <p:cNvPr id="13" name="Rectangle 12"/>
          <p:cNvSpPr/>
          <p:nvPr userDrawn="1"/>
        </p:nvSpPr>
        <p:spPr>
          <a:xfrm>
            <a:off x="0" y="6326376"/>
            <a:ext cx="9144000" cy="4997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hasCustomPrompt="1"/>
          </p:nvPr>
        </p:nvSpPr>
        <p:spPr>
          <a:xfrm>
            <a:off x="457200" y="419100"/>
            <a:ext cx="5943600" cy="2473149"/>
          </a:xfrm>
        </p:spPr>
        <p:txBody>
          <a:bodyPr lIns="0" tIns="0" rIns="0" bIns="0" anchor="b">
            <a:noAutofit/>
          </a:bodyPr>
          <a:lstStyle>
            <a:lvl1pPr algn="l">
              <a:defRPr sz="3600" b="1" baseline="0">
                <a:solidFill>
                  <a:schemeClr val="accent1"/>
                </a:solidFill>
              </a:defRPr>
            </a:lvl1pPr>
          </a:lstStyle>
          <a:p>
            <a:r>
              <a:rPr lang="en-US" dirty="0"/>
              <a:t>Click to edit master title style for this document</a:t>
            </a:r>
          </a:p>
        </p:txBody>
      </p:sp>
      <p:sp>
        <p:nvSpPr>
          <p:cNvPr id="3" name="Subtitle 2"/>
          <p:cNvSpPr>
            <a:spLocks noGrp="1"/>
          </p:cNvSpPr>
          <p:nvPr>
            <p:ph type="subTitle" idx="1"/>
          </p:nvPr>
        </p:nvSpPr>
        <p:spPr>
          <a:xfrm>
            <a:off x="457200" y="2984324"/>
            <a:ext cx="5943600" cy="1305043"/>
          </a:xfrm>
        </p:spPr>
        <p:txBody>
          <a:bodyPr lIns="0" tIns="0" rIns="0" bIns="0"/>
          <a:lstStyle>
            <a:lvl1pPr marL="0" indent="0" algn="l">
              <a:buNone/>
              <a:defRPr sz="2400" b="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0" name="Text Placeholder 14"/>
          <p:cNvSpPr>
            <a:spLocks noGrp="1"/>
          </p:cNvSpPr>
          <p:nvPr>
            <p:ph type="body" sz="quarter" idx="13" hasCustomPrompt="1"/>
          </p:nvPr>
        </p:nvSpPr>
        <p:spPr>
          <a:xfrm>
            <a:off x="2737184" y="6054575"/>
            <a:ext cx="5943600" cy="365760"/>
          </a:xfrm>
        </p:spPr>
        <p:txBody>
          <a:bodyPr anchor="b">
            <a:noAutofit/>
          </a:bodyPr>
          <a:lstStyle>
            <a:lvl1pPr algn="r">
              <a:buFontTx/>
              <a:buNone/>
              <a:defRPr lang="en-US" sz="1400" b="0" kern="1200" cap="none" baseline="0" dirty="0">
                <a:solidFill>
                  <a:schemeClr val="accent1"/>
                </a:solidFill>
                <a:latin typeface="+mn-lt"/>
                <a:ea typeface="+mn-ea"/>
                <a:cs typeface="+mn-cs"/>
              </a:defRPr>
            </a:lvl1pPr>
          </a:lstStyle>
          <a:p>
            <a:pPr lvl="0"/>
            <a:r>
              <a:rPr lang="en-US" dirty="0"/>
              <a:t>Month DD, YYYY</a:t>
            </a:r>
          </a:p>
        </p:txBody>
      </p:sp>
      <p:sp>
        <p:nvSpPr>
          <p:cNvPr id="11" name="Text Placeholder 12"/>
          <p:cNvSpPr>
            <a:spLocks noGrp="1"/>
          </p:cNvSpPr>
          <p:nvPr>
            <p:ph type="body" sz="quarter" idx="14" hasCustomPrompt="1"/>
          </p:nvPr>
        </p:nvSpPr>
        <p:spPr>
          <a:xfrm>
            <a:off x="2737184" y="5466630"/>
            <a:ext cx="5943600" cy="575068"/>
          </a:xfrm>
        </p:spPr>
        <p:txBody>
          <a:bodyPr anchor="b" anchorCtr="0">
            <a:noAutofit/>
          </a:bodyPr>
          <a:lstStyle>
            <a:lvl1pPr algn="r">
              <a:buFontTx/>
              <a:buNone/>
              <a:defRPr sz="1400" b="0" baseline="0">
                <a:solidFill>
                  <a:schemeClr val="accent1"/>
                </a:solidFill>
              </a:defRPr>
            </a:lvl1pPr>
          </a:lstStyle>
          <a:p>
            <a:pPr lvl="0"/>
            <a:r>
              <a:rPr lang="en-US" dirty="0"/>
              <a:t>Click to edit presenter first and last name, and title</a:t>
            </a:r>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37784" y="459970"/>
            <a:ext cx="1143000" cy="1143000"/>
          </a:xfrm>
          <a:prstGeom prst="rect">
            <a:avLst/>
          </a:prstGeom>
        </p:spPr>
      </p:pic>
      <p:sp>
        <p:nvSpPr>
          <p:cNvPr id="16" name="TextBox 15"/>
          <p:cNvSpPr txBox="1"/>
          <p:nvPr userDrawn="1"/>
        </p:nvSpPr>
        <p:spPr bwMode="gray">
          <a:xfrm>
            <a:off x="457200" y="6204891"/>
            <a:ext cx="1554480" cy="215444"/>
          </a:xfrm>
          <a:prstGeom prst="rect">
            <a:avLst/>
          </a:prstGeom>
          <a:noFill/>
        </p:spPr>
        <p:txBody>
          <a:bodyPr wrap="square" lIns="0" tIns="0" rIns="0" bIns="0" rtlCol="0" anchor="b" anchorCtr="0">
            <a:spAutoFit/>
          </a:bodyPr>
          <a:lstStyle/>
          <a:p>
            <a:pPr algn="l"/>
            <a:r>
              <a:rPr lang="en-US" sz="1400" b="1" dirty="0">
                <a:solidFill>
                  <a:schemeClr val="accent1"/>
                </a:solidFill>
              </a:rPr>
              <a:t>ftserussell.com</a:t>
            </a:r>
          </a:p>
        </p:txBody>
      </p:sp>
    </p:spTree>
    <p:extLst>
      <p:ext uri="{BB962C8B-B14F-4D97-AF65-F5344CB8AC3E}">
        <p14:creationId xmlns:p14="http://schemas.microsoft.com/office/powerpoint/2010/main" val="33898915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_burgundy">
    <p:spTree>
      <p:nvGrpSpPr>
        <p:cNvPr id="1" name=""/>
        <p:cNvGrpSpPr/>
        <p:nvPr/>
      </p:nvGrpSpPr>
      <p:grpSpPr>
        <a:xfrm>
          <a:off x="0" y="0"/>
          <a:ext cx="0" cy="0"/>
          <a:chOff x="0" y="0"/>
          <a:chExt cx="0" cy="0"/>
        </a:xfrm>
      </p:grpSpPr>
      <p:sp>
        <p:nvSpPr>
          <p:cNvPr id="7" name="Rectangle 6"/>
          <p:cNvSpPr/>
          <p:nvPr userDrawn="1"/>
        </p:nvSpPr>
        <p:spPr bwMode="ltGray">
          <a:xfrm>
            <a:off x="0" y="6326376"/>
            <a:ext cx="9144000" cy="49973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hasCustomPrompt="1"/>
          </p:nvPr>
        </p:nvSpPr>
        <p:spPr>
          <a:xfrm>
            <a:off x="457200" y="4059029"/>
            <a:ext cx="5943600" cy="881271"/>
          </a:xfrm>
        </p:spPr>
        <p:txBody>
          <a:bodyPr lIns="0" tIns="91440" rIns="0" bIns="0" anchor="t">
            <a:normAutofit/>
          </a:bodyPr>
          <a:lstStyle>
            <a:lvl1pPr algn="l">
              <a:defRPr sz="3600" b="1" baseline="0">
                <a:solidFill>
                  <a:schemeClr val="bg1"/>
                </a:solidFill>
              </a:defRPr>
            </a:lvl1pPr>
          </a:lstStyle>
          <a:p>
            <a:r>
              <a:rPr lang="en-US" dirty="0"/>
              <a:t>Section title</a:t>
            </a:r>
          </a:p>
        </p:txBody>
      </p:sp>
      <p:sp>
        <p:nvSpPr>
          <p:cNvPr id="3" name="Subtitle 2"/>
          <p:cNvSpPr>
            <a:spLocks noGrp="1"/>
          </p:cNvSpPr>
          <p:nvPr>
            <p:ph type="subTitle" idx="1" hasCustomPrompt="1"/>
          </p:nvPr>
        </p:nvSpPr>
        <p:spPr>
          <a:xfrm>
            <a:off x="457200" y="3048000"/>
            <a:ext cx="5943600" cy="1000067"/>
          </a:xfrm>
        </p:spPr>
        <p:txBody>
          <a:bodyPr lIns="0" tIns="0" rIns="0" bIns="0" anchor="b"/>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ection subtitle</a:t>
            </a:r>
          </a:p>
        </p:txBody>
      </p:sp>
      <p:cxnSp>
        <p:nvCxnSpPr>
          <p:cNvPr id="15" name="Straight Connector 14"/>
          <p:cNvCxnSpPr/>
          <p:nvPr userDrawn="1"/>
        </p:nvCxnSpPr>
        <p:spPr bwMode="invGray">
          <a:xfrm>
            <a:off x="457200" y="6400800"/>
            <a:ext cx="82296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userDrawn="1"/>
        </p:nvSpPr>
        <p:spPr bwMode="invGray">
          <a:xfrm>
            <a:off x="457200" y="6464507"/>
            <a:ext cx="914400" cy="123111"/>
          </a:xfrm>
          <a:prstGeom prst="rect">
            <a:avLst/>
          </a:prstGeom>
          <a:noFill/>
        </p:spPr>
        <p:txBody>
          <a:bodyPr wrap="square" lIns="0" tIns="0" rIns="0" bIns="0" rtlCol="0" anchor="t" anchorCtr="0">
            <a:spAutoFit/>
          </a:bodyPr>
          <a:lstStyle/>
          <a:p>
            <a:pPr algn="l"/>
            <a:r>
              <a:rPr lang="en-US" sz="800" b="1" dirty="0">
                <a:solidFill>
                  <a:schemeClr val="bg1">
                    <a:lumMod val="75000"/>
                  </a:schemeClr>
                </a:solidFill>
              </a:rPr>
              <a:t>FTSE Russell</a:t>
            </a:r>
          </a:p>
        </p:txBody>
      </p:sp>
      <p:sp>
        <p:nvSpPr>
          <p:cNvPr id="18" name="TextBox 17"/>
          <p:cNvSpPr txBox="1"/>
          <p:nvPr userDrawn="1"/>
        </p:nvSpPr>
        <p:spPr bwMode="invGray">
          <a:xfrm>
            <a:off x="7772400" y="6464507"/>
            <a:ext cx="914400" cy="123111"/>
          </a:xfrm>
          <a:prstGeom prst="rect">
            <a:avLst/>
          </a:prstGeom>
          <a:noFill/>
        </p:spPr>
        <p:txBody>
          <a:bodyPr wrap="square" lIns="0" tIns="0" rIns="0" bIns="0" rtlCol="0" anchor="t" anchorCtr="0">
            <a:spAutoFit/>
          </a:bodyPr>
          <a:lstStyle/>
          <a:p>
            <a:pPr algn="r"/>
            <a:fld id="{B0F01371-A313-418D-8606-07969BC1E874}" type="slidenum">
              <a:rPr lang="en-US" sz="800" b="0" smtClean="0">
                <a:solidFill>
                  <a:schemeClr val="bg1">
                    <a:lumMod val="75000"/>
                  </a:schemeClr>
                </a:solidFill>
              </a:rPr>
              <a:pPr algn="r"/>
              <a:t>‹#›</a:t>
            </a:fld>
            <a:endParaRPr lang="en-US" sz="800" b="0" dirty="0">
              <a:solidFill>
                <a:schemeClr val="bg1">
                  <a:lumMod val="75000"/>
                </a:schemeClr>
              </a:solidFill>
            </a:endParaRPr>
          </a:p>
        </p:txBody>
      </p:sp>
    </p:spTree>
    <p:extLst>
      <p:ext uri="{BB962C8B-B14F-4D97-AF65-F5344CB8AC3E}">
        <p14:creationId xmlns:p14="http://schemas.microsoft.com/office/powerpoint/2010/main" val="7691986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_whit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4059029"/>
            <a:ext cx="5943600" cy="881271"/>
          </a:xfrm>
        </p:spPr>
        <p:txBody>
          <a:bodyPr lIns="0" tIns="91440" rIns="0" bIns="0" anchor="t">
            <a:normAutofit/>
          </a:bodyPr>
          <a:lstStyle>
            <a:lvl1pPr algn="l">
              <a:defRPr sz="3600" b="1" baseline="0">
                <a:solidFill>
                  <a:schemeClr val="accent1"/>
                </a:solidFill>
              </a:defRPr>
            </a:lvl1pPr>
          </a:lstStyle>
          <a:p>
            <a:r>
              <a:rPr lang="en-US" dirty="0"/>
              <a:t>Section title</a:t>
            </a:r>
          </a:p>
        </p:txBody>
      </p:sp>
      <p:sp>
        <p:nvSpPr>
          <p:cNvPr id="3" name="Subtitle 2"/>
          <p:cNvSpPr>
            <a:spLocks noGrp="1"/>
          </p:cNvSpPr>
          <p:nvPr>
            <p:ph type="subTitle" idx="1" hasCustomPrompt="1"/>
          </p:nvPr>
        </p:nvSpPr>
        <p:spPr>
          <a:xfrm>
            <a:off x="457200" y="3048000"/>
            <a:ext cx="5943600" cy="1000067"/>
          </a:xfrm>
        </p:spPr>
        <p:txBody>
          <a:bodyPr lIns="0" tIns="0" rIns="0" bIns="0" anchor="b"/>
          <a:lstStyle>
            <a:lvl1pPr marL="0" indent="0" algn="l">
              <a:buNone/>
              <a:defRPr sz="2400" b="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ection subtitle</a:t>
            </a:r>
          </a:p>
        </p:txBody>
      </p:sp>
    </p:spTree>
    <p:extLst>
      <p:ext uri="{BB962C8B-B14F-4D97-AF65-F5344CB8AC3E}">
        <p14:creationId xmlns:p14="http://schemas.microsoft.com/office/powerpoint/2010/main" val="7813026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_and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419100"/>
            <a:ext cx="8229600" cy="800099"/>
          </a:xfrm>
        </p:spPr>
        <p:txBody>
          <a:bodyPr/>
          <a:lstStyle>
            <a:lvl1pPr>
              <a:defRPr/>
            </a:lvl1pPr>
          </a:lstStyle>
          <a:p>
            <a:r>
              <a:rPr lang="en-US" dirty="0"/>
              <a:t>Click to edit master title style</a:t>
            </a:r>
          </a:p>
        </p:txBody>
      </p:sp>
      <p:sp>
        <p:nvSpPr>
          <p:cNvPr id="6" name="Text Placeholder 5"/>
          <p:cNvSpPr>
            <a:spLocks noGrp="1"/>
          </p:cNvSpPr>
          <p:nvPr>
            <p:ph type="body" sz="quarter" idx="12" hasCustomPrompt="1"/>
          </p:nvPr>
        </p:nvSpPr>
        <p:spPr>
          <a:xfrm>
            <a:off x="457200" y="1384343"/>
            <a:ext cx="8229600" cy="4559300"/>
          </a:xfrm>
        </p:spPr>
        <p:txBody>
          <a:bodyPr>
            <a:noAutofit/>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929118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ternal_us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419100"/>
            <a:ext cx="8229600" cy="800099"/>
          </a:xfrm>
        </p:spPr>
        <p:txBody>
          <a:bodyPr/>
          <a:lstStyle>
            <a:lvl1pPr>
              <a:defRPr/>
            </a:lvl1pPr>
          </a:lstStyle>
          <a:p>
            <a:r>
              <a:rPr lang="en-US" dirty="0"/>
              <a:t>Click to edit master title style</a:t>
            </a:r>
          </a:p>
        </p:txBody>
      </p:sp>
      <p:sp>
        <p:nvSpPr>
          <p:cNvPr id="6" name="Text Placeholder 5"/>
          <p:cNvSpPr>
            <a:spLocks noGrp="1"/>
          </p:cNvSpPr>
          <p:nvPr>
            <p:ph type="body" sz="quarter" idx="12" hasCustomPrompt="1"/>
          </p:nvPr>
        </p:nvSpPr>
        <p:spPr>
          <a:xfrm>
            <a:off x="457200" y="1384343"/>
            <a:ext cx="8229600" cy="4559300"/>
          </a:xfrm>
        </p:spPr>
        <p:txBody>
          <a:bodyPr>
            <a:noAutofit/>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020873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_column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419100"/>
            <a:ext cx="8229600" cy="800099"/>
          </a:xfrm>
        </p:spPr>
        <p:txBody>
          <a:bodyPr>
            <a:noAutofit/>
          </a:bodyPr>
          <a:lstStyle>
            <a:lvl1pPr>
              <a:defRPr/>
            </a:lvl1pPr>
          </a:lstStyle>
          <a:p>
            <a:r>
              <a:rPr lang="en-US" dirty="0"/>
              <a:t>Click to edit master title style</a:t>
            </a:r>
          </a:p>
        </p:txBody>
      </p:sp>
      <p:sp>
        <p:nvSpPr>
          <p:cNvPr id="3" name="Content Placeholder 2"/>
          <p:cNvSpPr>
            <a:spLocks noGrp="1"/>
          </p:cNvSpPr>
          <p:nvPr>
            <p:ph sz="half" idx="1" hasCustomPrompt="1"/>
          </p:nvPr>
        </p:nvSpPr>
        <p:spPr>
          <a:xfrm>
            <a:off x="457200" y="1371600"/>
            <a:ext cx="3886200" cy="4351338"/>
          </a:xfrm>
        </p:spPr>
        <p:txBody>
          <a:bodyPr>
            <a:noAutofit/>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800600" y="1385050"/>
            <a:ext cx="3886200" cy="4351338"/>
          </a:xfrm>
        </p:spPr>
        <p:txBody>
          <a:bodyPr>
            <a:noAutofit/>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781735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419100"/>
            <a:ext cx="8235244" cy="800099"/>
          </a:xfrm>
        </p:spPr>
        <p:txBody>
          <a:bodyPr>
            <a:noAutofit/>
          </a:bodyPr>
          <a:lstStyle>
            <a:lvl1pPr>
              <a:defRPr/>
            </a:lvl1pPr>
          </a:lstStyle>
          <a:p>
            <a:r>
              <a:rPr lang="en-US" dirty="0"/>
              <a:t>Click to edit master title style</a:t>
            </a:r>
          </a:p>
        </p:txBody>
      </p:sp>
      <p:sp>
        <p:nvSpPr>
          <p:cNvPr id="7" name="Text Placeholder 6"/>
          <p:cNvSpPr>
            <a:spLocks noGrp="1"/>
          </p:cNvSpPr>
          <p:nvPr>
            <p:ph type="body" sz="quarter" idx="11" hasCustomPrompt="1"/>
          </p:nvPr>
        </p:nvSpPr>
        <p:spPr>
          <a:xfrm>
            <a:off x="457200" y="6091997"/>
            <a:ext cx="8235244" cy="307777"/>
          </a:xfrm>
        </p:spPr>
        <p:txBody>
          <a:bodyPr wrap="square" tIns="91440" bIns="91440" anchor="b" anchorCtr="0">
            <a:spAutoFit/>
          </a:bodyPr>
          <a:lstStyle>
            <a:lvl1pPr marL="0" indent="0">
              <a:buNone/>
              <a:defRPr sz="800" b="0">
                <a:solidFill>
                  <a:schemeClr val="tx1">
                    <a:lumMod val="50000"/>
                    <a:lumOff val="50000"/>
                  </a:schemeClr>
                </a:solidFill>
              </a:defRPr>
            </a:lvl1pPr>
          </a:lstStyle>
          <a:p>
            <a:pPr lvl="0"/>
            <a:r>
              <a:rPr lang="en-US" dirty="0"/>
              <a:t>Source: Insert source or footnote copy here</a:t>
            </a:r>
          </a:p>
        </p:txBody>
      </p:sp>
    </p:spTree>
    <p:extLst>
      <p:ext uri="{BB962C8B-B14F-4D97-AF65-F5344CB8AC3E}">
        <p14:creationId xmlns:p14="http://schemas.microsoft.com/office/powerpoint/2010/main" val="10344106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9"/>
            </p:custDataLst>
            <p:extLst>
              <p:ext uri="{D42A27DB-BD31-4B8C-83A1-F6EECF244321}">
                <p14:modId xmlns:p14="http://schemas.microsoft.com/office/powerpoint/2010/main" val="39677822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5" name="think-cell Slide" r:id="rId20" imgW="359" imgH="358" progId="TCLayout.ActiveDocument.1">
                  <p:embed/>
                </p:oleObj>
              </mc:Choice>
              <mc:Fallback>
                <p:oleObj name="think-cell Slide" r:id="rId20" imgW="359" imgH="358" progId="TCLayout.ActiveDocument.1">
                  <p:embed/>
                  <p:pic>
                    <p:nvPicPr>
                      <p:cNvPr id="0" name=""/>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419100"/>
            <a:ext cx="7886700" cy="800099"/>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p:cNvSpPr>
            <a:spLocks noGrp="1"/>
          </p:cNvSpPr>
          <p:nvPr>
            <p:ph type="body" idx="1"/>
          </p:nvPr>
        </p:nvSpPr>
        <p:spPr>
          <a:xfrm>
            <a:off x="457200" y="1371600"/>
            <a:ext cx="7886700" cy="435133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9" name="Straight Connector 8"/>
          <p:cNvCxnSpPr/>
          <p:nvPr/>
        </p:nvCxnSpPr>
        <p:spPr>
          <a:xfrm>
            <a:off x="457200" y="6400800"/>
            <a:ext cx="8229600" cy="0"/>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457200" y="6408715"/>
            <a:ext cx="914400" cy="228600"/>
          </a:xfrm>
          <a:prstGeom prst="rect">
            <a:avLst/>
          </a:prstGeom>
          <a:noFill/>
        </p:spPr>
        <p:txBody>
          <a:bodyPr wrap="square" lIns="0" tIns="0" rIns="0" bIns="0" rtlCol="0" anchor="ctr" anchorCtr="0">
            <a:spAutoFit/>
          </a:bodyPr>
          <a:lstStyle/>
          <a:p>
            <a:pPr algn="l"/>
            <a:r>
              <a:rPr lang="en-US" sz="800" b="1" dirty="0">
                <a:solidFill>
                  <a:schemeClr val="tx1">
                    <a:lumMod val="75000"/>
                    <a:lumOff val="25000"/>
                  </a:schemeClr>
                </a:solidFill>
              </a:rPr>
              <a:t>FTSE Russell</a:t>
            </a:r>
          </a:p>
        </p:txBody>
      </p:sp>
      <p:sp>
        <p:nvSpPr>
          <p:cNvPr id="11" name="TextBox 10"/>
          <p:cNvSpPr txBox="1"/>
          <p:nvPr/>
        </p:nvSpPr>
        <p:spPr>
          <a:xfrm>
            <a:off x="7772400" y="6408715"/>
            <a:ext cx="914400" cy="228600"/>
          </a:xfrm>
          <a:prstGeom prst="rect">
            <a:avLst/>
          </a:prstGeom>
          <a:noFill/>
        </p:spPr>
        <p:txBody>
          <a:bodyPr wrap="square" lIns="0" tIns="0" rIns="0" bIns="0" rtlCol="0" anchor="ctr" anchorCtr="0">
            <a:spAutoFit/>
          </a:bodyPr>
          <a:lstStyle/>
          <a:p>
            <a:pPr algn="r"/>
            <a:fld id="{B0F01371-A313-418D-8606-07969BC1E874}" type="slidenum">
              <a:rPr lang="en-US" sz="800" b="0" smtClean="0">
                <a:solidFill>
                  <a:schemeClr val="tx1">
                    <a:lumMod val="75000"/>
                    <a:lumOff val="25000"/>
                  </a:schemeClr>
                </a:solidFill>
              </a:rPr>
              <a:t>‹#›</a:t>
            </a:fld>
            <a:endParaRPr lang="en-US" sz="800" b="0" dirty="0">
              <a:solidFill>
                <a:schemeClr val="tx1">
                  <a:lumMod val="75000"/>
                  <a:lumOff val="25000"/>
                </a:schemeClr>
              </a:solidFill>
            </a:endParaRPr>
          </a:p>
        </p:txBody>
      </p:sp>
    </p:spTree>
    <p:extLst>
      <p:ext uri="{BB962C8B-B14F-4D97-AF65-F5344CB8AC3E}">
        <p14:creationId xmlns:p14="http://schemas.microsoft.com/office/powerpoint/2010/main" val="3008946066"/>
      </p:ext>
    </p:extLst>
  </p:cSld>
  <p:clrMap bg1="lt1" tx1="dk1" bg2="lt2" tx2="dk2" accent1="accent1" accent2="accent2" accent3="accent3" accent4="accent4" accent5="accent5" accent6="accent6" hlink="hlink" folHlink="folHlink"/>
  <p:sldLayoutIdLst>
    <p:sldLayoutId id="2147483678" r:id="rId1"/>
    <p:sldLayoutId id="2147483695" r:id="rId2"/>
    <p:sldLayoutId id="2147483696" r:id="rId3"/>
    <p:sldLayoutId id="2147483688" r:id="rId4"/>
    <p:sldLayoutId id="2147483689" r:id="rId5"/>
    <p:sldLayoutId id="2147483680" r:id="rId6"/>
    <p:sldLayoutId id="2147483692" r:id="rId7"/>
    <p:sldLayoutId id="2147483664" r:id="rId8"/>
    <p:sldLayoutId id="2147483666" r:id="rId9"/>
    <p:sldLayoutId id="2147483667" r:id="rId10"/>
    <p:sldLayoutId id="2147483690" r:id="rId11"/>
    <p:sldLayoutId id="2147483684" r:id="rId12"/>
    <p:sldLayoutId id="2147483686" r:id="rId13"/>
    <p:sldLayoutId id="2147483685" r:id="rId14"/>
    <p:sldLayoutId id="2147483697" r:id="rId15"/>
    <p:sldLayoutId id="2147483698" r:id="rId16"/>
  </p:sldLayoutIdLst>
  <p:txStyles>
    <p:titleStyle>
      <a:lvl1pPr algn="l" defTabSz="914400" rtl="0" eaLnBrk="1" latinLnBrk="0" hangingPunct="1">
        <a:lnSpc>
          <a:spcPct val="90000"/>
        </a:lnSpc>
        <a:spcBef>
          <a:spcPct val="0"/>
        </a:spcBef>
        <a:buNone/>
        <a:defRPr sz="2800" b="1" kern="1200">
          <a:solidFill>
            <a:srgbClr val="54183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900"/>
        </a:spcAft>
        <a:buFont typeface="Arial" panose="020B0604020202020204" pitchFamily="34" charset="0"/>
        <a:buChar char="•"/>
        <a:defRPr sz="2400" b="1" kern="1200">
          <a:solidFill>
            <a:srgbClr val="541832"/>
          </a:solidFill>
          <a:latin typeface="+mn-lt"/>
          <a:ea typeface="+mn-ea"/>
          <a:cs typeface="+mn-cs"/>
        </a:defRPr>
      </a:lvl1pPr>
      <a:lvl2pPr marL="457200" indent="-228600" algn="l" defTabSz="914400" rtl="0" eaLnBrk="1" latinLnBrk="0" hangingPunct="1">
        <a:lnSpc>
          <a:spcPct val="120000"/>
        </a:lnSpc>
        <a:spcBef>
          <a:spcPts val="0"/>
        </a:spcBef>
        <a:spcAft>
          <a:spcPts val="900"/>
        </a:spcAft>
        <a:buFont typeface="Arial" panose="020B0604020202020204" pitchFamily="34" charset="0"/>
        <a:buChar char="•"/>
        <a:defRPr sz="2400" kern="1200">
          <a:solidFill>
            <a:schemeClr val="tx1">
              <a:lumMod val="75000"/>
              <a:lumOff val="25000"/>
            </a:schemeClr>
          </a:solidFill>
          <a:latin typeface="+mn-lt"/>
          <a:ea typeface="+mn-ea"/>
          <a:cs typeface="+mn-cs"/>
        </a:defRPr>
      </a:lvl2pPr>
      <a:lvl3pPr marL="685800" indent="-228600" algn="l" defTabSz="914400" rtl="0" eaLnBrk="1" latinLnBrk="0" hangingPunct="1">
        <a:lnSpc>
          <a:spcPct val="120000"/>
        </a:lnSpc>
        <a:spcBef>
          <a:spcPts val="0"/>
        </a:spcBef>
        <a:spcAft>
          <a:spcPts val="900"/>
        </a:spcAft>
        <a:buFont typeface="Arial" panose="020B0604020202020204" pitchFamily="34" charset="0"/>
        <a:buChar char="•"/>
        <a:defRPr sz="2000" kern="1200">
          <a:solidFill>
            <a:schemeClr val="tx1">
              <a:lumMod val="75000"/>
              <a:lumOff val="25000"/>
            </a:schemeClr>
          </a:solidFill>
          <a:latin typeface="+mn-lt"/>
          <a:ea typeface="+mn-ea"/>
          <a:cs typeface="+mn-cs"/>
        </a:defRPr>
      </a:lvl3pPr>
      <a:lvl4pPr marL="914400" indent="-228600" algn="l" defTabSz="914400" rtl="0" eaLnBrk="1" latinLnBrk="0" hangingPunct="1">
        <a:lnSpc>
          <a:spcPct val="120000"/>
        </a:lnSpc>
        <a:spcBef>
          <a:spcPts val="0"/>
        </a:spcBef>
        <a:spcAft>
          <a:spcPts val="900"/>
        </a:spcAft>
        <a:buFont typeface="Arial" panose="020B0604020202020204" pitchFamily="34" charset="0"/>
        <a:buChar char="•"/>
        <a:defRPr sz="1600" kern="1200">
          <a:solidFill>
            <a:schemeClr val="tx1">
              <a:lumMod val="75000"/>
              <a:lumOff val="25000"/>
            </a:schemeClr>
          </a:solidFill>
          <a:latin typeface="+mn-lt"/>
          <a:ea typeface="+mn-ea"/>
          <a:cs typeface="+mn-cs"/>
        </a:defRPr>
      </a:lvl4pPr>
      <a:lvl5pPr marL="1143000" indent="-228600" algn="l" defTabSz="914400" rtl="0" eaLnBrk="1" latinLnBrk="0" hangingPunct="1">
        <a:lnSpc>
          <a:spcPct val="120000"/>
        </a:lnSpc>
        <a:spcBef>
          <a:spcPts val="0"/>
        </a:spcBef>
        <a:spcAft>
          <a:spcPts val="900"/>
        </a:spcAft>
        <a:buFont typeface="Arial" panose="020B0604020202020204" pitchFamily="34" charset="0"/>
        <a:buChar char="•"/>
        <a:defRPr sz="1200" b="0" kern="1200" cap="all" baseline="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64">
          <p15:clr>
            <a:srgbClr val="F26B43"/>
          </p15:clr>
        </p15:guide>
        <p15:guide id="2" orient="horz" pos="768">
          <p15:clr>
            <a:srgbClr val="F26B43"/>
          </p15:clr>
        </p15:guide>
        <p15:guide id="3" pos="288">
          <p15:clr>
            <a:srgbClr val="F26B43"/>
          </p15:clr>
        </p15:guide>
        <p15:guide id="4" pos="5472">
          <p15:clr>
            <a:srgbClr val="F26B43"/>
          </p15:clr>
        </p15:guide>
        <p15:guide id="5" orient="horz" pos="864">
          <p15:clr>
            <a:srgbClr val="F26B43"/>
          </p15:clr>
        </p15:guide>
        <p15:guide id="6" orient="horz" pos="403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6.xml"/><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emf"/><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xml"/><Relationship Id="rId1" Type="http://schemas.openxmlformats.org/officeDocument/2006/relationships/slideLayout" Target="../slideLayouts/slideLayout8.xml"/><Relationship Id="rId4" Type="http://schemas.openxmlformats.org/officeDocument/2006/relationships/chart" Target="../charts/chart12.xml"/></Relationships>
</file>

<file path=ppt/slides/_rels/slide19.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slideLayout" Target="../slideLayouts/slideLayout7.xml"/><Relationship Id="rId4" Type="http://schemas.openxmlformats.org/officeDocument/2006/relationships/image" Target="../media/image17.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chart" Target="../charts/chart17.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chart" Target="../charts/chart19.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Layout" Target="../slideLayouts/slideLayout8.xml"/><Relationship Id="rId5" Type="http://schemas.openxmlformats.org/officeDocument/2006/relationships/image" Target="../media/image8.png"/><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png"/><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bwMode="gray">
          <a:xfrm>
            <a:off x="457199" y="419100"/>
            <a:ext cx="7486651" cy="4503964"/>
          </a:xfrm>
        </p:spPr>
        <p:txBody>
          <a:bodyPr/>
          <a:lstStyle/>
          <a:p>
            <a:r>
              <a:rPr lang="ja-JP" altLang="en-US" dirty="0" smtClean="0"/>
              <a:t>サステナブル</a:t>
            </a:r>
            <a:r>
              <a:rPr lang="ja-JP" altLang="en-US" dirty="0"/>
              <a:t>投資の「純粋な」パフォーマンスを計測</a:t>
            </a:r>
            <a:r>
              <a:rPr lang="ja-JP" altLang="en-US" dirty="0" smtClean="0"/>
              <a:t>する</a:t>
            </a:r>
            <a:endParaRPr lang="en-US" dirty="0">
              <a:solidFill>
                <a:srgbClr val="FF0000"/>
              </a:solidFill>
            </a:endParaRPr>
          </a:p>
        </p:txBody>
      </p:sp>
      <p:sp>
        <p:nvSpPr>
          <p:cNvPr id="6" name="Text Placeholder 5"/>
          <p:cNvSpPr>
            <a:spLocks noGrp="1"/>
          </p:cNvSpPr>
          <p:nvPr>
            <p:ph type="body" sz="quarter" idx="13"/>
          </p:nvPr>
        </p:nvSpPr>
        <p:spPr bwMode="gray">
          <a:xfrm>
            <a:off x="2776941" y="6067827"/>
            <a:ext cx="5943600" cy="365760"/>
          </a:xfrm>
        </p:spPr>
        <p:txBody>
          <a:bodyPr/>
          <a:lstStyle/>
          <a:p>
            <a:r>
              <a:rPr lang="en-US" dirty="0" smtClean="0"/>
              <a:t>September 2019</a:t>
            </a:r>
            <a:endParaRPr lang="en-US" dirty="0"/>
          </a:p>
        </p:txBody>
      </p:sp>
      <p:sp>
        <p:nvSpPr>
          <p:cNvPr id="2" name="TextBox 1"/>
          <p:cNvSpPr txBox="1"/>
          <p:nvPr/>
        </p:nvSpPr>
        <p:spPr>
          <a:xfrm>
            <a:off x="438150" y="5095875"/>
            <a:ext cx="6953250" cy="646331"/>
          </a:xfrm>
          <a:prstGeom prst="rect">
            <a:avLst/>
          </a:prstGeom>
          <a:noFill/>
        </p:spPr>
        <p:txBody>
          <a:bodyPr wrap="square" rtlCol="0">
            <a:spAutoFit/>
          </a:bodyPr>
          <a:lstStyle/>
          <a:p>
            <a:r>
              <a:rPr lang="en-US" altLang="zh-CN" dirty="0" smtClean="0">
                <a:solidFill>
                  <a:schemeClr val="bg1"/>
                </a:solidFill>
              </a:rPr>
              <a:t>Lingjuan </a:t>
            </a:r>
            <a:r>
              <a:rPr lang="en-US" altLang="zh-CN" dirty="0">
                <a:solidFill>
                  <a:schemeClr val="bg1"/>
                </a:solidFill>
              </a:rPr>
              <a:t>Ma, </a:t>
            </a:r>
            <a:r>
              <a:rPr lang="ja-JP" altLang="en-US" dirty="0" smtClean="0">
                <a:solidFill>
                  <a:schemeClr val="bg1"/>
                </a:solidFill>
              </a:rPr>
              <a:t>田村浩道</a:t>
            </a:r>
            <a:r>
              <a:rPr lang="en-US" altLang="zh-CN" dirty="0" smtClean="0">
                <a:solidFill>
                  <a:schemeClr val="bg1"/>
                </a:solidFill>
              </a:rPr>
              <a:t>, </a:t>
            </a:r>
            <a:r>
              <a:rPr lang="en-US" altLang="zh-CN" dirty="0">
                <a:solidFill>
                  <a:schemeClr val="bg1"/>
                </a:solidFill>
              </a:rPr>
              <a:t>Peter Gunthorp</a:t>
            </a:r>
            <a:endParaRPr lang="zh-CN" altLang="en-US" dirty="0">
              <a:solidFill>
                <a:schemeClr val="bg1"/>
              </a:solidFill>
            </a:endParaRPr>
          </a:p>
          <a:p>
            <a:endParaRPr lang="en-GB" dirty="0">
              <a:solidFill>
                <a:schemeClr val="bg1"/>
              </a:solidFill>
            </a:endParaRPr>
          </a:p>
        </p:txBody>
      </p:sp>
    </p:spTree>
    <p:extLst>
      <p:ext uri="{BB962C8B-B14F-4D97-AF65-F5344CB8AC3E}">
        <p14:creationId xmlns:p14="http://schemas.microsoft.com/office/powerpoint/2010/main" val="152610673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3081875572"/>
              </p:ext>
            </p:extLst>
          </p:nvPr>
        </p:nvGraphicFramePr>
        <p:xfrm>
          <a:off x="1580756" y="1803261"/>
          <a:ext cx="7139044" cy="3643499"/>
        </p:xfrm>
        <a:graphic>
          <a:graphicData uri="http://schemas.openxmlformats.org/drawingml/2006/table">
            <a:tbl>
              <a:tblPr firstRow="1" bandRow="1">
                <a:tableStyleId>{2D5ABB26-0587-4C30-8999-92F81FD0307C}</a:tableStyleId>
              </a:tblPr>
              <a:tblGrid>
                <a:gridCol w="883583">
                  <a:extLst>
                    <a:ext uri="{9D8B030D-6E8A-4147-A177-3AD203B41FA5}">
                      <a16:colId xmlns:a16="http://schemas.microsoft.com/office/drawing/2014/main" xmlns="" val="20000"/>
                    </a:ext>
                  </a:extLst>
                </a:gridCol>
                <a:gridCol w="433712">
                  <a:extLst>
                    <a:ext uri="{9D8B030D-6E8A-4147-A177-3AD203B41FA5}">
                      <a16:colId xmlns:a16="http://schemas.microsoft.com/office/drawing/2014/main" xmlns="" val="20001"/>
                    </a:ext>
                  </a:extLst>
                </a:gridCol>
                <a:gridCol w="950830">
                  <a:extLst>
                    <a:ext uri="{9D8B030D-6E8A-4147-A177-3AD203B41FA5}">
                      <a16:colId xmlns:a16="http://schemas.microsoft.com/office/drawing/2014/main" xmlns="" val="20002"/>
                    </a:ext>
                  </a:extLst>
                </a:gridCol>
                <a:gridCol w="500437">
                  <a:extLst>
                    <a:ext uri="{9D8B030D-6E8A-4147-A177-3AD203B41FA5}">
                      <a16:colId xmlns:a16="http://schemas.microsoft.com/office/drawing/2014/main" xmlns="" val="20003"/>
                    </a:ext>
                  </a:extLst>
                </a:gridCol>
                <a:gridCol w="1009214">
                  <a:extLst>
                    <a:ext uri="{9D8B030D-6E8A-4147-A177-3AD203B41FA5}">
                      <a16:colId xmlns:a16="http://schemas.microsoft.com/office/drawing/2014/main" xmlns="" val="20004"/>
                    </a:ext>
                  </a:extLst>
                </a:gridCol>
                <a:gridCol w="408690">
                  <a:extLst>
                    <a:ext uri="{9D8B030D-6E8A-4147-A177-3AD203B41FA5}">
                      <a16:colId xmlns:a16="http://schemas.microsoft.com/office/drawing/2014/main" xmlns="" val="20005"/>
                    </a:ext>
                  </a:extLst>
                </a:gridCol>
                <a:gridCol w="1192708">
                  <a:extLst>
                    <a:ext uri="{9D8B030D-6E8A-4147-A177-3AD203B41FA5}">
                      <a16:colId xmlns:a16="http://schemas.microsoft.com/office/drawing/2014/main" xmlns="" val="20006"/>
                    </a:ext>
                  </a:extLst>
                </a:gridCol>
                <a:gridCol w="992533">
                  <a:extLst>
                    <a:ext uri="{9D8B030D-6E8A-4147-A177-3AD203B41FA5}">
                      <a16:colId xmlns:a16="http://schemas.microsoft.com/office/drawing/2014/main" xmlns="" val="20007"/>
                    </a:ext>
                  </a:extLst>
                </a:gridCol>
                <a:gridCol w="767337">
                  <a:extLst>
                    <a:ext uri="{9D8B030D-6E8A-4147-A177-3AD203B41FA5}">
                      <a16:colId xmlns:a16="http://schemas.microsoft.com/office/drawing/2014/main" xmlns="" val="20008"/>
                    </a:ext>
                  </a:extLst>
                </a:gridCol>
              </a:tblGrid>
              <a:tr h="753996">
                <a:tc>
                  <a:txBody>
                    <a:bodyPr/>
                    <a:lstStyle/>
                    <a:p>
                      <a:pPr algn="ctr"/>
                      <a:r>
                        <a:rPr lang="ja-JP" altLang="en-US" sz="1400" b="1" dirty="0" smtClean="0">
                          <a:solidFill>
                            <a:schemeClr val="tx1">
                              <a:lumMod val="75000"/>
                              <a:lumOff val="25000"/>
                            </a:schemeClr>
                          </a:solidFill>
                        </a:rPr>
                        <a:t>時価総額ウエイト</a:t>
                      </a:r>
                      <a:r>
                        <a:rPr lang="en-GB" sz="1400" b="1" dirty="0" smtClean="0">
                          <a:solidFill>
                            <a:schemeClr val="tx1">
                              <a:lumMod val="75000"/>
                              <a:lumOff val="25000"/>
                            </a:schemeClr>
                          </a:solidFill>
                        </a:rPr>
                        <a:t> </a:t>
                      </a:r>
                      <a:endParaRPr lang="en-GB" sz="1400" b="1" dirty="0">
                        <a:solidFill>
                          <a:schemeClr val="tx1">
                            <a:lumMod val="75000"/>
                            <a:lumOff val="25000"/>
                          </a:schemeClr>
                        </a:solidFill>
                      </a:endParaRPr>
                    </a:p>
                  </a:txBody>
                  <a:tcPr marL="83406" marR="83406" marT="41703" marB="417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GB" sz="1400" b="1" dirty="0">
                          <a:solidFill>
                            <a:schemeClr val="tx1">
                              <a:lumMod val="75000"/>
                              <a:lumOff val="25000"/>
                            </a:schemeClr>
                          </a:solidFill>
                        </a:rPr>
                        <a:t>X</a:t>
                      </a:r>
                    </a:p>
                  </a:txBody>
                  <a:tcPr marL="83406" marR="83406" marT="41703" marB="417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b="1" dirty="0">
                          <a:solidFill>
                            <a:schemeClr val="tx1">
                              <a:lumMod val="75000"/>
                              <a:lumOff val="25000"/>
                            </a:schemeClr>
                          </a:solidFill>
                        </a:rPr>
                        <a:t>Value </a:t>
                      </a:r>
                      <a:r>
                        <a:rPr lang="ja-JP" altLang="en-US" sz="1400" b="1" dirty="0" smtClean="0">
                          <a:solidFill>
                            <a:schemeClr val="tx1">
                              <a:lumMod val="75000"/>
                              <a:lumOff val="25000"/>
                            </a:schemeClr>
                          </a:solidFill>
                        </a:rPr>
                        <a:t>ファクタースコア</a:t>
                      </a:r>
                      <a:endParaRPr lang="en-GB" sz="1400" b="1" dirty="0">
                        <a:solidFill>
                          <a:schemeClr val="tx1">
                            <a:lumMod val="75000"/>
                            <a:lumOff val="25000"/>
                          </a:schemeClr>
                        </a:solidFill>
                      </a:endParaRPr>
                    </a:p>
                  </a:txBody>
                  <a:tcPr marL="83406" marR="83406" marT="41703" marB="417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c>
                  <a:txBody>
                    <a:bodyPr/>
                    <a:lstStyle/>
                    <a:p>
                      <a:pPr algn="ctr"/>
                      <a:r>
                        <a:rPr lang="en-GB" sz="1400" b="1" dirty="0">
                          <a:solidFill>
                            <a:schemeClr val="tx1">
                              <a:lumMod val="75000"/>
                              <a:lumOff val="25000"/>
                            </a:schemeClr>
                          </a:solidFill>
                        </a:rPr>
                        <a:t>X</a:t>
                      </a:r>
                    </a:p>
                  </a:txBody>
                  <a:tcPr marL="83406" marR="83406" marT="41703" marB="417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b="1" dirty="0">
                          <a:solidFill>
                            <a:schemeClr val="tx1">
                              <a:lumMod val="75000"/>
                              <a:lumOff val="25000"/>
                            </a:schemeClr>
                          </a:solidFill>
                        </a:rPr>
                        <a:t>Quality </a:t>
                      </a:r>
                      <a:r>
                        <a:rPr lang="ja-JP" altLang="en-US" sz="1400" b="1" dirty="0" smtClean="0">
                          <a:solidFill>
                            <a:schemeClr val="tx1">
                              <a:lumMod val="75000"/>
                              <a:lumOff val="25000"/>
                            </a:schemeClr>
                          </a:solidFill>
                        </a:rPr>
                        <a:t>ファクタースコア</a:t>
                      </a:r>
                      <a:endParaRPr lang="en-GB" sz="1400" b="1" dirty="0">
                        <a:solidFill>
                          <a:schemeClr val="tx1">
                            <a:lumMod val="75000"/>
                            <a:lumOff val="25000"/>
                          </a:schemeClr>
                        </a:solidFill>
                      </a:endParaRPr>
                    </a:p>
                  </a:txBody>
                  <a:tcPr marL="83406" marR="83406" marT="41703" marB="417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GB" sz="1400" b="1" dirty="0">
                          <a:solidFill>
                            <a:schemeClr val="tx1">
                              <a:lumMod val="75000"/>
                              <a:lumOff val="25000"/>
                            </a:schemeClr>
                          </a:solidFill>
                        </a:rPr>
                        <a:t>=</a:t>
                      </a:r>
                    </a:p>
                  </a:txBody>
                  <a:tcPr marL="83406" marR="83406" marT="41703" marB="417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ja-JP" altLang="en-US" sz="1400" b="1" dirty="0" smtClean="0">
                          <a:solidFill>
                            <a:schemeClr val="tx1">
                              <a:lumMod val="75000"/>
                              <a:lumOff val="25000"/>
                            </a:schemeClr>
                          </a:solidFill>
                        </a:rPr>
                        <a:t>調整前ウエイト</a:t>
                      </a:r>
                      <a:endParaRPr lang="en-GB" sz="1400" b="1" dirty="0">
                        <a:solidFill>
                          <a:schemeClr val="tx1">
                            <a:lumMod val="75000"/>
                            <a:lumOff val="25000"/>
                          </a:schemeClr>
                        </a:solidFill>
                      </a:endParaRPr>
                    </a:p>
                  </a:txBody>
                  <a:tcPr marL="83406" marR="83406" marT="41703" marB="417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ja-JP" altLang="en-US" sz="1400" b="1" dirty="0" smtClean="0">
                          <a:solidFill>
                            <a:schemeClr val="tx1">
                              <a:lumMod val="75000"/>
                              <a:lumOff val="25000"/>
                            </a:schemeClr>
                          </a:solidFill>
                        </a:rPr>
                        <a:t>（ウエイト再計算）</a:t>
                      </a:r>
                      <a:endParaRPr lang="en-GB" sz="1400" b="1" dirty="0">
                        <a:solidFill>
                          <a:schemeClr val="tx1">
                            <a:lumMod val="75000"/>
                            <a:lumOff val="25000"/>
                          </a:schemeClr>
                        </a:solidFill>
                      </a:endParaRPr>
                    </a:p>
                  </a:txBody>
                  <a:tcPr marL="83406" marR="83406" marT="41703" marB="417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ja-JP" altLang="en-US" sz="1400" b="1" dirty="0" smtClean="0">
                          <a:solidFill>
                            <a:schemeClr val="tx1">
                              <a:lumMod val="75000"/>
                              <a:lumOff val="25000"/>
                            </a:schemeClr>
                          </a:solidFill>
                        </a:rPr>
                        <a:t>最終ウエイト</a:t>
                      </a:r>
                      <a:endParaRPr lang="en-GB" sz="1400" b="1" dirty="0">
                        <a:solidFill>
                          <a:schemeClr val="tx1">
                            <a:lumMod val="75000"/>
                            <a:lumOff val="25000"/>
                          </a:schemeClr>
                        </a:solidFill>
                      </a:endParaRPr>
                    </a:p>
                  </a:txBody>
                  <a:tcPr marL="83406" marR="83406" marT="41703" marB="417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40000"/>
                        <a:lumOff val="60000"/>
                      </a:schemeClr>
                    </a:solidFill>
                  </a:tcPr>
                </a:tc>
                <a:extLst>
                  <a:ext uri="{0D108BD9-81ED-4DB2-BD59-A6C34878D82A}">
                    <a16:rowId xmlns:a16="http://schemas.microsoft.com/office/drawing/2014/main" xmlns="" val="10000"/>
                  </a:ext>
                </a:extLst>
              </a:tr>
              <a:tr h="472635">
                <a:tc>
                  <a:txBody>
                    <a:bodyPr/>
                    <a:lstStyle/>
                    <a:p>
                      <a:pPr algn="ctr"/>
                      <a:endParaRPr lang="en-GB" sz="1600" b="1" dirty="0">
                        <a:solidFill>
                          <a:schemeClr val="tx1">
                            <a:lumMod val="75000"/>
                            <a:lumOff val="25000"/>
                          </a:schemeClr>
                        </a:solidFill>
                      </a:endParaRPr>
                    </a:p>
                  </a:txBody>
                  <a:tcPr marL="83406" marR="83406" marT="41703" marB="41703"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600" dirty="0">
                        <a:solidFill>
                          <a:schemeClr val="tx1">
                            <a:lumMod val="75000"/>
                            <a:lumOff val="25000"/>
                          </a:schemeClr>
                        </a:solidFill>
                      </a:endParaRPr>
                    </a:p>
                  </a:txBody>
                  <a:tcPr marL="83406" marR="83406" marT="41703" marB="41703" anchor="ctr">
                    <a:lnL>
                      <a:noFill/>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GB" sz="1600" dirty="0">
                        <a:solidFill>
                          <a:schemeClr val="tx1">
                            <a:lumMod val="75000"/>
                            <a:lumOff val="25000"/>
                          </a:schemeClr>
                        </a:solidFill>
                      </a:endParaRPr>
                    </a:p>
                  </a:txBody>
                  <a:tcPr marL="83406" marR="83406" marT="41703" marB="41703"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GB" sz="1600" dirty="0">
                        <a:solidFill>
                          <a:schemeClr val="tx1">
                            <a:lumMod val="75000"/>
                            <a:lumOff val="25000"/>
                          </a:schemeClr>
                        </a:solidFill>
                      </a:endParaRPr>
                    </a:p>
                  </a:txBody>
                  <a:tcPr marL="83406" marR="83406" marT="41703" marB="41703"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GB" sz="1600" dirty="0">
                        <a:solidFill>
                          <a:schemeClr val="tx1">
                            <a:lumMod val="75000"/>
                            <a:lumOff val="25000"/>
                          </a:schemeClr>
                        </a:solidFill>
                      </a:endParaRPr>
                    </a:p>
                  </a:txBody>
                  <a:tcPr marL="83406" marR="83406" marT="41703" marB="41703"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GB" sz="1600" dirty="0">
                        <a:solidFill>
                          <a:schemeClr val="tx1">
                            <a:lumMod val="75000"/>
                            <a:lumOff val="25000"/>
                          </a:schemeClr>
                        </a:solidFill>
                      </a:endParaRPr>
                    </a:p>
                  </a:txBody>
                  <a:tcPr marL="83406" marR="83406" marT="41703" marB="41703"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GB" sz="1600" dirty="0">
                        <a:solidFill>
                          <a:schemeClr val="tx1">
                            <a:lumMod val="75000"/>
                            <a:lumOff val="25000"/>
                          </a:schemeClr>
                        </a:solidFill>
                      </a:endParaRPr>
                    </a:p>
                  </a:txBody>
                  <a:tcPr marL="83406" marR="83406" marT="41703" marB="41703"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GB" sz="2600" dirty="0">
                        <a:solidFill>
                          <a:schemeClr val="tx1">
                            <a:lumMod val="75000"/>
                            <a:lumOff val="25000"/>
                          </a:schemeClr>
                        </a:solidFill>
                      </a:endParaRPr>
                    </a:p>
                  </a:txBody>
                  <a:tcPr marL="83406" marR="83406" marT="41703" marB="41703" anchor="ctr">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GB" sz="1600" b="1" dirty="0">
                        <a:solidFill>
                          <a:schemeClr val="tx1">
                            <a:lumMod val="75000"/>
                            <a:lumOff val="25000"/>
                          </a:schemeClr>
                        </a:solidFill>
                      </a:endParaRPr>
                    </a:p>
                  </a:txBody>
                  <a:tcPr marL="83406" marR="83406" marT="41703" marB="41703"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1"/>
                  </a:ext>
                </a:extLst>
              </a:tr>
              <a:tr h="472635">
                <a:tc>
                  <a:txBody>
                    <a:bodyPr/>
                    <a:lstStyle/>
                    <a:p>
                      <a:pPr algn="ctr"/>
                      <a:r>
                        <a:rPr lang="en-GB" sz="1600" b="1" dirty="0">
                          <a:solidFill>
                            <a:schemeClr val="tx1">
                              <a:lumMod val="75000"/>
                              <a:lumOff val="25000"/>
                            </a:schemeClr>
                          </a:solidFill>
                        </a:rPr>
                        <a:t>0.33%</a:t>
                      </a:r>
                    </a:p>
                  </a:txBody>
                  <a:tcPr marL="83406" marR="83406" marT="41703" marB="41703"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1600" b="0" dirty="0">
                          <a:solidFill>
                            <a:schemeClr val="tx1">
                              <a:lumMod val="75000"/>
                              <a:lumOff val="25000"/>
                            </a:schemeClr>
                          </a:solidFill>
                        </a:rPr>
                        <a:t>X</a:t>
                      </a:r>
                    </a:p>
                  </a:txBody>
                  <a:tcPr marL="83406" marR="83406" marT="41703" marB="41703"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600" b="0" dirty="0">
                          <a:solidFill>
                            <a:schemeClr val="tx1">
                              <a:lumMod val="75000"/>
                              <a:lumOff val="25000"/>
                            </a:schemeClr>
                          </a:solidFill>
                        </a:rPr>
                        <a:t>1.00</a:t>
                      </a:r>
                    </a:p>
                  </a:txBody>
                  <a:tcPr marL="83406" marR="83406" marT="41703" marB="41703"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600" b="0" dirty="0">
                          <a:solidFill>
                            <a:schemeClr val="tx1">
                              <a:lumMod val="75000"/>
                              <a:lumOff val="25000"/>
                            </a:schemeClr>
                          </a:solidFill>
                        </a:rPr>
                        <a:t>X</a:t>
                      </a:r>
                    </a:p>
                  </a:txBody>
                  <a:tcPr marL="83406" marR="83406" marT="41703" marB="41703"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600" b="0" dirty="0">
                          <a:solidFill>
                            <a:schemeClr val="tx1">
                              <a:lumMod val="75000"/>
                              <a:lumOff val="25000"/>
                            </a:schemeClr>
                          </a:solidFill>
                        </a:rPr>
                        <a:t>0.26</a:t>
                      </a:r>
                    </a:p>
                  </a:txBody>
                  <a:tcPr marL="83406" marR="83406" marT="41703" marB="41703"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600" b="0" dirty="0">
                          <a:solidFill>
                            <a:schemeClr val="tx1">
                              <a:lumMod val="75000"/>
                              <a:lumOff val="25000"/>
                            </a:schemeClr>
                          </a:solidFill>
                        </a:rPr>
                        <a:t>=</a:t>
                      </a:r>
                    </a:p>
                  </a:txBody>
                  <a:tcPr marL="83406" marR="83406" marT="41703" marB="41703"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600" b="0" dirty="0">
                          <a:solidFill>
                            <a:schemeClr val="tx1">
                              <a:lumMod val="75000"/>
                              <a:lumOff val="25000"/>
                            </a:schemeClr>
                          </a:solidFill>
                        </a:rPr>
                        <a:t>0.09%</a:t>
                      </a:r>
                    </a:p>
                  </a:txBody>
                  <a:tcPr marL="83406" marR="83406" marT="41703" marB="41703"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2600" b="0" dirty="0">
                          <a:solidFill>
                            <a:schemeClr val="tx1">
                              <a:lumMod val="75000"/>
                              <a:lumOff val="25000"/>
                            </a:schemeClr>
                          </a:solidFill>
                          <a:sym typeface="Wingdings"/>
                        </a:rPr>
                        <a:t></a:t>
                      </a:r>
                      <a:endParaRPr lang="en-GB" sz="2600" b="0" dirty="0">
                        <a:solidFill>
                          <a:schemeClr val="tx1">
                            <a:lumMod val="75000"/>
                            <a:lumOff val="25000"/>
                          </a:schemeClr>
                        </a:solidFill>
                      </a:endParaRPr>
                    </a:p>
                  </a:txBody>
                  <a:tcPr marL="83406" marR="83406" marT="41703" marB="41703"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600" b="1" dirty="0">
                          <a:solidFill>
                            <a:schemeClr val="tx1">
                              <a:lumMod val="75000"/>
                              <a:lumOff val="25000"/>
                            </a:schemeClr>
                          </a:solidFill>
                        </a:rPr>
                        <a:t>0.34%</a:t>
                      </a:r>
                    </a:p>
                  </a:txBody>
                  <a:tcPr marL="83406" marR="83406" marT="41703" marB="41703"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2"/>
                  </a:ext>
                </a:extLst>
              </a:tr>
              <a:tr h="472635">
                <a:tc>
                  <a:txBody>
                    <a:bodyPr/>
                    <a:lstStyle/>
                    <a:p>
                      <a:pPr algn="ctr"/>
                      <a:endParaRPr lang="en-GB" sz="1600" b="1" dirty="0">
                        <a:solidFill>
                          <a:schemeClr val="tx1">
                            <a:lumMod val="75000"/>
                            <a:lumOff val="25000"/>
                          </a:schemeClr>
                        </a:solidFill>
                      </a:endParaRPr>
                    </a:p>
                  </a:txBody>
                  <a:tcPr marL="83406" marR="83406" marT="41703" marB="41703"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GB" sz="1600" b="0" dirty="0">
                        <a:solidFill>
                          <a:schemeClr val="tx1">
                            <a:lumMod val="75000"/>
                            <a:lumOff val="25000"/>
                          </a:schemeClr>
                        </a:solidFill>
                      </a:endParaRPr>
                    </a:p>
                  </a:txBody>
                  <a:tcPr marL="83406" marR="83406" marT="41703" marB="41703"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GB" sz="1600" b="0" dirty="0">
                        <a:solidFill>
                          <a:schemeClr val="tx1">
                            <a:lumMod val="75000"/>
                            <a:lumOff val="25000"/>
                          </a:schemeClr>
                        </a:solidFill>
                      </a:endParaRPr>
                    </a:p>
                  </a:txBody>
                  <a:tcPr marL="83406" marR="83406" marT="41703" marB="41703"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GB" sz="1600" b="0" dirty="0">
                        <a:solidFill>
                          <a:schemeClr val="tx1">
                            <a:lumMod val="75000"/>
                            <a:lumOff val="25000"/>
                          </a:schemeClr>
                        </a:solidFill>
                      </a:endParaRPr>
                    </a:p>
                  </a:txBody>
                  <a:tcPr marL="83406" marR="83406" marT="41703" marB="41703"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GB" sz="1600" b="0" dirty="0">
                        <a:solidFill>
                          <a:schemeClr val="tx1">
                            <a:lumMod val="75000"/>
                            <a:lumOff val="25000"/>
                          </a:schemeClr>
                        </a:solidFill>
                      </a:endParaRPr>
                    </a:p>
                  </a:txBody>
                  <a:tcPr marL="83406" marR="83406" marT="41703" marB="41703"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GB" sz="1600" b="0" dirty="0">
                        <a:solidFill>
                          <a:schemeClr val="tx1">
                            <a:lumMod val="75000"/>
                            <a:lumOff val="25000"/>
                          </a:schemeClr>
                        </a:solidFill>
                      </a:endParaRPr>
                    </a:p>
                  </a:txBody>
                  <a:tcPr marL="83406" marR="83406" marT="41703" marB="41703"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GB" sz="1600" b="0" dirty="0">
                        <a:solidFill>
                          <a:schemeClr val="tx1">
                            <a:lumMod val="75000"/>
                            <a:lumOff val="25000"/>
                          </a:schemeClr>
                        </a:solidFill>
                      </a:endParaRPr>
                    </a:p>
                  </a:txBody>
                  <a:tcPr marL="83406" marR="83406" marT="41703" marB="41703"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GB" sz="2600" b="0" dirty="0">
                        <a:solidFill>
                          <a:schemeClr val="tx1">
                            <a:lumMod val="75000"/>
                            <a:lumOff val="25000"/>
                          </a:schemeClr>
                        </a:solidFill>
                      </a:endParaRPr>
                    </a:p>
                  </a:txBody>
                  <a:tcPr marL="83406" marR="83406" marT="41703" marB="41703"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GB" sz="1600" b="1" dirty="0">
                        <a:solidFill>
                          <a:schemeClr val="tx1">
                            <a:lumMod val="75000"/>
                            <a:lumOff val="25000"/>
                          </a:schemeClr>
                        </a:solidFill>
                      </a:endParaRPr>
                    </a:p>
                  </a:txBody>
                  <a:tcPr marL="83406" marR="83406" marT="41703" marB="41703"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3"/>
                  </a:ext>
                </a:extLst>
              </a:tr>
              <a:tr h="491273">
                <a:tc>
                  <a:txBody>
                    <a:bodyPr/>
                    <a:lstStyle/>
                    <a:p>
                      <a:pPr algn="ctr"/>
                      <a:r>
                        <a:rPr lang="en-GB" sz="1600" b="1" dirty="0">
                          <a:solidFill>
                            <a:schemeClr val="tx1">
                              <a:lumMod val="75000"/>
                              <a:lumOff val="25000"/>
                            </a:schemeClr>
                          </a:solidFill>
                        </a:rPr>
                        <a:t>0.29%</a:t>
                      </a:r>
                    </a:p>
                  </a:txBody>
                  <a:tcPr marL="83406" marR="83406" marT="41703" marB="41703"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1600" b="0" dirty="0">
                          <a:solidFill>
                            <a:schemeClr val="tx1">
                              <a:lumMod val="75000"/>
                              <a:lumOff val="25000"/>
                            </a:schemeClr>
                          </a:solidFill>
                        </a:rPr>
                        <a:t>X</a:t>
                      </a:r>
                    </a:p>
                  </a:txBody>
                  <a:tcPr marL="83406" marR="83406" marT="41703" marB="41703"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600" b="0" dirty="0">
                          <a:solidFill>
                            <a:schemeClr val="tx1">
                              <a:lumMod val="75000"/>
                              <a:lumOff val="25000"/>
                            </a:schemeClr>
                          </a:solidFill>
                        </a:rPr>
                        <a:t>0.50</a:t>
                      </a:r>
                    </a:p>
                  </a:txBody>
                  <a:tcPr marL="83406" marR="83406" marT="41703" marB="41703"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600" b="0" dirty="0">
                          <a:solidFill>
                            <a:schemeClr val="tx1">
                              <a:lumMod val="75000"/>
                              <a:lumOff val="25000"/>
                            </a:schemeClr>
                          </a:solidFill>
                        </a:rPr>
                        <a:t>X</a:t>
                      </a:r>
                    </a:p>
                  </a:txBody>
                  <a:tcPr marL="83406" marR="83406" marT="41703" marB="41703"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600" b="0" dirty="0">
                          <a:solidFill>
                            <a:schemeClr val="tx1">
                              <a:lumMod val="75000"/>
                              <a:lumOff val="25000"/>
                            </a:schemeClr>
                          </a:solidFill>
                        </a:rPr>
                        <a:t>0.68</a:t>
                      </a:r>
                    </a:p>
                  </a:txBody>
                  <a:tcPr marL="83406" marR="83406" marT="41703" marB="41703"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600" b="0" dirty="0">
                          <a:solidFill>
                            <a:schemeClr val="tx1">
                              <a:lumMod val="75000"/>
                              <a:lumOff val="25000"/>
                            </a:schemeClr>
                          </a:solidFill>
                        </a:rPr>
                        <a:t>=</a:t>
                      </a:r>
                    </a:p>
                  </a:txBody>
                  <a:tcPr marL="83406" marR="83406" marT="41703" marB="41703"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600" b="0" dirty="0">
                          <a:solidFill>
                            <a:schemeClr val="tx1">
                              <a:lumMod val="75000"/>
                              <a:lumOff val="25000"/>
                            </a:schemeClr>
                          </a:solidFill>
                        </a:rPr>
                        <a:t>0.10%</a:t>
                      </a:r>
                    </a:p>
                  </a:txBody>
                  <a:tcPr marL="83406" marR="83406" marT="41703" marB="41703"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2600" b="0" dirty="0">
                          <a:solidFill>
                            <a:schemeClr val="tx1">
                              <a:lumMod val="75000"/>
                              <a:lumOff val="25000"/>
                            </a:schemeClr>
                          </a:solidFill>
                          <a:sym typeface="Wingdings"/>
                        </a:rPr>
                        <a:t></a:t>
                      </a:r>
                      <a:endParaRPr lang="en-GB" sz="2600" b="0" dirty="0">
                        <a:solidFill>
                          <a:schemeClr val="tx1">
                            <a:lumMod val="75000"/>
                            <a:lumOff val="25000"/>
                          </a:schemeClr>
                        </a:solidFill>
                      </a:endParaRPr>
                    </a:p>
                  </a:txBody>
                  <a:tcPr marL="83406" marR="83406" marT="41703" marB="41703"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600" b="1" dirty="0">
                          <a:solidFill>
                            <a:schemeClr val="tx1">
                              <a:lumMod val="75000"/>
                              <a:lumOff val="25000"/>
                            </a:schemeClr>
                          </a:solidFill>
                        </a:rPr>
                        <a:t>0.39%</a:t>
                      </a:r>
                    </a:p>
                  </a:txBody>
                  <a:tcPr marL="83406" marR="83406" marT="41703" marB="41703"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4"/>
                  </a:ext>
                </a:extLst>
              </a:tr>
              <a:tr h="472635">
                <a:tc>
                  <a:txBody>
                    <a:bodyPr/>
                    <a:lstStyle/>
                    <a:p>
                      <a:pPr algn="ctr"/>
                      <a:endParaRPr lang="en-GB" sz="1600" b="1" dirty="0">
                        <a:solidFill>
                          <a:schemeClr val="tx1">
                            <a:lumMod val="75000"/>
                            <a:lumOff val="25000"/>
                          </a:schemeClr>
                        </a:solidFill>
                      </a:endParaRPr>
                    </a:p>
                  </a:txBody>
                  <a:tcPr marL="83406" marR="83406" marT="41703" marB="41703"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GB" sz="1600" b="0" dirty="0">
                        <a:solidFill>
                          <a:schemeClr val="tx1">
                            <a:lumMod val="75000"/>
                            <a:lumOff val="25000"/>
                          </a:schemeClr>
                        </a:solidFill>
                      </a:endParaRPr>
                    </a:p>
                  </a:txBody>
                  <a:tcPr marL="83406" marR="83406" marT="41703" marB="41703"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GB" sz="1600" b="0" dirty="0">
                        <a:solidFill>
                          <a:schemeClr val="tx1">
                            <a:lumMod val="75000"/>
                            <a:lumOff val="25000"/>
                          </a:schemeClr>
                        </a:solidFill>
                      </a:endParaRPr>
                    </a:p>
                  </a:txBody>
                  <a:tcPr marL="83406" marR="83406" marT="41703" marB="41703"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GB" sz="1600" b="0" dirty="0">
                        <a:solidFill>
                          <a:schemeClr val="tx1">
                            <a:lumMod val="75000"/>
                            <a:lumOff val="25000"/>
                          </a:schemeClr>
                        </a:solidFill>
                      </a:endParaRPr>
                    </a:p>
                  </a:txBody>
                  <a:tcPr marL="83406" marR="83406" marT="41703" marB="41703"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GB" sz="1600" b="0" dirty="0">
                        <a:solidFill>
                          <a:schemeClr val="tx1">
                            <a:lumMod val="75000"/>
                            <a:lumOff val="25000"/>
                          </a:schemeClr>
                        </a:solidFill>
                      </a:endParaRPr>
                    </a:p>
                  </a:txBody>
                  <a:tcPr marL="83406" marR="83406" marT="41703" marB="41703"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GB" sz="1600" b="0" dirty="0">
                        <a:solidFill>
                          <a:schemeClr val="tx1">
                            <a:lumMod val="75000"/>
                            <a:lumOff val="25000"/>
                          </a:schemeClr>
                        </a:solidFill>
                      </a:endParaRPr>
                    </a:p>
                  </a:txBody>
                  <a:tcPr marL="83406" marR="83406" marT="41703" marB="41703"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GB" sz="1600" b="0" dirty="0">
                        <a:solidFill>
                          <a:schemeClr val="tx1">
                            <a:lumMod val="75000"/>
                            <a:lumOff val="25000"/>
                          </a:schemeClr>
                        </a:solidFill>
                      </a:endParaRPr>
                    </a:p>
                  </a:txBody>
                  <a:tcPr marL="83406" marR="83406" marT="41703" marB="41703"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GB" sz="2600" b="0" dirty="0">
                        <a:solidFill>
                          <a:schemeClr val="tx1">
                            <a:lumMod val="75000"/>
                            <a:lumOff val="25000"/>
                          </a:schemeClr>
                        </a:solidFill>
                      </a:endParaRPr>
                    </a:p>
                  </a:txBody>
                  <a:tcPr marL="83406" marR="83406" marT="41703" marB="41703"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GB" sz="1600" b="1" dirty="0">
                        <a:solidFill>
                          <a:schemeClr val="tx1">
                            <a:lumMod val="75000"/>
                            <a:lumOff val="25000"/>
                          </a:schemeClr>
                        </a:solidFill>
                      </a:endParaRPr>
                    </a:p>
                  </a:txBody>
                  <a:tcPr marL="83406" marR="83406" marT="41703" marB="41703"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5"/>
                  </a:ext>
                </a:extLst>
              </a:tr>
              <a:tr h="472635">
                <a:tc>
                  <a:txBody>
                    <a:bodyPr/>
                    <a:lstStyle/>
                    <a:p>
                      <a:pPr algn="ctr"/>
                      <a:r>
                        <a:rPr lang="en-GB" sz="1600" b="1" dirty="0">
                          <a:solidFill>
                            <a:schemeClr val="tx1">
                              <a:lumMod val="75000"/>
                              <a:lumOff val="25000"/>
                            </a:schemeClr>
                          </a:solidFill>
                        </a:rPr>
                        <a:t>0.83%</a:t>
                      </a:r>
                    </a:p>
                  </a:txBody>
                  <a:tcPr marL="83406" marR="83406" marT="41703" marB="41703"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1600" b="0" dirty="0">
                          <a:solidFill>
                            <a:schemeClr val="tx1">
                              <a:lumMod val="75000"/>
                              <a:lumOff val="25000"/>
                            </a:schemeClr>
                          </a:solidFill>
                        </a:rPr>
                        <a:t>X</a:t>
                      </a:r>
                    </a:p>
                  </a:txBody>
                  <a:tcPr marL="83406" marR="83406" marT="41703" marB="41703"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600" b="0" dirty="0">
                          <a:solidFill>
                            <a:schemeClr val="tx1">
                              <a:lumMod val="75000"/>
                              <a:lumOff val="25000"/>
                            </a:schemeClr>
                          </a:solidFill>
                        </a:rPr>
                        <a:t>0.07</a:t>
                      </a:r>
                    </a:p>
                  </a:txBody>
                  <a:tcPr marL="83406" marR="83406" marT="41703" marB="41703"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600" b="0" dirty="0">
                          <a:solidFill>
                            <a:schemeClr val="tx1">
                              <a:lumMod val="75000"/>
                              <a:lumOff val="25000"/>
                            </a:schemeClr>
                          </a:solidFill>
                        </a:rPr>
                        <a:t>X</a:t>
                      </a:r>
                    </a:p>
                  </a:txBody>
                  <a:tcPr marL="83406" marR="83406" marT="41703" marB="41703"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600" b="0" dirty="0">
                          <a:solidFill>
                            <a:schemeClr val="tx1">
                              <a:lumMod val="75000"/>
                              <a:lumOff val="25000"/>
                            </a:schemeClr>
                          </a:solidFill>
                        </a:rPr>
                        <a:t>0.42</a:t>
                      </a:r>
                    </a:p>
                  </a:txBody>
                  <a:tcPr marL="83406" marR="83406" marT="41703" marB="41703"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600" b="0" dirty="0">
                          <a:solidFill>
                            <a:schemeClr val="tx1">
                              <a:lumMod val="75000"/>
                              <a:lumOff val="25000"/>
                            </a:schemeClr>
                          </a:solidFill>
                        </a:rPr>
                        <a:t>=</a:t>
                      </a:r>
                    </a:p>
                  </a:txBody>
                  <a:tcPr marL="83406" marR="83406" marT="41703" marB="41703"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600" b="0" dirty="0">
                          <a:solidFill>
                            <a:schemeClr val="tx1">
                              <a:lumMod val="75000"/>
                              <a:lumOff val="25000"/>
                            </a:schemeClr>
                          </a:solidFill>
                        </a:rPr>
                        <a:t>0.03%</a:t>
                      </a:r>
                    </a:p>
                  </a:txBody>
                  <a:tcPr marL="83406" marR="83406" marT="41703" marB="41703"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2600" b="0" dirty="0">
                          <a:solidFill>
                            <a:schemeClr val="tx1">
                              <a:lumMod val="75000"/>
                              <a:lumOff val="25000"/>
                            </a:schemeClr>
                          </a:solidFill>
                          <a:sym typeface="Wingdings"/>
                        </a:rPr>
                        <a:t></a:t>
                      </a:r>
                      <a:endParaRPr lang="en-GB" sz="2600" b="0" dirty="0">
                        <a:solidFill>
                          <a:schemeClr val="tx1">
                            <a:lumMod val="75000"/>
                            <a:lumOff val="25000"/>
                          </a:schemeClr>
                        </a:solidFill>
                      </a:endParaRPr>
                    </a:p>
                  </a:txBody>
                  <a:tcPr marL="83406" marR="83406" marT="41703" marB="41703"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600" b="1" dirty="0">
                          <a:solidFill>
                            <a:schemeClr val="tx1">
                              <a:lumMod val="75000"/>
                              <a:lumOff val="25000"/>
                            </a:schemeClr>
                          </a:solidFill>
                        </a:rPr>
                        <a:t>0.10%</a:t>
                      </a:r>
                    </a:p>
                  </a:txBody>
                  <a:tcPr marL="83406" marR="83406" marT="41703" marB="41703"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6"/>
                  </a:ext>
                </a:extLst>
              </a:tr>
            </a:tbl>
          </a:graphicData>
        </a:graphic>
      </p:graphicFrame>
      <p:grpSp>
        <p:nvGrpSpPr>
          <p:cNvPr id="9" name="Group 8"/>
          <p:cNvGrpSpPr/>
          <p:nvPr/>
        </p:nvGrpSpPr>
        <p:grpSpPr>
          <a:xfrm>
            <a:off x="424200" y="2758383"/>
            <a:ext cx="1022476" cy="2752293"/>
            <a:chOff x="296223" y="3125935"/>
            <a:chExt cx="1114494" cy="2999986"/>
          </a:xfrm>
        </p:grpSpPr>
        <p:pic>
          <p:nvPicPr>
            <p:cNvPr id="6" name="Picture 5" descr="ford.png"/>
            <p:cNvPicPr>
              <a:picLocks noChangeAspect="1"/>
            </p:cNvPicPr>
            <p:nvPr/>
          </p:nvPicPr>
          <p:blipFill>
            <a:blip r:embed="rId2" cstate="print"/>
            <a:stretch>
              <a:fillRect/>
            </a:stretch>
          </p:blipFill>
          <p:spPr>
            <a:xfrm>
              <a:off x="324033" y="3125935"/>
              <a:ext cx="1057279" cy="1092288"/>
            </a:xfrm>
            <a:prstGeom prst="rect">
              <a:avLst/>
            </a:prstGeom>
          </p:spPr>
        </p:pic>
        <p:pic>
          <p:nvPicPr>
            <p:cNvPr id="7" name="Picture 6" descr="facebook-me-gusta.png"/>
            <p:cNvPicPr>
              <a:picLocks noChangeAspect="1"/>
            </p:cNvPicPr>
            <p:nvPr/>
          </p:nvPicPr>
          <p:blipFill>
            <a:blip r:embed="rId3" cstate="print"/>
            <a:stretch>
              <a:fillRect/>
            </a:stretch>
          </p:blipFill>
          <p:spPr>
            <a:xfrm>
              <a:off x="357183" y="5533308"/>
              <a:ext cx="1053534" cy="592613"/>
            </a:xfrm>
            <a:prstGeom prst="rect">
              <a:avLst/>
            </a:prstGeom>
          </p:spPr>
        </p:pic>
        <p:pic>
          <p:nvPicPr>
            <p:cNvPr id="8" name="Picture 7" descr="costco.png"/>
            <p:cNvPicPr>
              <a:picLocks noChangeAspect="1"/>
            </p:cNvPicPr>
            <p:nvPr/>
          </p:nvPicPr>
          <p:blipFill>
            <a:blip r:embed="rId4" cstate="print"/>
            <a:stretch>
              <a:fillRect/>
            </a:stretch>
          </p:blipFill>
          <p:spPr>
            <a:xfrm>
              <a:off x="296223" y="4170777"/>
              <a:ext cx="1090877" cy="1090877"/>
            </a:xfrm>
            <a:prstGeom prst="rect">
              <a:avLst/>
            </a:prstGeom>
          </p:spPr>
        </p:pic>
      </p:grpSp>
      <p:grpSp>
        <p:nvGrpSpPr>
          <p:cNvPr id="3" name="Group 2">
            <a:extLst>
              <a:ext uri="{FF2B5EF4-FFF2-40B4-BE49-F238E27FC236}">
                <a16:creationId xmlns:a16="http://schemas.microsoft.com/office/drawing/2014/main" xmlns="" id="{1E67CC47-7ED8-D24F-8D12-C9E1E3EE0369}"/>
              </a:ext>
            </a:extLst>
          </p:cNvPr>
          <p:cNvGrpSpPr/>
          <p:nvPr/>
        </p:nvGrpSpPr>
        <p:grpSpPr>
          <a:xfrm>
            <a:off x="1971060" y="3654375"/>
            <a:ext cx="6399685" cy="2106473"/>
            <a:chOff x="1971060" y="3654375"/>
            <a:chExt cx="6399685" cy="2106473"/>
          </a:xfrm>
        </p:grpSpPr>
        <p:grpSp>
          <p:nvGrpSpPr>
            <p:cNvPr id="21" name="Group 20"/>
            <p:cNvGrpSpPr/>
            <p:nvPr/>
          </p:nvGrpSpPr>
          <p:grpSpPr>
            <a:xfrm>
              <a:off x="1971060" y="3654375"/>
              <a:ext cx="6394963" cy="212164"/>
              <a:chOff x="1279368" y="3212895"/>
              <a:chExt cx="7010939" cy="278223"/>
            </a:xfrm>
          </p:grpSpPr>
          <p:grpSp>
            <p:nvGrpSpPr>
              <p:cNvPr id="16" name="Group 41"/>
              <p:cNvGrpSpPr/>
              <p:nvPr/>
            </p:nvGrpSpPr>
            <p:grpSpPr>
              <a:xfrm>
                <a:off x="1279368" y="3217079"/>
                <a:ext cx="7010939" cy="274039"/>
                <a:chOff x="2670838" y="2541043"/>
                <a:chExt cx="5581962" cy="327546"/>
              </a:xfrm>
            </p:grpSpPr>
            <p:cxnSp>
              <p:nvCxnSpPr>
                <p:cNvPr id="17" name="Straight Connector 16"/>
                <p:cNvCxnSpPr/>
                <p:nvPr/>
              </p:nvCxnSpPr>
              <p:spPr>
                <a:xfrm>
                  <a:off x="2674960" y="2866029"/>
                  <a:ext cx="55778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V="1">
                  <a:off x="2670838" y="2541043"/>
                  <a:ext cx="0" cy="327546"/>
                </a:xfrm>
                <a:prstGeom prst="straightConnector1">
                  <a:avLst/>
                </a:prstGeom>
                <a:ln>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cxnSp>
            <p:nvCxnSpPr>
              <p:cNvPr id="20" name="Straight Arrow Connector 19"/>
              <p:cNvCxnSpPr/>
              <p:nvPr/>
            </p:nvCxnSpPr>
            <p:spPr>
              <a:xfrm flipV="1">
                <a:off x="8290307" y="3212895"/>
                <a:ext cx="0" cy="274039"/>
              </a:xfrm>
              <a:prstGeom prst="straightConnector1">
                <a:avLst/>
              </a:prstGeom>
              <a:ln>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22" name="Group 21"/>
            <p:cNvGrpSpPr/>
            <p:nvPr/>
          </p:nvGrpSpPr>
          <p:grpSpPr>
            <a:xfrm>
              <a:off x="1975782" y="4605740"/>
              <a:ext cx="6394963" cy="212164"/>
              <a:chOff x="1279368" y="3000221"/>
              <a:chExt cx="7010939" cy="278223"/>
            </a:xfrm>
          </p:grpSpPr>
          <p:grpSp>
            <p:nvGrpSpPr>
              <p:cNvPr id="23" name="Group 41"/>
              <p:cNvGrpSpPr/>
              <p:nvPr/>
            </p:nvGrpSpPr>
            <p:grpSpPr>
              <a:xfrm>
                <a:off x="1279368" y="3004405"/>
                <a:ext cx="7010939" cy="274039"/>
                <a:chOff x="2670838" y="2286845"/>
                <a:chExt cx="5581962" cy="327546"/>
              </a:xfrm>
            </p:grpSpPr>
            <p:cxnSp>
              <p:nvCxnSpPr>
                <p:cNvPr id="25" name="Straight Connector 24"/>
                <p:cNvCxnSpPr/>
                <p:nvPr/>
              </p:nvCxnSpPr>
              <p:spPr>
                <a:xfrm>
                  <a:off x="2674960" y="2611831"/>
                  <a:ext cx="55778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V="1">
                  <a:off x="2670838" y="2286845"/>
                  <a:ext cx="0" cy="327546"/>
                </a:xfrm>
                <a:prstGeom prst="straightConnector1">
                  <a:avLst/>
                </a:prstGeom>
                <a:ln>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cxnSp>
            <p:nvCxnSpPr>
              <p:cNvPr id="24" name="Straight Arrow Connector 23"/>
              <p:cNvCxnSpPr/>
              <p:nvPr/>
            </p:nvCxnSpPr>
            <p:spPr>
              <a:xfrm flipV="1">
                <a:off x="8290307" y="3000221"/>
                <a:ext cx="0" cy="274039"/>
              </a:xfrm>
              <a:prstGeom prst="straightConnector1">
                <a:avLst/>
              </a:prstGeom>
              <a:ln>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27" name="Group 26"/>
            <p:cNvGrpSpPr/>
            <p:nvPr/>
          </p:nvGrpSpPr>
          <p:grpSpPr>
            <a:xfrm>
              <a:off x="1975782" y="5548689"/>
              <a:ext cx="6394963" cy="212159"/>
              <a:chOff x="1279368" y="2869592"/>
              <a:chExt cx="7010939" cy="278218"/>
            </a:xfrm>
          </p:grpSpPr>
          <p:grpSp>
            <p:nvGrpSpPr>
              <p:cNvPr id="28" name="Group 41"/>
              <p:cNvGrpSpPr/>
              <p:nvPr/>
            </p:nvGrpSpPr>
            <p:grpSpPr>
              <a:xfrm>
                <a:off x="1279368" y="2873771"/>
                <a:ext cx="7010939" cy="274039"/>
                <a:chOff x="2670838" y="2130698"/>
                <a:chExt cx="5581962" cy="327546"/>
              </a:xfrm>
            </p:grpSpPr>
            <p:cxnSp>
              <p:nvCxnSpPr>
                <p:cNvPr id="30" name="Straight Connector 29"/>
                <p:cNvCxnSpPr/>
                <p:nvPr/>
              </p:nvCxnSpPr>
              <p:spPr>
                <a:xfrm>
                  <a:off x="2674960" y="2455685"/>
                  <a:ext cx="55778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flipV="1">
                  <a:off x="2670838" y="2130698"/>
                  <a:ext cx="0" cy="327546"/>
                </a:xfrm>
                <a:prstGeom prst="straightConnector1">
                  <a:avLst/>
                </a:prstGeom>
                <a:ln>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cxnSp>
            <p:nvCxnSpPr>
              <p:cNvPr id="29" name="Straight Arrow Connector 28"/>
              <p:cNvCxnSpPr/>
              <p:nvPr/>
            </p:nvCxnSpPr>
            <p:spPr>
              <a:xfrm flipV="1">
                <a:off x="8290307" y="2869592"/>
                <a:ext cx="0" cy="274035"/>
              </a:xfrm>
              <a:prstGeom prst="straightConnector1">
                <a:avLst/>
              </a:prstGeom>
              <a:ln>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sp>
        <p:nvSpPr>
          <p:cNvPr id="33" name="Rectangle 32"/>
          <p:cNvSpPr/>
          <p:nvPr/>
        </p:nvSpPr>
        <p:spPr>
          <a:xfrm>
            <a:off x="1228454" y="5941149"/>
            <a:ext cx="7305945" cy="215217"/>
          </a:xfrm>
          <a:prstGeom prst="rect">
            <a:avLst/>
          </a:prstGeom>
        </p:spPr>
        <p:txBody>
          <a:bodyPr wrap="square" lIns="91216" tIns="45608" rIns="91216" bIns="45608">
            <a:spAutoFit/>
          </a:bodyPr>
          <a:lstStyle/>
          <a:p>
            <a:pPr defTabSz="912144"/>
            <a:r>
              <a:rPr lang="ja-JP" altLang="en-US" sz="800" dirty="0" smtClean="0">
                <a:solidFill>
                  <a:srgbClr val="595959"/>
                </a:solidFill>
                <a:cs typeface="Arial" panose="020B0604020202020204" pitchFamily="34" charset="0"/>
              </a:rPr>
              <a:t>（注）調整前ウエイトは、合計が</a:t>
            </a:r>
            <a:r>
              <a:rPr lang="en-US" altLang="ja-JP" sz="800" dirty="0" smtClean="0">
                <a:solidFill>
                  <a:srgbClr val="595959"/>
                </a:solidFill>
                <a:cs typeface="Arial" panose="020B0604020202020204" pitchFamily="34" charset="0"/>
              </a:rPr>
              <a:t>1</a:t>
            </a:r>
            <a:r>
              <a:rPr lang="ja-JP" altLang="en-US" sz="800" dirty="0" smtClean="0">
                <a:solidFill>
                  <a:srgbClr val="595959"/>
                </a:solidFill>
                <a:cs typeface="Arial" panose="020B0604020202020204" pitchFamily="34" charset="0"/>
              </a:rPr>
              <a:t>となるように再計算されて最終ウエイトとなる。ウエイトとファクタースコアは、</a:t>
            </a:r>
            <a:r>
              <a:rPr lang="en-US" altLang="ja-JP" sz="800" dirty="0" smtClean="0">
                <a:solidFill>
                  <a:srgbClr val="595959"/>
                </a:solidFill>
                <a:cs typeface="Arial" panose="020B0604020202020204" pitchFamily="34" charset="0"/>
              </a:rPr>
              <a:t>2014</a:t>
            </a:r>
            <a:r>
              <a:rPr lang="ja-JP" altLang="en-US" sz="800" dirty="0" smtClean="0">
                <a:solidFill>
                  <a:srgbClr val="595959"/>
                </a:solidFill>
                <a:cs typeface="Arial" panose="020B0604020202020204" pitchFamily="34" charset="0"/>
              </a:rPr>
              <a:t>年</a:t>
            </a:r>
            <a:r>
              <a:rPr lang="en-US" altLang="ja-JP" sz="800" dirty="0" smtClean="0">
                <a:solidFill>
                  <a:srgbClr val="595959"/>
                </a:solidFill>
                <a:cs typeface="Arial" panose="020B0604020202020204" pitchFamily="34" charset="0"/>
              </a:rPr>
              <a:t>9</a:t>
            </a:r>
            <a:r>
              <a:rPr lang="ja-JP" altLang="en-US" sz="800" dirty="0" smtClean="0">
                <a:solidFill>
                  <a:srgbClr val="595959"/>
                </a:solidFill>
                <a:cs typeface="Arial" panose="020B0604020202020204" pitchFamily="34" charset="0"/>
              </a:rPr>
              <a:t>月</a:t>
            </a:r>
            <a:r>
              <a:rPr lang="en-US" altLang="ja-JP" sz="800" dirty="0" smtClean="0">
                <a:solidFill>
                  <a:srgbClr val="595959"/>
                </a:solidFill>
                <a:cs typeface="Arial" panose="020B0604020202020204" pitchFamily="34" charset="0"/>
              </a:rPr>
              <a:t>22</a:t>
            </a:r>
            <a:r>
              <a:rPr lang="ja-JP" altLang="en-US" sz="800" dirty="0" smtClean="0">
                <a:solidFill>
                  <a:srgbClr val="595959"/>
                </a:solidFill>
                <a:cs typeface="Arial" panose="020B0604020202020204" pitchFamily="34" charset="0"/>
              </a:rPr>
              <a:t>日時点の</a:t>
            </a:r>
            <a:r>
              <a:rPr lang="en-GB" sz="800" dirty="0" smtClean="0">
                <a:solidFill>
                  <a:srgbClr val="595959"/>
                </a:solidFill>
                <a:cs typeface="Arial" panose="020B0604020202020204" pitchFamily="34" charset="0"/>
              </a:rPr>
              <a:t>FTSE </a:t>
            </a:r>
            <a:r>
              <a:rPr lang="en-GB" sz="800" dirty="0">
                <a:solidFill>
                  <a:srgbClr val="595959"/>
                </a:solidFill>
                <a:cs typeface="Arial" panose="020B0604020202020204" pitchFamily="34" charset="0"/>
              </a:rPr>
              <a:t>Russell </a:t>
            </a:r>
            <a:r>
              <a:rPr lang="en-GB" sz="800" dirty="0" smtClean="0">
                <a:solidFill>
                  <a:srgbClr val="595959"/>
                </a:solidFill>
                <a:cs typeface="Arial" panose="020B0604020202020204" pitchFamily="34" charset="0"/>
              </a:rPr>
              <a:t>All World</a:t>
            </a:r>
            <a:r>
              <a:rPr lang="ja-JP" altLang="en-US" sz="800" dirty="0" smtClean="0">
                <a:solidFill>
                  <a:srgbClr val="595959"/>
                </a:solidFill>
                <a:cs typeface="Arial" panose="020B0604020202020204" pitchFamily="34" charset="0"/>
              </a:rPr>
              <a:t>に基づく。</a:t>
            </a:r>
            <a:endParaRPr lang="en-GB" sz="800" dirty="0">
              <a:solidFill>
                <a:srgbClr val="595959"/>
              </a:solidFill>
              <a:latin typeface="Calibri"/>
            </a:endParaRPr>
          </a:p>
        </p:txBody>
      </p:sp>
      <p:sp>
        <p:nvSpPr>
          <p:cNvPr id="36" name="Title 1"/>
          <p:cNvSpPr>
            <a:spLocks noGrp="1"/>
          </p:cNvSpPr>
          <p:nvPr>
            <p:ph type="title"/>
          </p:nvPr>
        </p:nvSpPr>
        <p:spPr>
          <a:xfrm>
            <a:off x="449714" y="419702"/>
            <a:ext cx="8370600" cy="917988"/>
          </a:xfrm>
        </p:spPr>
        <p:txBody>
          <a:bodyPr/>
          <a:lstStyle/>
          <a:p>
            <a:pPr>
              <a:defRPr/>
            </a:pPr>
            <a:r>
              <a:rPr lang="en-US" altLang="ja-JP" dirty="0" smtClean="0"/>
              <a:t>2.3 </a:t>
            </a:r>
            <a:r>
              <a:rPr lang="ja-JP" altLang="en-US" dirty="0" smtClean="0"/>
              <a:t>マルチファクターでティルトするプロセス</a:t>
            </a:r>
            <a:r>
              <a:rPr lang="da-DK" dirty="0"/>
              <a:t/>
            </a:r>
            <a:br>
              <a:rPr lang="da-DK" dirty="0"/>
            </a:br>
            <a:r>
              <a:rPr lang="ja-JP" altLang="en-US" sz="2400" b="0" dirty="0" smtClean="0"/>
              <a:t>具体例（ティルト乗数は</a:t>
            </a:r>
            <a:r>
              <a:rPr lang="en-US" altLang="ja-JP" sz="2400" b="0" dirty="0" smtClean="0"/>
              <a:t>1</a:t>
            </a:r>
            <a:r>
              <a:rPr lang="ja-JP" altLang="en-US" sz="2400" b="0" dirty="0" smtClean="0"/>
              <a:t>）</a:t>
            </a:r>
            <a:endParaRPr lang="en-GB" sz="2400" b="0" dirty="0"/>
          </a:p>
        </p:txBody>
      </p:sp>
      <p:sp>
        <p:nvSpPr>
          <p:cNvPr id="32" name="Text Placeholder 2"/>
          <p:cNvSpPr>
            <a:spLocks noGrp="1"/>
          </p:cNvSpPr>
          <p:nvPr>
            <p:ph type="body" sz="quarter" idx="4294967295"/>
          </p:nvPr>
        </p:nvSpPr>
        <p:spPr>
          <a:xfrm>
            <a:off x="457200" y="6200775"/>
            <a:ext cx="8235244" cy="198999"/>
          </a:xfrm>
          <a:prstGeom prst="rect">
            <a:avLst/>
          </a:prstGeom>
        </p:spPr>
        <p:txBody>
          <a:bodyPr/>
          <a:lstStyle/>
          <a:p>
            <a:pPr marL="0" indent="0">
              <a:buNone/>
            </a:pPr>
            <a:r>
              <a:rPr lang="ja-JP" altLang="en-US" sz="800" b="0" dirty="0" smtClean="0">
                <a:solidFill>
                  <a:schemeClr val="bg1">
                    <a:lumMod val="50000"/>
                  </a:schemeClr>
                </a:solidFill>
              </a:rPr>
              <a:t>出所</a:t>
            </a:r>
            <a:r>
              <a:rPr lang="en-US" sz="800" b="0" dirty="0" smtClean="0">
                <a:solidFill>
                  <a:schemeClr val="bg1">
                    <a:lumMod val="50000"/>
                  </a:schemeClr>
                </a:solidFill>
              </a:rPr>
              <a:t>: </a:t>
            </a:r>
            <a:r>
              <a:rPr lang="en-US" sz="800" b="0" dirty="0">
                <a:solidFill>
                  <a:schemeClr val="bg1">
                    <a:lumMod val="50000"/>
                  </a:schemeClr>
                </a:solidFill>
              </a:rPr>
              <a:t>FTSE Russell.</a:t>
            </a:r>
          </a:p>
        </p:txBody>
      </p:sp>
    </p:spTree>
    <p:extLst>
      <p:ext uri="{BB962C8B-B14F-4D97-AF65-F5344CB8AC3E}">
        <p14:creationId xmlns:p14="http://schemas.microsoft.com/office/powerpoint/2010/main" val="210435906"/>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7200" y="350521"/>
            <a:ext cx="8229600" cy="666750"/>
          </a:xfrm>
        </p:spPr>
        <p:txBody>
          <a:bodyPr/>
          <a:lstStyle/>
          <a:p>
            <a:r>
              <a:rPr lang="en-US" altLang="ja-JP" dirty="0" smtClean="0"/>
              <a:t>2.4 </a:t>
            </a:r>
            <a:r>
              <a:rPr lang="ja-JP" altLang="en-US" dirty="0" smtClean="0"/>
              <a:t>ポートフォリオ</a:t>
            </a:r>
            <a:r>
              <a:rPr lang="ja-JP" altLang="en-US" dirty="0"/>
              <a:t>構築</a:t>
            </a:r>
            <a:r>
              <a:rPr lang="ja-JP" altLang="en-US" dirty="0" smtClean="0"/>
              <a:t>：アクティブ・ファクター・エクスポージャのターゲット・レベル</a:t>
            </a:r>
            <a:endParaRPr lang="en-US" dirty="0"/>
          </a:p>
        </p:txBody>
      </p:sp>
      <p:sp>
        <p:nvSpPr>
          <p:cNvPr id="5" name="Text Placeholder 4"/>
          <p:cNvSpPr>
            <a:spLocks noGrp="1"/>
          </p:cNvSpPr>
          <p:nvPr>
            <p:ph type="body" sz="quarter" idx="12"/>
          </p:nvPr>
        </p:nvSpPr>
        <p:spPr>
          <a:xfrm>
            <a:off x="363370" y="1059230"/>
            <a:ext cx="8194222" cy="2557623"/>
          </a:xfrm>
        </p:spPr>
        <p:txBody>
          <a:bodyPr wrap="square">
            <a:spAutoFit/>
          </a:bodyPr>
          <a:lstStyle/>
          <a:p>
            <a:pPr marL="285750" lvl="1" indent="-285750"/>
            <a:r>
              <a:rPr lang="ja-JP" altLang="en-US" sz="1800" dirty="0" smtClean="0"/>
              <a:t>目標</a:t>
            </a:r>
            <a:r>
              <a:rPr lang="ja-JP" altLang="en-US" sz="1800" dirty="0"/>
              <a:t>とするエクスポージャを実現する</a:t>
            </a:r>
            <a:r>
              <a:rPr lang="ja-JP" altLang="en-US" sz="1800" dirty="0" smtClean="0"/>
              <a:t>ティルト乗数を</a:t>
            </a:r>
            <a:r>
              <a:rPr lang="ja-JP" altLang="en-US" sz="1800" dirty="0"/>
              <a:t>逆算する。</a:t>
            </a:r>
          </a:p>
          <a:p>
            <a:pPr marL="285750" lvl="1" indent="-285750">
              <a:lnSpc>
                <a:spcPct val="100000"/>
              </a:lnSpc>
            </a:pPr>
            <a:r>
              <a:rPr lang="en-US" altLang="ja-JP" sz="1800" dirty="0" smtClean="0"/>
              <a:t>2</a:t>
            </a:r>
            <a:r>
              <a:rPr lang="ja-JP" altLang="en-US" sz="1800" dirty="0"/>
              <a:t>種類の </a:t>
            </a:r>
            <a:r>
              <a:rPr lang="en-US" altLang="ja-JP" sz="1800" dirty="0"/>
              <a:t>Value </a:t>
            </a:r>
            <a:r>
              <a:rPr lang="ja-JP" altLang="en-US" sz="1800" dirty="0"/>
              <a:t>インデックス</a:t>
            </a:r>
            <a:r>
              <a:rPr lang="en-US" altLang="ja-JP" sz="1800" dirty="0"/>
              <a:t>: </a:t>
            </a:r>
          </a:p>
          <a:p>
            <a:pPr marL="571500" lvl="2" indent="-342900">
              <a:lnSpc>
                <a:spcPct val="100000"/>
              </a:lnSpc>
              <a:buFont typeface="+mj-lt"/>
              <a:buAutoNum type="arabicPeriod"/>
            </a:pPr>
            <a:r>
              <a:rPr lang="ja-JP" altLang="en-US" sz="1800" b="1" dirty="0" smtClean="0"/>
              <a:t>固定</a:t>
            </a:r>
            <a:r>
              <a:rPr lang="ja-JP" altLang="en-US" sz="1800" b="1" dirty="0"/>
              <a:t>ティルトインデックス</a:t>
            </a:r>
            <a:r>
              <a:rPr lang="en-US" altLang="ja-JP" sz="1800" b="1" dirty="0"/>
              <a:t>: </a:t>
            </a:r>
            <a:r>
              <a:rPr lang="ja-JP" altLang="en-US" sz="1800" b="1" dirty="0"/>
              <a:t>シングル・</a:t>
            </a:r>
            <a:r>
              <a:rPr lang="ja-JP" altLang="en-US" sz="1800" b="1" dirty="0" smtClean="0"/>
              <a:t>バリューファクターティルト</a:t>
            </a:r>
            <a:endParaRPr lang="en-GB" sz="1800" dirty="0"/>
          </a:p>
          <a:p>
            <a:pPr marL="685800" lvl="4" indent="0">
              <a:lnSpc>
                <a:spcPct val="100000"/>
              </a:lnSpc>
              <a:buNone/>
            </a:pPr>
            <a:r>
              <a:rPr lang="ja-JP" altLang="en-US" i="1" dirty="0" smtClean="0"/>
              <a:t>アクティブ</a:t>
            </a:r>
            <a:r>
              <a:rPr lang="ja-JP" altLang="en-US" i="1" dirty="0"/>
              <a:t>・バリューエクスポージャは、時間軸で変化、しかしティルト乗数は１で</a:t>
            </a:r>
            <a:r>
              <a:rPr lang="ja-JP" altLang="en-US" i="1" dirty="0" smtClean="0"/>
              <a:t>不変</a:t>
            </a:r>
            <a:endParaRPr lang="en-GB" i="1" dirty="0"/>
          </a:p>
          <a:p>
            <a:pPr marL="571500" lvl="2" indent="-342900">
              <a:lnSpc>
                <a:spcPct val="100000"/>
              </a:lnSpc>
              <a:buFont typeface="+mj-lt"/>
              <a:buAutoNum type="arabicPeriod"/>
            </a:pPr>
            <a:r>
              <a:rPr lang="ja-JP" altLang="en-US" sz="1800" b="1" dirty="0" smtClean="0"/>
              <a:t>固定</a:t>
            </a:r>
            <a:r>
              <a:rPr lang="ja-JP" altLang="en-US" sz="1800" b="1" dirty="0"/>
              <a:t>エクスポージャ・インデックス</a:t>
            </a:r>
            <a:r>
              <a:rPr lang="en-US" altLang="ja-JP" sz="1800" b="1" dirty="0"/>
              <a:t>: </a:t>
            </a:r>
            <a:r>
              <a:rPr lang="ja-JP" altLang="en-US" sz="1800" b="1" dirty="0"/>
              <a:t>アクティブ・エクスポージャを</a:t>
            </a:r>
            <a:r>
              <a:rPr lang="en-US" altLang="ja-JP" sz="1800" b="1" dirty="0"/>
              <a:t>0.45</a:t>
            </a:r>
            <a:r>
              <a:rPr lang="ja-JP" altLang="en-US" sz="1800" b="1" dirty="0"/>
              <a:t>に</a:t>
            </a:r>
            <a:r>
              <a:rPr lang="ja-JP" altLang="en-US" sz="1800" b="1" dirty="0" smtClean="0"/>
              <a:t>固定</a:t>
            </a:r>
            <a:endParaRPr lang="en-GB" sz="1800" dirty="0"/>
          </a:p>
          <a:p>
            <a:pPr marL="685800" lvl="4" indent="0">
              <a:lnSpc>
                <a:spcPct val="100000"/>
              </a:lnSpc>
              <a:buNone/>
            </a:pPr>
            <a:r>
              <a:rPr lang="ja-JP" altLang="en-US" i="1" dirty="0" smtClean="0"/>
              <a:t>アクティブ</a:t>
            </a:r>
            <a:r>
              <a:rPr lang="ja-JP" altLang="en-US" i="1" dirty="0"/>
              <a:t>・バリューエクスポージャは</a:t>
            </a:r>
            <a:r>
              <a:rPr lang="en-US" altLang="ja-JP" i="1" dirty="0"/>
              <a:t>0.45</a:t>
            </a:r>
            <a:r>
              <a:rPr lang="ja-JP" altLang="en-US" i="1" dirty="0"/>
              <a:t>で不変、しかしティルト乗数は時間軸で変化</a:t>
            </a:r>
          </a:p>
          <a:p>
            <a:pPr marL="0" lvl="1" indent="0">
              <a:buNone/>
            </a:pPr>
            <a:endParaRPr lang="en-GB" sz="1800" dirty="0"/>
          </a:p>
        </p:txBody>
      </p:sp>
      <p:sp>
        <p:nvSpPr>
          <p:cNvPr id="6" name="Text Placeholder 4"/>
          <p:cNvSpPr txBox="1">
            <a:spLocks/>
          </p:cNvSpPr>
          <p:nvPr/>
        </p:nvSpPr>
        <p:spPr>
          <a:xfrm>
            <a:off x="1235654" y="3249462"/>
            <a:ext cx="6231946" cy="517065"/>
          </a:xfrm>
          <a:prstGeom prst="rect">
            <a:avLst/>
          </a:prstGeom>
        </p:spPr>
        <p:txBody>
          <a:bodyPr vert="horz" wrap="square" lIns="0" tIns="0" rIns="0" bIns="0" rtlCol="0">
            <a:spAutoFit/>
          </a:bodyPr>
          <a:lstStyle>
            <a:lvl1pPr marL="228600" indent="-228600" algn="l" defTabSz="914400" rtl="0" eaLnBrk="1" latinLnBrk="0" hangingPunct="1">
              <a:lnSpc>
                <a:spcPct val="100000"/>
              </a:lnSpc>
              <a:spcBef>
                <a:spcPts val="0"/>
              </a:spcBef>
              <a:spcAft>
                <a:spcPts val="900"/>
              </a:spcAft>
              <a:buFont typeface="Arial" panose="020B0604020202020204" pitchFamily="34" charset="0"/>
              <a:buChar char="•"/>
              <a:defRPr sz="2400" b="1" kern="1200">
                <a:solidFill>
                  <a:srgbClr val="541832"/>
                </a:solidFill>
                <a:latin typeface="+mn-lt"/>
                <a:ea typeface="+mn-ea"/>
                <a:cs typeface="+mn-cs"/>
              </a:defRPr>
            </a:lvl1pPr>
            <a:lvl2pPr marL="457200" indent="-228600" algn="l" defTabSz="914400" rtl="0" eaLnBrk="1" latinLnBrk="0" hangingPunct="1">
              <a:lnSpc>
                <a:spcPct val="120000"/>
              </a:lnSpc>
              <a:spcBef>
                <a:spcPts val="0"/>
              </a:spcBef>
              <a:spcAft>
                <a:spcPts val="900"/>
              </a:spcAft>
              <a:buFont typeface="Arial" panose="020B0604020202020204" pitchFamily="34" charset="0"/>
              <a:buChar char="•"/>
              <a:defRPr sz="2400" kern="1200">
                <a:solidFill>
                  <a:schemeClr val="tx1">
                    <a:lumMod val="75000"/>
                    <a:lumOff val="25000"/>
                  </a:schemeClr>
                </a:solidFill>
                <a:latin typeface="+mn-lt"/>
                <a:ea typeface="+mn-ea"/>
                <a:cs typeface="+mn-cs"/>
              </a:defRPr>
            </a:lvl2pPr>
            <a:lvl3pPr marL="685800" indent="-228600" algn="l" defTabSz="914400" rtl="0" eaLnBrk="1" latinLnBrk="0" hangingPunct="1">
              <a:lnSpc>
                <a:spcPct val="120000"/>
              </a:lnSpc>
              <a:spcBef>
                <a:spcPts val="0"/>
              </a:spcBef>
              <a:spcAft>
                <a:spcPts val="900"/>
              </a:spcAft>
              <a:buFont typeface="Arial" panose="020B0604020202020204" pitchFamily="34" charset="0"/>
              <a:buChar char="•"/>
              <a:defRPr sz="2000" kern="1200">
                <a:solidFill>
                  <a:schemeClr val="tx1">
                    <a:lumMod val="75000"/>
                    <a:lumOff val="25000"/>
                  </a:schemeClr>
                </a:solidFill>
                <a:latin typeface="+mn-lt"/>
                <a:ea typeface="+mn-ea"/>
                <a:cs typeface="+mn-cs"/>
              </a:defRPr>
            </a:lvl3pPr>
            <a:lvl4pPr marL="914400" indent="-228600" algn="l" defTabSz="914400" rtl="0" eaLnBrk="1" latinLnBrk="0" hangingPunct="1">
              <a:lnSpc>
                <a:spcPct val="120000"/>
              </a:lnSpc>
              <a:spcBef>
                <a:spcPts val="0"/>
              </a:spcBef>
              <a:spcAft>
                <a:spcPts val="900"/>
              </a:spcAft>
              <a:buFont typeface="Arial" panose="020B0604020202020204" pitchFamily="34" charset="0"/>
              <a:buChar char="•"/>
              <a:defRPr sz="1600" kern="1200">
                <a:solidFill>
                  <a:schemeClr val="tx1">
                    <a:lumMod val="75000"/>
                    <a:lumOff val="25000"/>
                  </a:schemeClr>
                </a:solidFill>
                <a:latin typeface="+mn-lt"/>
                <a:ea typeface="+mn-ea"/>
                <a:cs typeface="+mn-cs"/>
              </a:defRPr>
            </a:lvl4pPr>
            <a:lvl5pPr marL="1143000" indent="-228600" algn="l" defTabSz="914400" rtl="0" eaLnBrk="1" latinLnBrk="0" hangingPunct="1">
              <a:lnSpc>
                <a:spcPct val="120000"/>
              </a:lnSpc>
              <a:spcBef>
                <a:spcPts val="0"/>
              </a:spcBef>
              <a:spcAft>
                <a:spcPts val="900"/>
              </a:spcAft>
              <a:buFont typeface="Arial" panose="020B0604020202020204" pitchFamily="34" charset="0"/>
              <a:buChar char="•"/>
              <a:defRPr sz="1200" b="0" kern="1200" cap="all" baseline="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en-GB" sz="1400" b="1" dirty="0">
                <a:solidFill>
                  <a:srgbClr val="551732"/>
                </a:solidFill>
              </a:rPr>
              <a:t>FTSE </a:t>
            </a:r>
            <a:r>
              <a:rPr lang="en-GB" sz="1400" b="1" dirty="0" smtClean="0">
                <a:solidFill>
                  <a:srgbClr val="551732"/>
                </a:solidFill>
              </a:rPr>
              <a:t>Developed</a:t>
            </a:r>
            <a:r>
              <a:rPr lang="ja-JP" altLang="en-US" sz="1400" b="1" dirty="0" smtClean="0">
                <a:solidFill>
                  <a:srgbClr val="551732"/>
                </a:solidFill>
              </a:rPr>
              <a:t>における、固定ティルト（</a:t>
            </a:r>
            <a:r>
              <a:rPr lang="en-US" altLang="ja-JP" sz="1400" b="1" dirty="0" smtClean="0">
                <a:solidFill>
                  <a:srgbClr val="551732"/>
                </a:solidFill>
              </a:rPr>
              <a:t>Fixed Tilt</a:t>
            </a:r>
            <a:r>
              <a:rPr lang="ja-JP" altLang="en-US" sz="1400" b="1" dirty="0" smtClean="0">
                <a:solidFill>
                  <a:srgbClr val="551732"/>
                </a:solidFill>
              </a:rPr>
              <a:t>）と、</a:t>
            </a:r>
            <a:r>
              <a:rPr lang="ja-JP" altLang="en-US" sz="1400" b="1" dirty="0">
                <a:solidFill>
                  <a:srgbClr val="551732"/>
                </a:solidFill>
              </a:rPr>
              <a:t>固定</a:t>
            </a:r>
            <a:r>
              <a:rPr lang="ja-JP" altLang="en-US" sz="1400" b="1" dirty="0" smtClean="0">
                <a:solidFill>
                  <a:srgbClr val="551732"/>
                </a:solidFill>
              </a:rPr>
              <a:t>エクスポージャ（</a:t>
            </a:r>
            <a:r>
              <a:rPr lang="en-US" altLang="ja-JP" sz="1400" b="1" dirty="0" smtClean="0">
                <a:solidFill>
                  <a:srgbClr val="551732"/>
                </a:solidFill>
              </a:rPr>
              <a:t>Fixed Exposure</a:t>
            </a:r>
            <a:r>
              <a:rPr lang="ja-JP" altLang="en-US" sz="1400" b="1" dirty="0" smtClean="0">
                <a:solidFill>
                  <a:srgbClr val="551732"/>
                </a:solidFill>
              </a:rPr>
              <a:t>）インデックス</a:t>
            </a:r>
            <a:endParaRPr lang="en-GB" sz="1400" b="1" dirty="0">
              <a:solidFill>
                <a:srgbClr val="551732"/>
              </a:solidFill>
            </a:endParaRPr>
          </a:p>
        </p:txBody>
      </p:sp>
      <p:graphicFrame>
        <p:nvGraphicFramePr>
          <p:cNvPr id="12" name="Chart 11"/>
          <p:cNvGraphicFramePr>
            <a:graphicFrameLocks/>
          </p:cNvGraphicFramePr>
          <p:nvPr>
            <p:extLst>
              <p:ext uri="{D42A27DB-BD31-4B8C-83A1-F6EECF244321}">
                <p14:modId xmlns:p14="http://schemas.microsoft.com/office/powerpoint/2010/main" val="1762324726"/>
              </p:ext>
            </p:extLst>
          </p:nvPr>
        </p:nvGraphicFramePr>
        <p:xfrm>
          <a:off x="484270" y="3706777"/>
          <a:ext cx="3941956" cy="241572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3" name="Chart 12"/>
          <p:cNvGraphicFramePr>
            <a:graphicFrameLocks/>
          </p:cNvGraphicFramePr>
          <p:nvPr>
            <p:extLst>
              <p:ext uri="{D42A27DB-BD31-4B8C-83A1-F6EECF244321}">
                <p14:modId xmlns:p14="http://schemas.microsoft.com/office/powerpoint/2010/main" val="1900497855"/>
              </p:ext>
            </p:extLst>
          </p:nvPr>
        </p:nvGraphicFramePr>
        <p:xfrm>
          <a:off x="4605130" y="3660281"/>
          <a:ext cx="4048540" cy="2515232"/>
        </p:xfrm>
        <a:graphic>
          <a:graphicData uri="http://schemas.openxmlformats.org/drawingml/2006/chart">
            <c:chart xmlns:c="http://schemas.openxmlformats.org/drawingml/2006/chart" xmlns:r="http://schemas.openxmlformats.org/officeDocument/2006/relationships" r:id="rId3"/>
          </a:graphicData>
        </a:graphic>
      </p:graphicFrame>
      <p:sp>
        <p:nvSpPr>
          <p:cNvPr id="7" name="Rectangle 6"/>
          <p:cNvSpPr/>
          <p:nvPr/>
        </p:nvSpPr>
        <p:spPr>
          <a:xfrm>
            <a:off x="906341" y="6092309"/>
            <a:ext cx="1441420" cy="246221"/>
          </a:xfrm>
          <a:prstGeom prst="rect">
            <a:avLst/>
          </a:prstGeom>
        </p:spPr>
        <p:txBody>
          <a:bodyPr wrap="none">
            <a:spAutoFit/>
          </a:bodyPr>
          <a:lstStyle/>
          <a:p>
            <a:r>
              <a:rPr lang="en-US" altLang="ja-JP" sz="1000" dirty="0"/>
              <a:t>Source: FTSE Russell</a:t>
            </a:r>
            <a:endParaRPr lang="en-GB" sz="1000" dirty="0"/>
          </a:p>
        </p:txBody>
      </p:sp>
    </p:spTree>
    <p:extLst>
      <p:ext uri="{BB962C8B-B14F-4D97-AF65-F5344CB8AC3E}">
        <p14:creationId xmlns:p14="http://schemas.microsoft.com/office/powerpoint/2010/main" val="311648763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7200" y="419101"/>
            <a:ext cx="8229600" cy="666750"/>
          </a:xfrm>
        </p:spPr>
        <p:txBody>
          <a:bodyPr/>
          <a:lstStyle/>
          <a:p>
            <a:r>
              <a:rPr lang="en-US" altLang="ja-JP" dirty="0" smtClean="0"/>
              <a:t>2.5 </a:t>
            </a:r>
            <a:r>
              <a:rPr lang="ja-JP" altLang="en-US" dirty="0" smtClean="0"/>
              <a:t>ポートフォリオ</a:t>
            </a:r>
            <a:r>
              <a:rPr lang="ja-JP" altLang="en-US" dirty="0"/>
              <a:t>構築：アクティブ・ファクター・エクスポージャのターゲット・</a:t>
            </a:r>
            <a:r>
              <a:rPr lang="ja-JP" altLang="en-US" dirty="0" smtClean="0"/>
              <a:t>レベル</a:t>
            </a:r>
            <a:r>
              <a:rPr lang="en-GB" dirty="0" smtClean="0"/>
              <a:t/>
            </a:r>
            <a:br>
              <a:rPr lang="en-GB" dirty="0" smtClean="0"/>
            </a:br>
            <a:r>
              <a:rPr lang="en-GB" dirty="0"/>
              <a:t/>
            </a:r>
            <a:br>
              <a:rPr lang="en-GB" dirty="0"/>
            </a:br>
            <a:r>
              <a:rPr lang="ja-JP" altLang="en-US" sz="2400" dirty="0" smtClean="0"/>
              <a:t>マルチ・ファクターへの拡張</a:t>
            </a:r>
            <a:endParaRPr lang="en-US" sz="2400" dirty="0"/>
          </a:p>
        </p:txBody>
      </p:sp>
      <mc:AlternateContent xmlns:mc="http://schemas.openxmlformats.org/markup-compatibility/2006" xmlns:a14="http://schemas.microsoft.com/office/drawing/2010/main">
        <mc:Choice Requires="a14">
          <p:sp>
            <p:nvSpPr>
              <p:cNvPr id="5" name="Text Placeholder 4"/>
              <p:cNvSpPr>
                <a:spLocks noGrp="1"/>
              </p:cNvSpPr>
              <p:nvPr>
                <p:ph type="body" sz="quarter" idx="12"/>
              </p:nvPr>
            </p:nvSpPr>
            <p:spPr>
              <a:xfrm>
                <a:off x="476249" y="1809152"/>
                <a:ext cx="8194222" cy="3886192"/>
              </a:xfrm>
            </p:spPr>
            <p:txBody>
              <a:bodyPr wrap="square">
                <a:spAutoFit/>
              </a:bodyPr>
              <a:lstStyle/>
              <a:p>
                <a:pPr marL="285750" lvl="1" indent="-285750"/>
                <a:endParaRPr lang="en-GB" sz="1800" dirty="0"/>
              </a:p>
              <a:p>
                <a:pPr marL="285750" lvl="1" indent="-285750"/>
                <a:r>
                  <a:rPr lang="ja-JP" altLang="en-US" sz="1800" dirty="0" smtClean="0"/>
                  <a:t>ティルトを</a:t>
                </a:r>
                <a:r>
                  <a:rPr lang="ja-JP" altLang="en-US" sz="1800" dirty="0"/>
                  <a:t>連続して適用することにより</a:t>
                </a:r>
                <a:r>
                  <a:rPr lang="ja-JP" altLang="en-US" sz="1800" dirty="0" smtClean="0"/>
                  <a:t>、マルチファクター・エクスポージャを達成</a:t>
                </a:r>
                <a:endParaRPr lang="en-GB" sz="1800" dirty="0"/>
              </a:p>
              <a:p>
                <a:pPr marL="0" lvl="1" indent="0">
                  <a:buNone/>
                </a:pPr>
                <a:endParaRPr lang="en-GB" sz="1800" dirty="0"/>
              </a:p>
              <a:p>
                <a:pPr marL="0" lvl="1" indent="0">
                  <a:buNone/>
                </a:pPr>
                <a14:m>
                  <m:oMathPara xmlns:m="http://schemas.openxmlformats.org/officeDocument/2006/math">
                    <m:oMathParaPr>
                      <m:jc m:val="centerGroup"/>
                    </m:oMathParaPr>
                    <m:oMath xmlns:m="http://schemas.openxmlformats.org/officeDocument/2006/math">
                      <m:r>
                        <a:rPr lang="en-GB" sz="1800" b="1" i="1" smtClean="0">
                          <a:solidFill>
                            <a:srgbClr val="551732"/>
                          </a:solidFill>
                          <a:latin typeface="Cambria Math"/>
                        </a:rPr>
                        <m:t>𝒘</m:t>
                      </m:r>
                      <m:r>
                        <a:rPr lang="en-GB" sz="1800" b="1" i="1" smtClean="0">
                          <a:solidFill>
                            <a:srgbClr val="551732"/>
                          </a:solidFill>
                          <a:latin typeface="Cambria Math"/>
                        </a:rPr>
                        <m:t>=</m:t>
                      </m:r>
                      <m:sSub>
                        <m:sSubPr>
                          <m:ctrlPr>
                            <a:rPr lang="en-GB" sz="1800" b="1" i="1" smtClean="0">
                              <a:solidFill>
                                <a:srgbClr val="551732"/>
                              </a:solidFill>
                              <a:latin typeface="Cambria Math"/>
                            </a:rPr>
                          </m:ctrlPr>
                        </m:sSubPr>
                        <m:e>
                          <m:r>
                            <a:rPr lang="en-GB" sz="1800" b="1" i="1" smtClean="0">
                              <a:solidFill>
                                <a:srgbClr val="551732"/>
                              </a:solidFill>
                              <a:latin typeface="Cambria Math"/>
                            </a:rPr>
                            <m:t>𝒘</m:t>
                          </m:r>
                        </m:e>
                        <m:sub>
                          <m:r>
                            <a:rPr lang="en-GB" sz="1800" b="1" i="1" smtClean="0">
                              <a:solidFill>
                                <a:srgbClr val="551732"/>
                              </a:solidFill>
                              <a:latin typeface="Cambria Math"/>
                            </a:rPr>
                            <m:t>𝑴𝒄𝒂𝒑</m:t>
                          </m:r>
                        </m:sub>
                      </m:sSub>
                      <m:r>
                        <a:rPr lang="en-GB" sz="1800" b="1" i="1" smtClean="0">
                          <a:solidFill>
                            <a:srgbClr val="551732"/>
                          </a:solidFill>
                          <a:latin typeface="Cambria Math"/>
                          <a:ea typeface="Cambria Math"/>
                        </a:rPr>
                        <m:t>×</m:t>
                      </m:r>
                      <m:sSubSup>
                        <m:sSubSupPr>
                          <m:ctrlPr>
                            <a:rPr lang="en-GB" sz="1800" b="1" i="1" smtClean="0">
                              <a:solidFill>
                                <a:srgbClr val="551732"/>
                              </a:solidFill>
                              <a:latin typeface="Cambria Math"/>
                              <a:ea typeface="Cambria Math"/>
                            </a:rPr>
                          </m:ctrlPr>
                        </m:sSubSupPr>
                        <m:e>
                          <m:r>
                            <a:rPr lang="en-GB" sz="1800" b="1" i="1" smtClean="0">
                              <a:solidFill>
                                <a:srgbClr val="551732"/>
                              </a:solidFill>
                              <a:latin typeface="Cambria Math"/>
                              <a:ea typeface="Cambria Math"/>
                            </a:rPr>
                            <m:t>𝑺</m:t>
                          </m:r>
                        </m:e>
                        <m:sub>
                          <m:r>
                            <a:rPr lang="en-GB" sz="1800" b="1" i="1" smtClean="0">
                              <a:solidFill>
                                <a:srgbClr val="551732"/>
                              </a:solidFill>
                              <a:latin typeface="Cambria Math"/>
                              <a:ea typeface="Cambria Math"/>
                            </a:rPr>
                            <m:t>𝑽𝒂𝒍𝒖𝒆</m:t>
                          </m:r>
                        </m:sub>
                        <m:sup>
                          <m:sSub>
                            <m:sSubPr>
                              <m:ctrlPr>
                                <a:rPr lang="en-GB" sz="1800" b="1" i="1" smtClean="0">
                                  <a:solidFill>
                                    <a:srgbClr val="551732"/>
                                  </a:solidFill>
                                  <a:latin typeface="Cambria Math"/>
                                  <a:ea typeface="Cambria Math"/>
                                </a:rPr>
                              </m:ctrlPr>
                            </m:sSubPr>
                            <m:e>
                              <m:r>
                                <a:rPr lang="en-GB" sz="1800" b="1" i="1" smtClean="0">
                                  <a:solidFill>
                                    <a:srgbClr val="551732"/>
                                  </a:solidFill>
                                  <a:latin typeface="Cambria Math"/>
                                  <a:ea typeface="Cambria Math"/>
                                </a:rPr>
                                <m:t>𝒙</m:t>
                              </m:r>
                            </m:e>
                            <m:sub>
                              <m:r>
                                <a:rPr lang="en-GB" sz="1800" b="1" i="1" smtClean="0">
                                  <a:solidFill>
                                    <a:srgbClr val="551732"/>
                                  </a:solidFill>
                                  <a:latin typeface="Cambria Math"/>
                                  <a:ea typeface="Cambria Math"/>
                                </a:rPr>
                                <m:t>𝟏</m:t>
                              </m:r>
                            </m:sub>
                          </m:sSub>
                        </m:sup>
                      </m:sSubSup>
                      <m:r>
                        <a:rPr lang="en-GB" sz="1800" b="1" i="1">
                          <a:solidFill>
                            <a:srgbClr val="551732"/>
                          </a:solidFill>
                          <a:latin typeface="Cambria Math"/>
                          <a:ea typeface="Cambria Math"/>
                        </a:rPr>
                        <m:t>×</m:t>
                      </m:r>
                      <m:sSubSup>
                        <m:sSubSupPr>
                          <m:ctrlPr>
                            <a:rPr lang="en-GB" sz="1800" b="1" i="1">
                              <a:solidFill>
                                <a:srgbClr val="551732"/>
                              </a:solidFill>
                              <a:latin typeface="Cambria Math"/>
                              <a:ea typeface="Cambria Math"/>
                            </a:rPr>
                          </m:ctrlPr>
                        </m:sSubSupPr>
                        <m:e>
                          <m:r>
                            <a:rPr lang="en-GB" sz="1800" b="1" i="1">
                              <a:solidFill>
                                <a:srgbClr val="551732"/>
                              </a:solidFill>
                              <a:latin typeface="Cambria Math"/>
                              <a:ea typeface="Cambria Math"/>
                            </a:rPr>
                            <m:t>𝑺</m:t>
                          </m:r>
                        </m:e>
                        <m:sub>
                          <m:r>
                            <a:rPr lang="en-GB" sz="1800" b="1" i="1" smtClean="0">
                              <a:solidFill>
                                <a:srgbClr val="551732"/>
                              </a:solidFill>
                              <a:latin typeface="Cambria Math"/>
                              <a:ea typeface="Cambria Math"/>
                            </a:rPr>
                            <m:t>𝑸𝒖𝒂𝒍𝒊𝒕𝒚</m:t>
                          </m:r>
                        </m:sub>
                        <m:sup>
                          <m:sSub>
                            <m:sSubPr>
                              <m:ctrlPr>
                                <a:rPr lang="en-GB" sz="1800" b="1" i="1" smtClean="0">
                                  <a:solidFill>
                                    <a:srgbClr val="551732"/>
                                  </a:solidFill>
                                  <a:latin typeface="Cambria Math"/>
                                  <a:ea typeface="Cambria Math"/>
                                </a:rPr>
                              </m:ctrlPr>
                            </m:sSubPr>
                            <m:e>
                              <m:r>
                                <a:rPr lang="en-GB" sz="1800" b="1" i="1" smtClean="0">
                                  <a:solidFill>
                                    <a:srgbClr val="551732"/>
                                  </a:solidFill>
                                  <a:latin typeface="Cambria Math"/>
                                  <a:ea typeface="Cambria Math"/>
                                </a:rPr>
                                <m:t>𝒙</m:t>
                              </m:r>
                            </m:e>
                            <m:sub>
                              <m:r>
                                <a:rPr lang="en-GB" sz="1800" b="1" i="1" smtClean="0">
                                  <a:solidFill>
                                    <a:srgbClr val="551732"/>
                                  </a:solidFill>
                                  <a:latin typeface="Cambria Math"/>
                                  <a:ea typeface="Cambria Math"/>
                                </a:rPr>
                                <m:t>𝟐</m:t>
                              </m:r>
                            </m:sub>
                          </m:sSub>
                        </m:sup>
                      </m:sSubSup>
                      <m:r>
                        <a:rPr lang="en-GB" sz="1800" b="1" i="1" smtClean="0">
                          <a:solidFill>
                            <a:srgbClr val="551732"/>
                          </a:solidFill>
                          <a:latin typeface="Cambria Math"/>
                          <a:ea typeface="Cambria Math"/>
                        </a:rPr>
                        <m:t>×</m:t>
                      </m:r>
                      <m:sSubSup>
                        <m:sSubSupPr>
                          <m:ctrlPr>
                            <a:rPr lang="en-GB" sz="1800" b="1" i="1" smtClean="0">
                              <a:solidFill>
                                <a:srgbClr val="551732"/>
                              </a:solidFill>
                              <a:latin typeface="Cambria Math"/>
                              <a:ea typeface="Cambria Math"/>
                            </a:rPr>
                          </m:ctrlPr>
                        </m:sSubSupPr>
                        <m:e>
                          <m:r>
                            <a:rPr lang="en-GB" sz="1800" b="1" i="1">
                              <a:solidFill>
                                <a:srgbClr val="551732"/>
                              </a:solidFill>
                              <a:latin typeface="Cambria Math"/>
                              <a:ea typeface="Cambria Math"/>
                            </a:rPr>
                            <m:t>𝑺</m:t>
                          </m:r>
                        </m:e>
                        <m:sub>
                          <m:r>
                            <a:rPr lang="en-GB" sz="1800" b="1" i="1">
                              <a:solidFill>
                                <a:srgbClr val="551732"/>
                              </a:solidFill>
                              <a:latin typeface="Cambria Math"/>
                              <a:ea typeface="Cambria Math"/>
                            </a:rPr>
                            <m:t>𝑽</m:t>
                          </m:r>
                          <m:r>
                            <a:rPr lang="en-GB" sz="1800" b="1" i="1" smtClean="0">
                              <a:solidFill>
                                <a:srgbClr val="551732"/>
                              </a:solidFill>
                              <a:latin typeface="Cambria Math"/>
                              <a:ea typeface="Cambria Math"/>
                            </a:rPr>
                            <m:t>𝒐𝒍𝒂𝒕𝒊𝒍𝒊𝒕𝒚</m:t>
                          </m:r>
                        </m:sub>
                        <m:sup>
                          <m:sSub>
                            <m:sSubPr>
                              <m:ctrlPr>
                                <a:rPr lang="en-GB" sz="1800" b="1" i="1" smtClean="0">
                                  <a:solidFill>
                                    <a:srgbClr val="551732"/>
                                  </a:solidFill>
                                  <a:latin typeface="Cambria Math"/>
                                  <a:ea typeface="Cambria Math"/>
                                </a:rPr>
                              </m:ctrlPr>
                            </m:sSubPr>
                            <m:e>
                              <m:r>
                                <a:rPr lang="en-GB" sz="1800" b="1" i="1" smtClean="0">
                                  <a:solidFill>
                                    <a:srgbClr val="551732"/>
                                  </a:solidFill>
                                  <a:latin typeface="Cambria Math"/>
                                  <a:ea typeface="Cambria Math"/>
                                </a:rPr>
                                <m:t>𝒙</m:t>
                              </m:r>
                            </m:e>
                            <m:sub>
                              <m:r>
                                <a:rPr lang="en-GB" sz="1800" b="1" i="1" smtClean="0">
                                  <a:solidFill>
                                    <a:srgbClr val="551732"/>
                                  </a:solidFill>
                                  <a:latin typeface="Cambria Math"/>
                                  <a:ea typeface="Cambria Math"/>
                                </a:rPr>
                                <m:t>𝟑</m:t>
                              </m:r>
                            </m:sub>
                          </m:sSub>
                        </m:sup>
                      </m:sSubSup>
                      <m:r>
                        <a:rPr lang="en-GB" sz="1800" b="1" i="1">
                          <a:solidFill>
                            <a:srgbClr val="551732"/>
                          </a:solidFill>
                          <a:latin typeface="Cambria Math"/>
                          <a:ea typeface="Cambria Math"/>
                        </a:rPr>
                        <m:t>×</m:t>
                      </m:r>
                      <m:sSubSup>
                        <m:sSubSupPr>
                          <m:ctrlPr>
                            <a:rPr lang="en-GB" sz="1800" b="1" i="1">
                              <a:solidFill>
                                <a:srgbClr val="551732"/>
                              </a:solidFill>
                              <a:latin typeface="Cambria Math"/>
                              <a:ea typeface="Cambria Math"/>
                            </a:rPr>
                          </m:ctrlPr>
                        </m:sSubSupPr>
                        <m:e>
                          <m:r>
                            <a:rPr lang="en-GB" sz="1800" b="1" i="1">
                              <a:solidFill>
                                <a:srgbClr val="551732"/>
                              </a:solidFill>
                              <a:latin typeface="Cambria Math"/>
                              <a:ea typeface="Cambria Math"/>
                            </a:rPr>
                            <m:t>𝑺</m:t>
                          </m:r>
                        </m:e>
                        <m:sub>
                          <m:r>
                            <a:rPr lang="en-GB" sz="1800" b="1" i="1" smtClean="0">
                              <a:solidFill>
                                <a:srgbClr val="551732"/>
                              </a:solidFill>
                              <a:latin typeface="Cambria Math"/>
                              <a:ea typeface="Cambria Math"/>
                            </a:rPr>
                            <m:t>𝑺𝒊𝒛𝒆</m:t>
                          </m:r>
                        </m:sub>
                        <m:sup>
                          <m:sSub>
                            <m:sSubPr>
                              <m:ctrlPr>
                                <a:rPr lang="en-GB" sz="1800" b="1" i="1" smtClean="0">
                                  <a:solidFill>
                                    <a:srgbClr val="551732"/>
                                  </a:solidFill>
                                  <a:latin typeface="Cambria Math"/>
                                  <a:ea typeface="Cambria Math"/>
                                </a:rPr>
                              </m:ctrlPr>
                            </m:sSubPr>
                            <m:e>
                              <m:r>
                                <a:rPr lang="en-GB" sz="1800" b="1" i="1" smtClean="0">
                                  <a:solidFill>
                                    <a:srgbClr val="551732"/>
                                  </a:solidFill>
                                  <a:latin typeface="Cambria Math"/>
                                  <a:ea typeface="Cambria Math"/>
                                </a:rPr>
                                <m:t>𝒙</m:t>
                              </m:r>
                            </m:e>
                            <m:sub>
                              <m:r>
                                <a:rPr lang="en-GB" sz="1800" b="1" i="1" smtClean="0">
                                  <a:solidFill>
                                    <a:srgbClr val="551732"/>
                                  </a:solidFill>
                                  <a:latin typeface="Cambria Math"/>
                                  <a:ea typeface="Cambria Math"/>
                                </a:rPr>
                                <m:t>𝟒</m:t>
                              </m:r>
                            </m:sub>
                          </m:sSub>
                        </m:sup>
                      </m:sSubSup>
                      <m:r>
                        <a:rPr lang="en-GB" sz="1800" b="1" i="1">
                          <a:solidFill>
                            <a:srgbClr val="551732"/>
                          </a:solidFill>
                          <a:latin typeface="Cambria Math"/>
                          <a:ea typeface="Cambria Math"/>
                        </a:rPr>
                        <m:t>×</m:t>
                      </m:r>
                      <m:sSubSup>
                        <m:sSubSupPr>
                          <m:ctrlPr>
                            <a:rPr lang="en-GB" sz="1800" b="1" i="1">
                              <a:solidFill>
                                <a:srgbClr val="551732"/>
                              </a:solidFill>
                              <a:latin typeface="Cambria Math"/>
                              <a:ea typeface="Cambria Math"/>
                            </a:rPr>
                          </m:ctrlPr>
                        </m:sSubSupPr>
                        <m:e>
                          <m:r>
                            <a:rPr lang="en-GB" sz="1800" b="1" i="1">
                              <a:solidFill>
                                <a:srgbClr val="551732"/>
                              </a:solidFill>
                              <a:latin typeface="Cambria Math"/>
                              <a:ea typeface="Cambria Math"/>
                            </a:rPr>
                            <m:t>𝑺</m:t>
                          </m:r>
                        </m:e>
                        <m:sub>
                          <m:r>
                            <a:rPr lang="en-GB" sz="1800" b="1" i="1" smtClean="0">
                              <a:solidFill>
                                <a:srgbClr val="551732"/>
                              </a:solidFill>
                              <a:latin typeface="Cambria Math"/>
                              <a:ea typeface="Cambria Math"/>
                            </a:rPr>
                            <m:t>𝑴𝒐𝒎𝒆𝒏𝒕𝒖𝒎</m:t>
                          </m:r>
                        </m:sub>
                        <m:sup>
                          <m:sSub>
                            <m:sSubPr>
                              <m:ctrlPr>
                                <a:rPr lang="en-GB" sz="1800" b="1" i="1" smtClean="0">
                                  <a:solidFill>
                                    <a:srgbClr val="551732"/>
                                  </a:solidFill>
                                  <a:latin typeface="Cambria Math"/>
                                  <a:ea typeface="Cambria Math"/>
                                </a:rPr>
                              </m:ctrlPr>
                            </m:sSubPr>
                            <m:e>
                              <m:r>
                                <a:rPr lang="en-GB" sz="1800" b="1" i="1" smtClean="0">
                                  <a:solidFill>
                                    <a:srgbClr val="551732"/>
                                  </a:solidFill>
                                  <a:latin typeface="Cambria Math"/>
                                  <a:ea typeface="Cambria Math"/>
                                </a:rPr>
                                <m:t>𝒙</m:t>
                              </m:r>
                            </m:e>
                            <m:sub>
                              <m:r>
                                <a:rPr lang="en-GB" sz="1800" b="1" i="1" smtClean="0">
                                  <a:solidFill>
                                    <a:srgbClr val="551732"/>
                                  </a:solidFill>
                                  <a:latin typeface="Cambria Math"/>
                                  <a:ea typeface="Cambria Math"/>
                                </a:rPr>
                                <m:t>𝟓</m:t>
                              </m:r>
                            </m:sub>
                          </m:sSub>
                        </m:sup>
                      </m:sSubSup>
                    </m:oMath>
                  </m:oMathPara>
                </a14:m>
                <a:endParaRPr lang="en-GB" sz="1800" b="1" dirty="0"/>
              </a:p>
              <a:p>
                <a:pPr marL="0" lvl="1" indent="0">
                  <a:buNone/>
                </a:pPr>
                <a:endParaRPr lang="en-GB" sz="1800" dirty="0"/>
              </a:p>
              <a:p>
                <a:pPr marL="285750" lvl="1" indent="-285750"/>
                <a:r>
                  <a:rPr lang="ja-JP" altLang="en-US" sz="1800" dirty="0" smtClean="0"/>
                  <a:t>乗数</a:t>
                </a:r>
                <a:r>
                  <a:rPr lang="en-GB" sz="1800" dirty="0" smtClean="0"/>
                  <a:t> </a:t>
                </a:r>
                <a14:m>
                  <m:oMath xmlns:m="http://schemas.openxmlformats.org/officeDocument/2006/math">
                    <m:r>
                      <a:rPr lang="en-GB" sz="1800" b="1" i="1">
                        <a:solidFill>
                          <a:srgbClr val="551732"/>
                        </a:solidFill>
                        <a:latin typeface="Cambria Math"/>
                      </a:rPr>
                      <m:t>𝒙</m:t>
                    </m:r>
                    <m:r>
                      <m:rPr>
                        <m:nor/>
                      </m:rPr>
                      <a:rPr lang="en-US" sz="1800" b="0" i="0" smtClean="0">
                        <a:solidFill>
                          <a:srgbClr val="551732"/>
                        </a:solidFill>
                        <a:latin typeface="Cambria Math"/>
                      </a:rPr>
                      <m:t>  </m:t>
                    </m:r>
                  </m:oMath>
                </a14:m>
                <a:r>
                  <a:rPr lang="ja-JP" altLang="en-US" sz="1800" dirty="0" smtClean="0"/>
                  <a:t>を</a:t>
                </a:r>
                <a:r>
                  <a:rPr lang="ja-JP" altLang="en-US" sz="1800" dirty="0"/>
                  <a:t>変更することに</a:t>
                </a:r>
                <a:r>
                  <a:rPr lang="ja-JP" altLang="en-US" sz="1800" dirty="0" smtClean="0"/>
                  <a:t>よりファクターティルトの強さが</a:t>
                </a:r>
                <a:r>
                  <a:rPr lang="ja-JP" altLang="en-US" sz="1800" dirty="0"/>
                  <a:t>制御される</a:t>
                </a:r>
                <a:endParaRPr lang="en-GB" sz="1800" dirty="0">
                  <a:solidFill>
                    <a:srgbClr val="551732"/>
                  </a:solidFill>
                </a:endParaRPr>
              </a:p>
              <a:p>
                <a:pPr marL="285750" lvl="1" indent="-285750"/>
                <a:r>
                  <a:rPr lang="ja-JP" altLang="en-US" sz="1800" dirty="0" smtClean="0"/>
                  <a:t>固定ティルトに</a:t>
                </a:r>
                <a:r>
                  <a:rPr lang="ja-JP" altLang="en-US" sz="1800" dirty="0"/>
                  <a:t>より、時間的に変化する</a:t>
                </a:r>
                <a:r>
                  <a:rPr lang="ja-JP" altLang="en-US" sz="1800" dirty="0" smtClean="0"/>
                  <a:t>アクティブファクター・エクスポージャが発生する</a:t>
                </a:r>
                <a:r>
                  <a:rPr lang="en-GB" sz="1800" dirty="0" smtClean="0"/>
                  <a:t> </a:t>
                </a:r>
                <a:endParaRPr lang="en-GB" sz="1800" dirty="0"/>
              </a:p>
              <a:p>
                <a:pPr marL="285750" lvl="1" indent="-285750"/>
                <a:r>
                  <a:rPr lang="ja-JP" altLang="en-US" sz="1800" dirty="0" smtClean="0"/>
                  <a:t>可変</a:t>
                </a:r>
                <a:r>
                  <a:rPr lang="ja-JP" altLang="en-US" sz="1800" dirty="0"/>
                  <a:t>ティルトにより</a:t>
                </a:r>
                <a:r>
                  <a:rPr lang="ja-JP" altLang="en-US" sz="1800" dirty="0" smtClean="0"/>
                  <a:t>、あらかじめ設計されたレベル</a:t>
                </a:r>
                <a:r>
                  <a:rPr lang="ja-JP" altLang="en-US" sz="1800" dirty="0"/>
                  <a:t>の</a:t>
                </a:r>
                <a:r>
                  <a:rPr lang="ja-JP" altLang="en-US" sz="1800" dirty="0" smtClean="0"/>
                  <a:t>アクティブエクスポージャを達成</a:t>
                </a:r>
                <a:endParaRPr lang="en-GB" sz="1200" dirty="0"/>
              </a:p>
            </p:txBody>
          </p:sp>
        </mc:Choice>
        <mc:Fallback xmlns="">
          <p:sp>
            <p:nvSpPr>
              <p:cNvPr id="5" name="Text Placeholder 4"/>
              <p:cNvSpPr>
                <a:spLocks noGrp="1" noRot="1" noChangeAspect="1" noMove="1" noResize="1" noEditPoints="1" noAdjustHandles="1" noChangeArrowheads="1" noChangeShapeType="1" noTextEdit="1"/>
              </p:cNvSpPr>
              <p:nvPr>
                <p:ph type="body" sz="quarter" idx="12"/>
              </p:nvPr>
            </p:nvSpPr>
            <p:spPr>
              <a:xfrm>
                <a:off x="476249" y="1809152"/>
                <a:ext cx="8194222" cy="3886192"/>
              </a:xfrm>
              <a:blipFill rotWithShape="1">
                <a:blip r:embed="rId2"/>
                <a:stretch>
                  <a:fillRect l="-1563" r="-1786" b="-1570"/>
                </a:stretch>
              </a:blipFill>
            </p:spPr>
            <p:txBody>
              <a:bodyPr/>
              <a:lstStyle/>
              <a:p>
                <a:r>
                  <a:rPr lang="en-GB">
                    <a:noFill/>
                  </a:rPr>
                  <a:t> </a:t>
                </a:r>
              </a:p>
            </p:txBody>
          </p:sp>
        </mc:Fallback>
      </mc:AlternateContent>
    </p:spTree>
    <p:extLst>
      <p:ext uri="{BB962C8B-B14F-4D97-AF65-F5344CB8AC3E}">
        <p14:creationId xmlns:p14="http://schemas.microsoft.com/office/powerpoint/2010/main" val="65667373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7200" y="419101"/>
            <a:ext cx="8229600" cy="666750"/>
          </a:xfrm>
        </p:spPr>
        <p:txBody>
          <a:bodyPr/>
          <a:lstStyle/>
          <a:p>
            <a:r>
              <a:rPr lang="en-US" altLang="ja-JP" dirty="0" smtClean="0"/>
              <a:t>2.6 </a:t>
            </a:r>
            <a:r>
              <a:rPr lang="ja-JP" altLang="en-US" dirty="0" smtClean="0"/>
              <a:t>マルチファクター</a:t>
            </a:r>
            <a:r>
              <a:rPr lang="ja-JP" altLang="en-US" dirty="0"/>
              <a:t>・ターゲットインデックスへの拡張</a:t>
            </a:r>
            <a:endParaRPr lang="en-US" dirty="0"/>
          </a:p>
        </p:txBody>
      </p:sp>
      <p:sp>
        <p:nvSpPr>
          <p:cNvPr id="5" name="Text Placeholder 4"/>
          <p:cNvSpPr>
            <a:spLocks noGrp="1"/>
          </p:cNvSpPr>
          <p:nvPr>
            <p:ph type="body" sz="quarter" idx="12"/>
          </p:nvPr>
        </p:nvSpPr>
        <p:spPr>
          <a:xfrm>
            <a:off x="444656" y="1131025"/>
            <a:ext cx="8194222" cy="1228028"/>
          </a:xfrm>
        </p:spPr>
        <p:txBody>
          <a:bodyPr wrap="square">
            <a:spAutoFit/>
          </a:bodyPr>
          <a:lstStyle/>
          <a:p>
            <a:pPr marL="285750" lvl="1" indent="-285750"/>
            <a:r>
              <a:rPr lang="en-GB" sz="1800" dirty="0"/>
              <a:t>Value + Quality </a:t>
            </a:r>
            <a:r>
              <a:rPr lang="ja-JP" altLang="en-US" sz="1800" dirty="0"/>
              <a:t>インデックスを作成することを想定</a:t>
            </a:r>
            <a:r>
              <a:rPr lang="en-GB" sz="1800" dirty="0"/>
              <a:t> </a:t>
            </a:r>
          </a:p>
          <a:p>
            <a:pPr marL="285750" lvl="1" indent="-285750"/>
            <a:r>
              <a:rPr lang="ja-JP" altLang="en-US" sz="1800" dirty="0"/>
              <a:t>目標とする</a:t>
            </a:r>
            <a:r>
              <a:rPr lang="en-GB" sz="1800" dirty="0"/>
              <a:t> Value </a:t>
            </a:r>
            <a:r>
              <a:rPr lang="ja-JP" altLang="en-US" sz="1800" dirty="0"/>
              <a:t>エクスポージャ＝</a:t>
            </a:r>
            <a:r>
              <a:rPr lang="en-GB" sz="1800" dirty="0"/>
              <a:t> 0.45</a:t>
            </a:r>
            <a:r>
              <a:rPr lang="ja-JP" altLang="en-US" sz="1800" dirty="0" err="1"/>
              <a:t>、</a:t>
            </a:r>
            <a:r>
              <a:rPr lang="en-GB" sz="1800" dirty="0"/>
              <a:t>Quality </a:t>
            </a:r>
            <a:r>
              <a:rPr lang="ja-JP" altLang="en-US" sz="1800" dirty="0"/>
              <a:t>エクスポージャ＝</a:t>
            </a:r>
            <a:r>
              <a:rPr lang="en-GB" sz="1800" dirty="0"/>
              <a:t> 0.3</a:t>
            </a:r>
          </a:p>
          <a:p>
            <a:pPr marL="285750" lvl="1" indent="-285750"/>
            <a:r>
              <a:rPr lang="ja-JP" altLang="en-US" sz="1800" dirty="0"/>
              <a:t>ターゲットとしていない</a:t>
            </a:r>
            <a:r>
              <a:rPr lang="en-GB" sz="1800" dirty="0"/>
              <a:t> Momentum </a:t>
            </a:r>
            <a:r>
              <a:rPr lang="ja-JP" altLang="en-US" sz="1800" dirty="0"/>
              <a:t>のエクスポージャは０とする（中立化</a:t>
            </a:r>
            <a:r>
              <a:rPr lang="ja-JP" altLang="en-US" sz="1800" dirty="0" smtClean="0"/>
              <a:t>）</a:t>
            </a:r>
            <a:endParaRPr lang="en-GB" sz="1800" dirty="0"/>
          </a:p>
        </p:txBody>
      </p:sp>
      <p:graphicFrame>
        <p:nvGraphicFramePr>
          <p:cNvPr id="8" name="Chart 7"/>
          <p:cNvGraphicFramePr>
            <a:graphicFrameLocks/>
          </p:cNvGraphicFramePr>
          <p:nvPr>
            <p:extLst>
              <p:ext uri="{D42A27DB-BD31-4B8C-83A1-F6EECF244321}">
                <p14:modId xmlns:p14="http://schemas.microsoft.com/office/powerpoint/2010/main" val="4268454556"/>
              </p:ext>
            </p:extLst>
          </p:nvPr>
        </p:nvGraphicFramePr>
        <p:xfrm>
          <a:off x="536713" y="3183835"/>
          <a:ext cx="3916017" cy="2753139"/>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 Placeholder 4"/>
          <p:cNvSpPr txBox="1">
            <a:spLocks/>
          </p:cNvSpPr>
          <p:nvPr/>
        </p:nvSpPr>
        <p:spPr>
          <a:xfrm>
            <a:off x="2015462" y="2732627"/>
            <a:ext cx="5259982" cy="258532"/>
          </a:xfrm>
          <a:prstGeom prst="rect">
            <a:avLst/>
          </a:prstGeom>
        </p:spPr>
        <p:txBody>
          <a:bodyPr vert="horz" wrap="square" lIns="0" tIns="0" rIns="0" bIns="0" rtlCol="0">
            <a:spAutoFit/>
          </a:bodyPr>
          <a:lstStyle>
            <a:lvl1pPr marL="228600" indent="-228600" algn="l" defTabSz="914400" rtl="0" eaLnBrk="1" latinLnBrk="0" hangingPunct="1">
              <a:lnSpc>
                <a:spcPct val="100000"/>
              </a:lnSpc>
              <a:spcBef>
                <a:spcPts val="0"/>
              </a:spcBef>
              <a:spcAft>
                <a:spcPts val="900"/>
              </a:spcAft>
              <a:buFont typeface="Arial" panose="020B0604020202020204" pitchFamily="34" charset="0"/>
              <a:buChar char="•"/>
              <a:defRPr sz="2400" b="1" kern="1200">
                <a:solidFill>
                  <a:srgbClr val="541832"/>
                </a:solidFill>
                <a:latin typeface="+mn-lt"/>
                <a:ea typeface="+mn-ea"/>
                <a:cs typeface="+mn-cs"/>
              </a:defRPr>
            </a:lvl1pPr>
            <a:lvl2pPr marL="457200" indent="-228600" algn="l" defTabSz="914400" rtl="0" eaLnBrk="1" latinLnBrk="0" hangingPunct="1">
              <a:lnSpc>
                <a:spcPct val="120000"/>
              </a:lnSpc>
              <a:spcBef>
                <a:spcPts val="0"/>
              </a:spcBef>
              <a:spcAft>
                <a:spcPts val="900"/>
              </a:spcAft>
              <a:buFont typeface="Arial" panose="020B0604020202020204" pitchFamily="34" charset="0"/>
              <a:buChar char="•"/>
              <a:defRPr sz="2400" kern="1200">
                <a:solidFill>
                  <a:schemeClr val="tx1">
                    <a:lumMod val="75000"/>
                    <a:lumOff val="25000"/>
                  </a:schemeClr>
                </a:solidFill>
                <a:latin typeface="+mn-lt"/>
                <a:ea typeface="+mn-ea"/>
                <a:cs typeface="+mn-cs"/>
              </a:defRPr>
            </a:lvl2pPr>
            <a:lvl3pPr marL="685800" indent="-228600" algn="l" defTabSz="914400" rtl="0" eaLnBrk="1" latinLnBrk="0" hangingPunct="1">
              <a:lnSpc>
                <a:spcPct val="120000"/>
              </a:lnSpc>
              <a:spcBef>
                <a:spcPts val="0"/>
              </a:spcBef>
              <a:spcAft>
                <a:spcPts val="900"/>
              </a:spcAft>
              <a:buFont typeface="Arial" panose="020B0604020202020204" pitchFamily="34" charset="0"/>
              <a:buChar char="•"/>
              <a:defRPr sz="2000" kern="1200">
                <a:solidFill>
                  <a:schemeClr val="tx1">
                    <a:lumMod val="75000"/>
                    <a:lumOff val="25000"/>
                  </a:schemeClr>
                </a:solidFill>
                <a:latin typeface="+mn-lt"/>
                <a:ea typeface="+mn-ea"/>
                <a:cs typeface="+mn-cs"/>
              </a:defRPr>
            </a:lvl3pPr>
            <a:lvl4pPr marL="914400" indent="-228600" algn="l" defTabSz="914400" rtl="0" eaLnBrk="1" latinLnBrk="0" hangingPunct="1">
              <a:lnSpc>
                <a:spcPct val="120000"/>
              </a:lnSpc>
              <a:spcBef>
                <a:spcPts val="0"/>
              </a:spcBef>
              <a:spcAft>
                <a:spcPts val="900"/>
              </a:spcAft>
              <a:buFont typeface="Arial" panose="020B0604020202020204" pitchFamily="34" charset="0"/>
              <a:buChar char="•"/>
              <a:defRPr sz="1600" kern="1200">
                <a:solidFill>
                  <a:schemeClr val="tx1">
                    <a:lumMod val="75000"/>
                    <a:lumOff val="25000"/>
                  </a:schemeClr>
                </a:solidFill>
                <a:latin typeface="+mn-lt"/>
                <a:ea typeface="+mn-ea"/>
                <a:cs typeface="+mn-cs"/>
              </a:defRPr>
            </a:lvl4pPr>
            <a:lvl5pPr marL="1143000" indent="-228600" algn="l" defTabSz="914400" rtl="0" eaLnBrk="1" latinLnBrk="0" hangingPunct="1">
              <a:lnSpc>
                <a:spcPct val="120000"/>
              </a:lnSpc>
              <a:spcBef>
                <a:spcPts val="0"/>
              </a:spcBef>
              <a:spcAft>
                <a:spcPts val="900"/>
              </a:spcAft>
              <a:buFont typeface="Arial" panose="020B0604020202020204" pitchFamily="34" charset="0"/>
              <a:buChar char="•"/>
              <a:defRPr sz="1200" b="0" kern="1200" cap="all" baseline="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en-GB" sz="1400" b="1" dirty="0">
                <a:solidFill>
                  <a:srgbClr val="551732"/>
                </a:solidFill>
              </a:rPr>
              <a:t>FTSE Developed </a:t>
            </a:r>
            <a:r>
              <a:rPr lang="ja-JP" altLang="en-US" sz="1400" b="1" dirty="0" smtClean="0">
                <a:solidFill>
                  <a:srgbClr val="551732"/>
                </a:solidFill>
              </a:rPr>
              <a:t>：</a:t>
            </a:r>
            <a:r>
              <a:rPr lang="en-GB" sz="1400" b="1" dirty="0" smtClean="0">
                <a:solidFill>
                  <a:srgbClr val="551732"/>
                </a:solidFill>
              </a:rPr>
              <a:t> </a:t>
            </a:r>
            <a:r>
              <a:rPr lang="en-GB" sz="1400" b="1" dirty="0">
                <a:solidFill>
                  <a:srgbClr val="551732"/>
                </a:solidFill>
              </a:rPr>
              <a:t>Value + Quality </a:t>
            </a:r>
            <a:r>
              <a:rPr lang="ja-JP" altLang="en-US" sz="1400" b="1" dirty="0">
                <a:solidFill>
                  <a:srgbClr val="551732"/>
                </a:solidFill>
              </a:rPr>
              <a:t>（</a:t>
            </a:r>
            <a:r>
              <a:rPr lang="en-GB" sz="1400" b="1" dirty="0">
                <a:solidFill>
                  <a:srgbClr val="551732"/>
                </a:solidFill>
              </a:rPr>
              <a:t>Momentum </a:t>
            </a:r>
            <a:r>
              <a:rPr lang="ja-JP" altLang="en-US" sz="1400" b="1" dirty="0">
                <a:solidFill>
                  <a:srgbClr val="551732"/>
                </a:solidFill>
              </a:rPr>
              <a:t>中立）指数</a:t>
            </a:r>
            <a:endParaRPr lang="en-GB" sz="1400" b="1" dirty="0">
              <a:solidFill>
                <a:srgbClr val="551732"/>
              </a:solidFill>
            </a:endParaRPr>
          </a:p>
        </p:txBody>
      </p:sp>
      <p:graphicFrame>
        <p:nvGraphicFramePr>
          <p:cNvPr id="10" name="Chart 9"/>
          <p:cNvGraphicFramePr>
            <a:graphicFrameLocks/>
          </p:cNvGraphicFramePr>
          <p:nvPr>
            <p:extLst>
              <p:ext uri="{D42A27DB-BD31-4B8C-83A1-F6EECF244321}">
                <p14:modId xmlns:p14="http://schemas.microsoft.com/office/powerpoint/2010/main" val="483871879"/>
              </p:ext>
            </p:extLst>
          </p:nvPr>
        </p:nvGraphicFramePr>
        <p:xfrm>
          <a:off x="4645453" y="3295958"/>
          <a:ext cx="3796182" cy="2614510"/>
        </p:xfrm>
        <a:graphic>
          <a:graphicData uri="http://schemas.openxmlformats.org/drawingml/2006/chart">
            <c:chart xmlns:c="http://schemas.openxmlformats.org/drawingml/2006/chart" xmlns:r="http://schemas.openxmlformats.org/officeDocument/2006/relationships" r:id="rId3"/>
          </a:graphicData>
        </a:graphic>
      </p:graphicFrame>
      <p:sp>
        <p:nvSpPr>
          <p:cNvPr id="7" name="Rectangle 6"/>
          <p:cNvSpPr/>
          <p:nvPr/>
        </p:nvSpPr>
        <p:spPr>
          <a:xfrm>
            <a:off x="906341" y="6092309"/>
            <a:ext cx="1441420" cy="246221"/>
          </a:xfrm>
          <a:prstGeom prst="rect">
            <a:avLst/>
          </a:prstGeom>
        </p:spPr>
        <p:txBody>
          <a:bodyPr wrap="none">
            <a:spAutoFit/>
          </a:bodyPr>
          <a:lstStyle/>
          <a:p>
            <a:r>
              <a:rPr lang="en-US" altLang="ja-JP" sz="1000" dirty="0"/>
              <a:t>Source: FTSE Russell</a:t>
            </a:r>
            <a:endParaRPr lang="en-GB" sz="1000" dirty="0"/>
          </a:p>
        </p:txBody>
      </p:sp>
    </p:spTree>
    <p:extLst>
      <p:ext uri="{BB962C8B-B14F-4D97-AF65-F5344CB8AC3E}">
        <p14:creationId xmlns:p14="http://schemas.microsoft.com/office/powerpoint/2010/main" val="384183013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81693" y="495203"/>
            <a:ext cx="8229600" cy="666750"/>
          </a:xfrm>
        </p:spPr>
        <p:txBody>
          <a:bodyPr/>
          <a:lstStyle/>
          <a:p>
            <a:r>
              <a:rPr lang="en-US" altLang="ja-JP" sz="2400" dirty="0" smtClean="0"/>
              <a:t>3.1.1 </a:t>
            </a:r>
            <a:r>
              <a:rPr lang="ja-JP" altLang="en-US" sz="2400" dirty="0" smtClean="0"/>
              <a:t>基本的</a:t>
            </a:r>
            <a:r>
              <a:rPr lang="ja-JP" altLang="en-US" sz="2400" dirty="0"/>
              <a:t>な考え方</a:t>
            </a:r>
            <a:r>
              <a:rPr lang="en-US" altLang="ja-JP" sz="2400" dirty="0"/>
              <a:t>–</a:t>
            </a:r>
            <a:r>
              <a:rPr lang="ja-JP" altLang="en-US" sz="2400" dirty="0"/>
              <a:t>「純粋な」低炭素排出</a:t>
            </a:r>
            <a:r>
              <a:rPr lang="ja-JP" altLang="en-US" sz="2400" dirty="0" smtClean="0"/>
              <a:t>ポートフォリオ</a:t>
            </a:r>
            <a:r>
              <a:rPr lang="en-GB" sz="2400" dirty="0" smtClean="0"/>
              <a:t> (</a:t>
            </a:r>
            <a:r>
              <a:rPr lang="en-US" sz="2400" dirty="0" smtClean="0"/>
              <a:t>Target Carbon Index)</a:t>
            </a:r>
            <a:endParaRPr lang="en-US" sz="2000" dirty="0"/>
          </a:p>
        </p:txBody>
      </p:sp>
      <p:sp>
        <p:nvSpPr>
          <p:cNvPr id="3" name="Text Placeholder 2"/>
          <p:cNvSpPr>
            <a:spLocks noGrp="1"/>
          </p:cNvSpPr>
          <p:nvPr>
            <p:ph type="body" sz="quarter" idx="12"/>
          </p:nvPr>
        </p:nvSpPr>
        <p:spPr>
          <a:xfrm>
            <a:off x="497292" y="1471501"/>
            <a:ext cx="8203795" cy="5305647"/>
          </a:xfrm>
        </p:spPr>
        <p:txBody>
          <a:bodyPr/>
          <a:lstStyle/>
          <a:p>
            <a:pPr marL="285750" lvl="1" indent="-285750"/>
            <a:r>
              <a:rPr lang="ja-JP" altLang="en-US" sz="1800" dirty="0" smtClean="0"/>
              <a:t>炭素集約度の</a:t>
            </a:r>
            <a:r>
              <a:rPr lang="ja-JP" altLang="en-US" sz="1800" dirty="0"/>
              <a:t>一定レベルの削減を目標と</a:t>
            </a:r>
            <a:r>
              <a:rPr lang="ja-JP" altLang="en-US" sz="1800" dirty="0" smtClean="0"/>
              <a:t>する</a:t>
            </a:r>
            <a:endParaRPr lang="en-GB" sz="1800" dirty="0"/>
          </a:p>
          <a:p>
            <a:pPr marL="514350" lvl="2" indent="-285750"/>
            <a:r>
              <a:rPr lang="ja-JP" altLang="en-US" sz="1800" dirty="0" smtClean="0"/>
              <a:t>より効率的な（より非効率な）企業をオーバー</a:t>
            </a:r>
            <a:r>
              <a:rPr lang="ja-JP" altLang="en-US" sz="1800" dirty="0"/>
              <a:t>（アンダー）</a:t>
            </a:r>
            <a:r>
              <a:rPr lang="ja-JP" altLang="en-US" sz="1800" dirty="0" smtClean="0"/>
              <a:t>ウエイト</a:t>
            </a:r>
            <a:endParaRPr lang="en-GB" sz="1800" dirty="0"/>
          </a:p>
          <a:p>
            <a:pPr marL="514350" lvl="2" indent="-285750"/>
            <a:endParaRPr lang="en-GB" sz="1400" dirty="0" smtClean="0"/>
          </a:p>
          <a:p>
            <a:pPr marL="285750" lvl="1" indent="-285750"/>
            <a:r>
              <a:rPr lang="ja-JP" altLang="en-US" sz="1800" dirty="0" smtClean="0"/>
              <a:t>ただし、他のアクティブ・リスクファクターの</a:t>
            </a:r>
            <a:r>
              <a:rPr lang="ja-JP" altLang="en-US" sz="1800" dirty="0"/>
              <a:t>エクスポージャーをゼロに</a:t>
            </a:r>
            <a:r>
              <a:rPr lang="ja-JP" altLang="en-US" sz="1800" dirty="0" smtClean="0"/>
              <a:t>設定</a:t>
            </a:r>
            <a:endParaRPr lang="en-GB" sz="1800" dirty="0"/>
          </a:p>
          <a:p>
            <a:pPr marL="514350" lvl="2" indent="-285750"/>
            <a:r>
              <a:rPr lang="ja-JP" altLang="en-US" sz="1800" dirty="0" smtClean="0"/>
              <a:t>アクティブなセクター</a:t>
            </a:r>
            <a:r>
              <a:rPr lang="en-US" altLang="ja-JP" sz="1800" dirty="0" smtClean="0"/>
              <a:t>/</a:t>
            </a:r>
            <a:r>
              <a:rPr lang="ja-JP" altLang="en-US" sz="1800" dirty="0"/>
              <a:t>国のエクスポージャーは</a:t>
            </a:r>
            <a:r>
              <a:rPr lang="ja-JP" altLang="en-US" sz="1800" dirty="0" smtClean="0"/>
              <a:t>ゼロ</a:t>
            </a:r>
            <a:endParaRPr lang="en-GB" sz="1800" dirty="0"/>
          </a:p>
          <a:p>
            <a:pPr marL="514350" lvl="2" indent="-285750"/>
            <a:r>
              <a:rPr lang="ja-JP" altLang="en-US" sz="1800" dirty="0" smtClean="0"/>
              <a:t>アクティブなスタイルファクターの</a:t>
            </a:r>
            <a:r>
              <a:rPr lang="ja-JP" altLang="en-US" sz="1800" dirty="0"/>
              <a:t>エクスポージャーは</a:t>
            </a:r>
            <a:r>
              <a:rPr lang="ja-JP" altLang="en-US" sz="1800" dirty="0" smtClean="0"/>
              <a:t>ゼロ</a:t>
            </a:r>
            <a:endParaRPr lang="en-GB" sz="1800" dirty="0" smtClean="0"/>
          </a:p>
          <a:p>
            <a:pPr marL="742950" lvl="3" indent="-285750"/>
            <a:r>
              <a:rPr lang="ja-JP" altLang="en-US" sz="1400" dirty="0" smtClean="0"/>
              <a:t>例えばバリュー、モメンタム、</a:t>
            </a:r>
            <a:r>
              <a:rPr lang="ja-JP" altLang="en-US" sz="1400" dirty="0"/>
              <a:t>サイズ、ボラティリティ</a:t>
            </a:r>
            <a:r>
              <a:rPr lang="ja-JP" altLang="en-US" sz="1400" dirty="0" smtClean="0"/>
              <a:t>、クオリティ</a:t>
            </a:r>
            <a:endParaRPr lang="en-GB" sz="1400" dirty="0"/>
          </a:p>
          <a:p>
            <a:pPr marL="285750" lvl="1" indent="-285750"/>
            <a:r>
              <a:rPr lang="ja-JP" altLang="en-US" sz="1800" dirty="0" smtClean="0"/>
              <a:t>中立性は半年</a:t>
            </a:r>
            <a:r>
              <a:rPr lang="ja-JP" altLang="en-US" sz="1800" dirty="0"/>
              <a:t>ごとのリバランスで</a:t>
            </a:r>
            <a:r>
              <a:rPr lang="ja-JP" altLang="en-US" sz="1800" dirty="0" smtClean="0"/>
              <a:t>復元</a:t>
            </a:r>
            <a:endParaRPr lang="en-GB" sz="1800" dirty="0" smtClean="0"/>
          </a:p>
          <a:p>
            <a:pPr marL="285750" lvl="1" indent="-285750"/>
            <a:r>
              <a:rPr lang="ja-JP" altLang="en-US" sz="1800" dirty="0" smtClean="0"/>
              <a:t>分散と投資キャパシティを考慮</a:t>
            </a:r>
            <a:endParaRPr lang="en-GB" sz="1800" dirty="0" smtClean="0"/>
          </a:p>
          <a:p>
            <a:pPr marL="514350" lvl="2" indent="-285750"/>
            <a:r>
              <a:rPr lang="ja-JP" altLang="en-US" sz="1800" dirty="0" smtClean="0"/>
              <a:t>微小なポジション</a:t>
            </a:r>
            <a:r>
              <a:rPr lang="ja-JP" altLang="en-US" sz="1800" dirty="0"/>
              <a:t>（</a:t>
            </a:r>
            <a:r>
              <a:rPr lang="en-US" altLang="ja-JP" sz="1800" dirty="0"/>
              <a:t>0.5 bps</a:t>
            </a:r>
            <a:r>
              <a:rPr lang="ja-JP" altLang="en-US" sz="1800" dirty="0" smtClean="0"/>
              <a:t>）を除外し、合理的</a:t>
            </a:r>
            <a:r>
              <a:rPr lang="ja-JP" altLang="en-US" sz="1800" dirty="0"/>
              <a:t>な</a:t>
            </a:r>
            <a:r>
              <a:rPr lang="ja-JP" altLang="en-US" sz="1800" dirty="0" smtClean="0"/>
              <a:t>投資キャパシティレシオを確保</a:t>
            </a:r>
            <a:endParaRPr lang="en-GB" sz="1800" dirty="0"/>
          </a:p>
          <a:p>
            <a:pPr marL="742950" lvl="3" indent="-285750">
              <a:buFontTx/>
              <a:buChar char="-"/>
            </a:pPr>
            <a:endParaRPr lang="en-GB" sz="1800" dirty="0"/>
          </a:p>
          <a:p>
            <a:pPr marL="0" lvl="1" indent="0">
              <a:buNone/>
            </a:pPr>
            <a:endParaRPr lang="en-GB" sz="2600" dirty="0" smtClean="0"/>
          </a:p>
          <a:p>
            <a:pPr marL="285750" lvl="1" indent="-285750"/>
            <a:endParaRPr lang="en-GB" sz="1800" dirty="0"/>
          </a:p>
          <a:p>
            <a:endParaRPr lang="en-GB" dirty="0"/>
          </a:p>
        </p:txBody>
      </p:sp>
    </p:spTree>
    <p:extLst>
      <p:ext uri="{BB962C8B-B14F-4D97-AF65-F5344CB8AC3E}">
        <p14:creationId xmlns:p14="http://schemas.microsoft.com/office/powerpoint/2010/main" val="248118809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ja-JP" dirty="0" smtClean="0"/>
              <a:t>3.1.3 </a:t>
            </a:r>
            <a:r>
              <a:rPr lang="ja-JP" altLang="en-US" dirty="0" smtClean="0"/>
              <a:t>トラッキングエラーとアクティブ・カーボンリスク・エクスポージャー</a:t>
            </a:r>
            <a:endParaRPr lang="en-GB" dirty="0"/>
          </a:p>
        </p:txBody>
      </p:sp>
      <p:sp>
        <p:nvSpPr>
          <p:cNvPr id="6" name="Content Placeholder 5"/>
          <p:cNvSpPr>
            <a:spLocks noGrp="1"/>
          </p:cNvSpPr>
          <p:nvPr>
            <p:ph sz="half" idx="2"/>
          </p:nvPr>
        </p:nvSpPr>
        <p:spPr>
          <a:xfrm>
            <a:off x="4742121" y="1559191"/>
            <a:ext cx="3944679" cy="4347325"/>
          </a:xfrm>
        </p:spPr>
        <p:txBody>
          <a:bodyPr/>
          <a:lstStyle/>
          <a:p>
            <a:r>
              <a:rPr lang="ja-JP" altLang="en-US" sz="1800" b="0" dirty="0" smtClean="0">
                <a:solidFill>
                  <a:schemeClr val="tx1">
                    <a:lumMod val="75000"/>
                    <a:lumOff val="25000"/>
                  </a:schemeClr>
                </a:solidFill>
              </a:rPr>
              <a:t>ティルト法に</a:t>
            </a:r>
            <a:r>
              <a:rPr lang="ja-JP" altLang="en-US" sz="1800" b="0" dirty="0">
                <a:solidFill>
                  <a:schemeClr val="tx1">
                    <a:lumMod val="75000"/>
                    <a:lumOff val="25000"/>
                  </a:schemeClr>
                </a:solidFill>
              </a:rPr>
              <a:t>より相関の影響</a:t>
            </a:r>
            <a:r>
              <a:rPr lang="ja-JP" altLang="en-US" sz="1800" b="0" dirty="0" smtClean="0">
                <a:solidFill>
                  <a:schemeClr val="tx1">
                    <a:lumMod val="75000"/>
                    <a:lumOff val="25000"/>
                  </a:schemeClr>
                </a:solidFill>
              </a:rPr>
              <a:t>を制御する</a:t>
            </a:r>
            <a:endParaRPr lang="en-GB" altLang="zh-CN" sz="1800" b="0" dirty="0" smtClean="0">
              <a:solidFill>
                <a:schemeClr val="tx1">
                  <a:lumMod val="75000"/>
                  <a:lumOff val="25000"/>
                </a:schemeClr>
              </a:solidFill>
            </a:endParaRPr>
          </a:p>
          <a:p>
            <a:r>
              <a:rPr lang="ja-JP" altLang="en-US" sz="1800" b="0" dirty="0" smtClean="0">
                <a:solidFill>
                  <a:schemeClr val="tx1">
                    <a:lumMod val="75000"/>
                    <a:lumOff val="25000"/>
                  </a:schemeClr>
                </a:solidFill>
              </a:rPr>
              <a:t>特定レベル</a:t>
            </a:r>
            <a:r>
              <a:rPr lang="ja-JP" altLang="en-US" sz="1800" b="0" dirty="0">
                <a:solidFill>
                  <a:schemeClr val="tx1">
                    <a:lumMod val="75000"/>
                    <a:lumOff val="25000"/>
                  </a:schemeClr>
                </a:solidFill>
              </a:rPr>
              <a:t>のエクスポージャを</a:t>
            </a:r>
            <a:r>
              <a:rPr lang="ja-JP" altLang="en-US" sz="1800" b="0" dirty="0" smtClean="0">
                <a:solidFill>
                  <a:schemeClr val="tx1">
                    <a:lumMod val="75000"/>
                    <a:lumOff val="25000"/>
                  </a:schemeClr>
                </a:solidFill>
              </a:rPr>
              <a:t>持つようにコントロールされたインデックスを作成</a:t>
            </a:r>
            <a:endParaRPr lang="en-GB" sz="1800" b="0" dirty="0">
              <a:solidFill>
                <a:schemeClr val="tx1">
                  <a:lumMod val="75000"/>
                  <a:lumOff val="25000"/>
                </a:schemeClr>
              </a:solidFill>
            </a:endParaRPr>
          </a:p>
          <a:p>
            <a:r>
              <a:rPr lang="ja-JP" altLang="en-US" sz="1800" b="0" dirty="0" smtClean="0">
                <a:solidFill>
                  <a:schemeClr val="tx1">
                    <a:lumMod val="75000"/>
                    <a:lumOff val="25000"/>
                  </a:schemeClr>
                </a:solidFill>
              </a:rPr>
              <a:t>ターゲット・カーボン・インデックスは、リスクファクターに</a:t>
            </a:r>
            <a:r>
              <a:rPr lang="ja-JP" altLang="en-US" sz="1800" b="0" dirty="0">
                <a:solidFill>
                  <a:schemeClr val="tx1">
                    <a:lumMod val="75000"/>
                    <a:lumOff val="25000"/>
                  </a:schemeClr>
                </a:solidFill>
              </a:rPr>
              <a:t>対するアクティブなエクスポージャーをゼロにし、システマティックリスクをゼロ</a:t>
            </a:r>
            <a:r>
              <a:rPr lang="ja-JP" altLang="en-US" sz="1800" b="0" dirty="0" smtClean="0">
                <a:solidFill>
                  <a:schemeClr val="tx1">
                    <a:lumMod val="75000"/>
                    <a:lumOff val="25000"/>
                  </a:schemeClr>
                </a:solidFill>
              </a:rPr>
              <a:t>にするようなティルトを適用する。</a:t>
            </a:r>
            <a:endParaRPr lang="en-GB" altLang="zh-CN" sz="1800" b="0" dirty="0" smtClean="0">
              <a:solidFill>
                <a:schemeClr val="tx1">
                  <a:lumMod val="75000"/>
                  <a:lumOff val="25000"/>
                </a:schemeClr>
              </a:solidFill>
            </a:endParaRPr>
          </a:p>
          <a:p>
            <a:r>
              <a:rPr lang="ja-JP" altLang="en-US" sz="1800" b="0" dirty="0" smtClean="0">
                <a:solidFill>
                  <a:schemeClr val="tx1">
                    <a:lumMod val="75000"/>
                    <a:lumOff val="25000"/>
                  </a:schemeClr>
                </a:solidFill>
              </a:rPr>
              <a:t>スペシフィックリスク</a:t>
            </a:r>
            <a:r>
              <a:rPr lang="ja-JP" altLang="en-US" sz="1800" b="0" dirty="0">
                <a:solidFill>
                  <a:schemeClr val="tx1">
                    <a:lumMod val="75000"/>
                    <a:lumOff val="25000"/>
                  </a:schemeClr>
                </a:solidFill>
              </a:rPr>
              <a:t>は本質的に分散可能であり、十分</a:t>
            </a:r>
            <a:r>
              <a:rPr lang="ja-JP" altLang="en-US" sz="1800" b="0" dirty="0" smtClean="0">
                <a:solidFill>
                  <a:schemeClr val="tx1">
                    <a:lumMod val="75000"/>
                    <a:lumOff val="25000"/>
                  </a:schemeClr>
                </a:solidFill>
              </a:rPr>
              <a:t>に分散された</a:t>
            </a:r>
            <a:r>
              <a:rPr lang="ja-JP" altLang="en-US" sz="1800" b="0" dirty="0">
                <a:solidFill>
                  <a:schemeClr val="tx1">
                    <a:lumMod val="75000"/>
                    <a:lumOff val="25000"/>
                  </a:schemeClr>
                </a:solidFill>
              </a:rPr>
              <a:t>ポートフォリオでは無視</a:t>
            </a:r>
            <a:r>
              <a:rPr lang="ja-JP" altLang="en-US" sz="1800" b="0" dirty="0" smtClean="0">
                <a:solidFill>
                  <a:schemeClr val="tx1">
                    <a:lumMod val="75000"/>
                    <a:lumOff val="25000"/>
                  </a:schemeClr>
                </a:solidFill>
              </a:rPr>
              <a:t>できるものとする。</a:t>
            </a:r>
            <a:endParaRPr lang="en-GB" sz="1800" b="0" dirty="0" smtClean="0">
              <a:solidFill>
                <a:schemeClr val="tx1">
                  <a:lumMod val="75000"/>
                  <a:lumOff val="25000"/>
                </a:schemeClr>
              </a:solidFill>
            </a:endParaRPr>
          </a:p>
        </p:txBody>
      </p:sp>
      <p:sp>
        <p:nvSpPr>
          <p:cNvPr id="9" name="TextBox 8"/>
          <p:cNvSpPr txBox="1"/>
          <p:nvPr/>
        </p:nvSpPr>
        <p:spPr>
          <a:xfrm>
            <a:off x="461963" y="6019800"/>
            <a:ext cx="5650302" cy="400110"/>
          </a:xfrm>
          <a:prstGeom prst="rect">
            <a:avLst/>
          </a:prstGeom>
          <a:noFill/>
        </p:spPr>
        <p:txBody>
          <a:bodyPr wrap="square" rtlCol="0">
            <a:spAutoFit/>
          </a:bodyPr>
          <a:lstStyle/>
          <a:p>
            <a:r>
              <a:rPr lang="en-GB" sz="1000" dirty="0" smtClean="0"/>
              <a:t>FTSE Developed </a:t>
            </a:r>
            <a:r>
              <a:rPr lang="en-GB" sz="1000" dirty="0"/>
              <a:t>March 2012 – December </a:t>
            </a:r>
            <a:r>
              <a:rPr lang="en-GB" sz="1000" dirty="0" smtClean="0"/>
              <a:t>2018, USD.</a:t>
            </a:r>
          </a:p>
          <a:p>
            <a:r>
              <a:rPr lang="en-US" altLang="ja-JP" sz="1000" dirty="0"/>
              <a:t>Source: FTSE Russell</a:t>
            </a:r>
            <a:r>
              <a:rPr lang="en-GB" sz="1000" dirty="0" smtClean="0"/>
              <a:t> </a:t>
            </a:r>
            <a:endParaRPr lang="en-GB" sz="1000" dirty="0"/>
          </a:p>
        </p:txBody>
      </p:sp>
      <p:graphicFrame>
        <p:nvGraphicFramePr>
          <p:cNvPr id="8" name="Content Placeholder 7"/>
          <p:cNvGraphicFramePr>
            <a:graphicFrameLocks noGrp="1"/>
          </p:cNvGraphicFramePr>
          <p:nvPr>
            <p:ph sz="half" idx="1"/>
            <p:extLst>
              <p:ext uri="{D42A27DB-BD31-4B8C-83A1-F6EECF244321}">
                <p14:modId xmlns:p14="http://schemas.microsoft.com/office/powerpoint/2010/main" val="1876396433"/>
              </p:ext>
            </p:extLst>
          </p:nvPr>
        </p:nvGraphicFramePr>
        <p:xfrm>
          <a:off x="457200" y="1371600"/>
          <a:ext cx="3886200" cy="435133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12516821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dirty="0" smtClean="0"/>
              <a:t>3.1.4 </a:t>
            </a:r>
            <a:r>
              <a:rPr lang="ja-JP" altLang="en-US" dirty="0" smtClean="0"/>
              <a:t>カーボンリスクとトラッキングエラーの関係</a:t>
            </a:r>
            <a:endParaRPr lang="en-GB" dirty="0"/>
          </a:p>
        </p:txBody>
      </p:sp>
      <p:sp>
        <p:nvSpPr>
          <p:cNvPr id="12" name="TextBox 11"/>
          <p:cNvSpPr txBox="1"/>
          <p:nvPr/>
        </p:nvSpPr>
        <p:spPr>
          <a:xfrm>
            <a:off x="481014" y="2707975"/>
            <a:ext cx="4014787" cy="276999"/>
          </a:xfrm>
          <a:prstGeom prst="rect">
            <a:avLst/>
          </a:prstGeom>
          <a:noFill/>
        </p:spPr>
        <p:txBody>
          <a:bodyPr wrap="square" rtlCol="0">
            <a:spAutoFit/>
          </a:bodyPr>
          <a:lstStyle/>
          <a:p>
            <a:pPr algn="ctr"/>
            <a:r>
              <a:rPr lang="en-GB" sz="1200" b="1" dirty="0" smtClean="0"/>
              <a:t>Fixed Emission Reduction </a:t>
            </a:r>
            <a:r>
              <a:rPr lang="en-GB" sz="1200" b="1" dirty="0"/>
              <a:t>T</a:t>
            </a:r>
            <a:r>
              <a:rPr lang="en-GB" sz="1200" b="1" dirty="0" smtClean="0"/>
              <a:t>argets</a:t>
            </a:r>
            <a:endParaRPr lang="en-GB" sz="1200" b="1" dirty="0"/>
          </a:p>
        </p:txBody>
      </p:sp>
      <p:sp>
        <p:nvSpPr>
          <p:cNvPr id="13" name="TextBox 12"/>
          <p:cNvSpPr txBox="1"/>
          <p:nvPr/>
        </p:nvSpPr>
        <p:spPr>
          <a:xfrm>
            <a:off x="461963" y="6093281"/>
            <a:ext cx="4524105" cy="338554"/>
          </a:xfrm>
          <a:prstGeom prst="rect">
            <a:avLst/>
          </a:prstGeom>
          <a:noFill/>
        </p:spPr>
        <p:txBody>
          <a:bodyPr wrap="square" rtlCol="0">
            <a:spAutoFit/>
          </a:bodyPr>
          <a:lstStyle/>
          <a:p>
            <a:r>
              <a:rPr lang="en-GB" sz="800" b="1" dirty="0" smtClean="0"/>
              <a:t>FTSE Developed, rolling one-year Tracking Error, USD. </a:t>
            </a:r>
          </a:p>
          <a:p>
            <a:r>
              <a:rPr lang="en-US" altLang="ja-JP" sz="800" b="1" dirty="0"/>
              <a:t>Source: FTSE Russell</a:t>
            </a:r>
            <a:endParaRPr lang="en-GB" sz="800" b="1" dirty="0"/>
          </a:p>
        </p:txBody>
      </p:sp>
      <p:sp>
        <p:nvSpPr>
          <p:cNvPr id="10" name="TextBox 9"/>
          <p:cNvSpPr txBox="1"/>
          <p:nvPr/>
        </p:nvSpPr>
        <p:spPr>
          <a:xfrm>
            <a:off x="4686301" y="2707975"/>
            <a:ext cx="4014787" cy="276999"/>
          </a:xfrm>
          <a:prstGeom prst="rect">
            <a:avLst/>
          </a:prstGeom>
          <a:noFill/>
        </p:spPr>
        <p:txBody>
          <a:bodyPr wrap="square" rtlCol="0">
            <a:spAutoFit/>
          </a:bodyPr>
          <a:lstStyle/>
          <a:p>
            <a:pPr algn="ctr"/>
            <a:r>
              <a:rPr lang="en-GB" sz="1200" b="1" dirty="0" smtClean="0"/>
              <a:t>Fixed Tracking Error </a:t>
            </a:r>
            <a:r>
              <a:rPr lang="en-GB" sz="1200" b="1" dirty="0"/>
              <a:t>T</a:t>
            </a:r>
            <a:r>
              <a:rPr lang="en-GB" sz="1200" b="1" dirty="0" smtClean="0"/>
              <a:t>argets</a:t>
            </a:r>
            <a:endParaRPr lang="en-GB" sz="1200" b="1" dirty="0"/>
          </a:p>
        </p:txBody>
      </p:sp>
      <p:sp>
        <p:nvSpPr>
          <p:cNvPr id="20" name="TextBox 19"/>
          <p:cNvSpPr txBox="1"/>
          <p:nvPr/>
        </p:nvSpPr>
        <p:spPr>
          <a:xfrm>
            <a:off x="481014" y="985543"/>
            <a:ext cx="8239125" cy="1477328"/>
          </a:xfrm>
          <a:prstGeom prst="rect">
            <a:avLst/>
          </a:prstGeom>
          <a:noFill/>
        </p:spPr>
        <p:txBody>
          <a:bodyPr wrap="square" rtlCol="0">
            <a:spAutoFit/>
          </a:bodyPr>
          <a:lstStyle/>
          <a:p>
            <a:pPr marL="285750" indent="-285750">
              <a:buFont typeface="Arial" panose="020B0604020202020204" pitchFamily="34" charset="0"/>
              <a:buChar char="•"/>
            </a:pPr>
            <a:r>
              <a:rPr lang="ja-JP" altLang="en-US" dirty="0" smtClean="0">
                <a:solidFill>
                  <a:schemeClr val="tx1">
                    <a:lumMod val="75000"/>
                    <a:lumOff val="25000"/>
                  </a:schemeClr>
                </a:solidFill>
              </a:rPr>
              <a:t>炭素集約度削減量のターゲット（</a:t>
            </a:r>
            <a:r>
              <a:rPr lang="ja-JP" altLang="en-US" dirty="0">
                <a:solidFill>
                  <a:schemeClr val="tx1">
                    <a:lumMod val="75000"/>
                    <a:lumOff val="25000"/>
                  </a:schemeClr>
                </a:solidFill>
              </a:rPr>
              <a:t>また</a:t>
            </a:r>
            <a:r>
              <a:rPr lang="ja-JP" altLang="en-US" dirty="0" smtClean="0">
                <a:solidFill>
                  <a:schemeClr val="tx1">
                    <a:lumMod val="75000"/>
                    <a:lumOff val="25000"/>
                  </a:schemeClr>
                </a:solidFill>
              </a:rPr>
              <a:t>はアクティブカーボンリスクのエクスポージャ）</a:t>
            </a:r>
            <a:r>
              <a:rPr lang="ja-JP" altLang="en-US" dirty="0">
                <a:solidFill>
                  <a:schemeClr val="tx1">
                    <a:lumMod val="75000"/>
                    <a:lumOff val="25000"/>
                  </a:schemeClr>
                </a:solidFill>
              </a:rPr>
              <a:t>が固定されている場合</a:t>
            </a:r>
            <a:r>
              <a:rPr lang="ja-JP" altLang="en-US" dirty="0" smtClean="0">
                <a:solidFill>
                  <a:schemeClr val="tx1">
                    <a:lumMod val="75000"/>
                    <a:lumOff val="25000"/>
                  </a:schemeClr>
                </a:solidFill>
              </a:rPr>
              <a:t>、トラッキングエラー</a:t>
            </a:r>
            <a:r>
              <a:rPr lang="ja-JP" altLang="en-US" dirty="0">
                <a:solidFill>
                  <a:schemeClr val="tx1">
                    <a:lumMod val="75000"/>
                    <a:lumOff val="25000"/>
                  </a:schemeClr>
                </a:solidFill>
              </a:rPr>
              <a:t>は時間とともに</a:t>
            </a:r>
            <a:r>
              <a:rPr lang="ja-JP" altLang="en-US" dirty="0" smtClean="0">
                <a:solidFill>
                  <a:schemeClr val="tx1">
                    <a:lumMod val="75000"/>
                    <a:lumOff val="25000"/>
                  </a:schemeClr>
                </a:solidFill>
              </a:rPr>
              <a:t>変化する</a:t>
            </a:r>
            <a:endParaRPr lang="en-GB" dirty="0" smtClean="0">
              <a:solidFill>
                <a:schemeClr val="tx1">
                  <a:lumMod val="75000"/>
                  <a:lumOff val="25000"/>
                </a:schemeClr>
              </a:solidFill>
            </a:endParaRPr>
          </a:p>
          <a:p>
            <a:pPr marL="285750" indent="-285750">
              <a:buFont typeface="Arial" panose="020B0604020202020204" pitchFamily="34" charset="0"/>
              <a:buChar char="•"/>
            </a:pPr>
            <a:r>
              <a:rPr lang="ja-JP" altLang="en-US" dirty="0" smtClean="0">
                <a:solidFill>
                  <a:schemeClr val="tx1">
                    <a:lumMod val="75000"/>
                    <a:lumOff val="25000"/>
                  </a:schemeClr>
                </a:solidFill>
              </a:rPr>
              <a:t>同様</a:t>
            </a:r>
            <a:r>
              <a:rPr lang="ja-JP" altLang="en-US" dirty="0">
                <a:solidFill>
                  <a:schemeClr val="tx1">
                    <a:lumMod val="75000"/>
                    <a:lumOff val="25000"/>
                  </a:schemeClr>
                </a:solidFill>
              </a:rPr>
              <a:t>に</a:t>
            </a:r>
            <a:r>
              <a:rPr lang="ja-JP" altLang="en-US" dirty="0" smtClean="0">
                <a:solidFill>
                  <a:schemeClr val="tx1">
                    <a:lumMod val="75000"/>
                    <a:lumOff val="25000"/>
                  </a:schemeClr>
                </a:solidFill>
              </a:rPr>
              <a:t>、トラッキングエラーを固定した場合</a:t>
            </a:r>
            <a:r>
              <a:rPr lang="ja-JP" altLang="en-US" dirty="0">
                <a:solidFill>
                  <a:schemeClr val="tx1">
                    <a:lumMod val="75000"/>
                    <a:lumOff val="25000"/>
                  </a:schemeClr>
                </a:solidFill>
              </a:rPr>
              <a:t>、炭素集約度</a:t>
            </a:r>
            <a:r>
              <a:rPr lang="ja-JP" altLang="en-US" dirty="0" smtClean="0">
                <a:solidFill>
                  <a:schemeClr val="tx1">
                    <a:lumMod val="75000"/>
                    <a:lumOff val="25000"/>
                  </a:schemeClr>
                </a:solidFill>
              </a:rPr>
              <a:t>削減量は時間変化する可能性がある</a:t>
            </a:r>
            <a:endParaRPr lang="en-GB" dirty="0" smtClean="0">
              <a:solidFill>
                <a:schemeClr val="tx1">
                  <a:lumMod val="75000"/>
                  <a:lumOff val="25000"/>
                </a:schemeClr>
              </a:solidFill>
            </a:endParaRPr>
          </a:p>
          <a:p>
            <a:pPr marL="285750" indent="-285750">
              <a:buFont typeface="Arial" panose="020B0604020202020204" pitchFamily="34" charset="0"/>
              <a:buChar char="•"/>
            </a:pPr>
            <a:r>
              <a:rPr lang="ja-JP" altLang="en-US" dirty="0" smtClean="0">
                <a:solidFill>
                  <a:schemeClr val="tx1">
                    <a:lumMod val="75000"/>
                    <a:lumOff val="25000"/>
                  </a:schemeClr>
                </a:solidFill>
              </a:rPr>
              <a:t>トラッキングエラーはカーボンリスクファクターの</a:t>
            </a:r>
            <a:r>
              <a:rPr lang="ja-JP" altLang="en-US" dirty="0">
                <a:solidFill>
                  <a:schemeClr val="tx1">
                    <a:lumMod val="75000"/>
                    <a:lumOff val="25000"/>
                  </a:schemeClr>
                </a:solidFill>
              </a:rPr>
              <a:t>時変特性に起因</a:t>
            </a:r>
            <a:r>
              <a:rPr lang="ja-JP" altLang="en-US" dirty="0" smtClean="0">
                <a:solidFill>
                  <a:schemeClr val="tx1">
                    <a:lumMod val="75000"/>
                    <a:lumOff val="25000"/>
                  </a:schemeClr>
                </a:solidFill>
              </a:rPr>
              <a:t>する</a:t>
            </a:r>
            <a:endParaRPr lang="en-GB" dirty="0">
              <a:solidFill>
                <a:schemeClr val="tx1">
                  <a:lumMod val="75000"/>
                  <a:lumOff val="25000"/>
                </a:schemeClr>
              </a:solidFill>
            </a:endParaRPr>
          </a:p>
        </p:txBody>
      </p:sp>
      <p:graphicFrame>
        <p:nvGraphicFramePr>
          <p:cNvPr id="22" name="Content Placeholder 21"/>
          <p:cNvGraphicFramePr>
            <a:graphicFrameLocks noGrp="1"/>
          </p:cNvGraphicFramePr>
          <p:nvPr>
            <p:ph sz="half" idx="1"/>
            <p:extLst>
              <p:ext uri="{D42A27DB-BD31-4B8C-83A1-F6EECF244321}">
                <p14:modId xmlns:p14="http://schemas.microsoft.com/office/powerpoint/2010/main" val="277687959"/>
              </p:ext>
            </p:extLst>
          </p:nvPr>
        </p:nvGraphicFramePr>
        <p:xfrm>
          <a:off x="457200" y="2995607"/>
          <a:ext cx="3886200" cy="301976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1" name="Content Placeholder 10"/>
          <p:cNvGraphicFramePr>
            <a:graphicFrameLocks noGrp="1"/>
          </p:cNvGraphicFramePr>
          <p:nvPr>
            <p:ph sz="half" idx="2"/>
            <p:extLst>
              <p:ext uri="{D42A27DB-BD31-4B8C-83A1-F6EECF244321}">
                <p14:modId xmlns:p14="http://schemas.microsoft.com/office/powerpoint/2010/main" val="1965279999"/>
              </p:ext>
            </p:extLst>
          </p:nvPr>
        </p:nvGraphicFramePr>
        <p:xfrm>
          <a:off x="4686301" y="2984974"/>
          <a:ext cx="4000499" cy="307292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26429258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199" y="419100"/>
            <a:ext cx="8357191" cy="800099"/>
          </a:xfrm>
        </p:spPr>
        <p:txBody>
          <a:bodyPr/>
          <a:lstStyle/>
          <a:p>
            <a:r>
              <a:rPr lang="en-US" altLang="ja-JP" dirty="0" smtClean="0"/>
              <a:t>3.1.5 </a:t>
            </a:r>
            <a:r>
              <a:rPr lang="ja-JP" altLang="en-US" dirty="0" smtClean="0"/>
              <a:t>一貫性</a:t>
            </a:r>
            <a:r>
              <a:rPr lang="ja-JP" altLang="en-US" dirty="0"/>
              <a:t>：実現</a:t>
            </a:r>
            <a:r>
              <a:rPr lang="ja-JP" altLang="en-US" dirty="0" smtClean="0"/>
              <a:t>および予想トラッキングエラー</a:t>
            </a:r>
            <a:r>
              <a:rPr lang="en-US" altLang="ja-JP" dirty="0" smtClean="0"/>
              <a:t/>
            </a:r>
            <a:br>
              <a:rPr lang="en-US" altLang="ja-JP" dirty="0" smtClean="0"/>
            </a:br>
            <a:r>
              <a:rPr lang="en-US" altLang="ja-JP" dirty="0"/>
              <a:t>	</a:t>
            </a:r>
            <a:r>
              <a:rPr lang="ja-JP" altLang="en-US" sz="2400" dirty="0" smtClean="0"/>
              <a:t>先進国指数</a:t>
            </a:r>
            <a:endParaRPr lang="en-GB" sz="2400" dirty="0"/>
          </a:p>
        </p:txBody>
      </p:sp>
      <p:sp>
        <p:nvSpPr>
          <p:cNvPr id="3" name="TextBox 2"/>
          <p:cNvSpPr txBox="1"/>
          <p:nvPr/>
        </p:nvSpPr>
        <p:spPr>
          <a:xfrm>
            <a:off x="701749" y="1389063"/>
            <a:ext cx="3668232" cy="369332"/>
          </a:xfrm>
          <a:prstGeom prst="rect">
            <a:avLst/>
          </a:prstGeom>
          <a:noFill/>
        </p:spPr>
        <p:txBody>
          <a:bodyPr wrap="square" rtlCol="0">
            <a:spAutoFit/>
          </a:bodyPr>
          <a:lstStyle/>
          <a:p>
            <a:r>
              <a:rPr lang="ja-JP" altLang="en-US" dirty="0"/>
              <a:t>実現（事後</a:t>
            </a:r>
            <a:r>
              <a:rPr lang="ja-JP" altLang="en-US" dirty="0" smtClean="0"/>
              <a:t>）トラッキングエラー</a:t>
            </a:r>
            <a:endParaRPr lang="en-GB" dirty="0"/>
          </a:p>
        </p:txBody>
      </p:sp>
      <p:sp>
        <p:nvSpPr>
          <p:cNvPr id="12" name="TextBox 11"/>
          <p:cNvSpPr txBox="1"/>
          <p:nvPr/>
        </p:nvSpPr>
        <p:spPr>
          <a:xfrm>
            <a:off x="4841358" y="1389063"/>
            <a:ext cx="3668232" cy="369332"/>
          </a:xfrm>
          <a:prstGeom prst="rect">
            <a:avLst/>
          </a:prstGeom>
          <a:noFill/>
        </p:spPr>
        <p:txBody>
          <a:bodyPr wrap="square" rtlCol="0">
            <a:spAutoFit/>
          </a:bodyPr>
          <a:lstStyle/>
          <a:p>
            <a:r>
              <a:rPr lang="ja-JP" altLang="en-US" dirty="0"/>
              <a:t>予測（事前</a:t>
            </a:r>
            <a:r>
              <a:rPr lang="ja-JP" altLang="en-US" dirty="0" smtClean="0"/>
              <a:t>）トラッキングエラー</a:t>
            </a:r>
            <a:endParaRPr lang="en-GB" dirty="0"/>
          </a:p>
        </p:txBody>
      </p:sp>
      <p:sp>
        <p:nvSpPr>
          <p:cNvPr id="7" name="TextBox 6"/>
          <p:cNvSpPr txBox="1"/>
          <p:nvPr/>
        </p:nvSpPr>
        <p:spPr>
          <a:xfrm>
            <a:off x="471488" y="6095072"/>
            <a:ext cx="3902149" cy="338554"/>
          </a:xfrm>
          <a:prstGeom prst="rect">
            <a:avLst/>
          </a:prstGeom>
          <a:noFill/>
        </p:spPr>
        <p:txBody>
          <a:bodyPr wrap="square" rtlCol="0">
            <a:spAutoFit/>
          </a:bodyPr>
          <a:lstStyle/>
          <a:p>
            <a:r>
              <a:rPr lang="en-GB" sz="800" b="1" dirty="0" smtClean="0"/>
              <a:t>FTSE Developed e, USD.</a:t>
            </a:r>
          </a:p>
          <a:p>
            <a:r>
              <a:rPr lang="en-US" altLang="ja-JP" sz="800" b="1" dirty="0"/>
              <a:t>Source: FTSE Russell</a:t>
            </a:r>
            <a:endParaRPr lang="en-GB" sz="800" b="1" dirty="0"/>
          </a:p>
        </p:txBody>
      </p:sp>
      <p:sp>
        <p:nvSpPr>
          <p:cNvPr id="8" name="TextBox 7"/>
          <p:cNvSpPr txBox="1"/>
          <p:nvPr/>
        </p:nvSpPr>
        <p:spPr>
          <a:xfrm>
            <a:off x="4705350" y="6105361"/>
            <a:ext cx="3908018" cy="338554"/>
          </a:xfrm>
          <a:prstGeom prst="rect">
            <a:avLst/>
          </a:prstGeom>
          <a:noFill/>
        </p:spPr>
        <p:txBody>
          <a:bodyPr wrap="square" rtlCol="0">
            <a:spAutoFit/>
          </a:bodyPr>
          <a:lstStyle/>
          <a:p>
            <a:r>
              <a:rPr lang="en-GB" sz="800" b="1" dirty="0" smtClean="0"/>
              <a:t>Source: FTSE Russell, </a:t>
            </a:r>
            <a:r>
              <a:rPr lang="en-GB" sz="800" b="1" dirty="0" err="1" smtClean="0"/>
              <a:t>FactSet</a:t>
            </a:r>
            <a:r>
              <a:rPr lang="en-GB" sz="800" b="1" dirty="0" smtClean="0"/>
              <a:t>, </a:t>
            </a:r>
            <a:r>
              <a:rPr lang="en-GB" sz="800" b="1" dirty="0" err="1" smtClean="0"/>
              <a:t>Axioma</a:t>
            </a:r>
            <a:r>
              <a:rPr lang="en-GB" sz="800" b="1" dirty="0" smtClean="0"/>
              <a:t> </a:t>
            </a:r>
            <a:r>
              <a:rPr lang="en-GB" sz="800" b="1" dirty="0"/>
              <a:t>World-Wide Fundamental Equity Risk Model MH </a:t>
            </a:r>
            <a:r>
              <a:rPr lang="en-GB" sz="800" b="1" dirty="0" smtClean="0"/>
              <a:t>6/2/2014 </a:t>
            </a:r>
            <a:r>
              <a:rPr lang="en-GB" sz="800" b="1" dirty="0"/>
              <a:t>through </a:t>
            </a:r>
            <a:r>
              <a:rPr lang="en-GB" sz="800" b="1" dirty="0" smtClean="0"/>
              <a:t>5/31/2019</a:t>
            </a:r>
            <a:endParaRPr lang="en-GB" sz="800" b="1" dirty="0"/>
          </a:p>
        </p:txBody>
      </p:sp>
      <p:pic>
        <p:nvPicPr>
          <p:cNvPr id="2053" name="Picture 5"/>
          <p:cNvPicPr>
            <a:picLocks noGrp="1" noChangeAspect="1" noChangeArrowheads="1"/>
          </p:cNvPicPr>
          <p:nvPr>
            <p:ph sz="half" idx="1"/>
          </p:nvPr>
        </p:nvPicPr>
        <p:blipFill>
          <a:blip r:embed="rId2" cstate="print">
            <a:extLst>
              <a:ext uri="{28A0092B-C50C-407E-A947-70E740481C1C}">
                <a14:useLocalDpi xmlns:a14="http://schemas.microsoft.com/office/drawing/2010/main" val="0"/>
              </a:ext>
            </a:extLst>
          </a:blip>
          <a:srcRect/>
          <a:stretch>
            <a:fillRect/>
          </a:stretch>
        </p:blipFill>
        <p:spPr bwMode="auto">
          <a:xfrm>
            <a:off x="457200" y="1795070"/>
            <a:ext cx="3886200" cy="43425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4" name="Picture 6"/>
          <p:cNvPicPr>
            <a:picLocks noGrp="1" noChangeAspect="1" noChangeArrowheads="1"/>
          </p:cNvPicPr>
          <p:nvPr>
            <p:ph sz="half" idx="2"/>
          </p:nvPr>
        </p:nvPicPr>
        <p:blipFill>
          <a:blip r:embed="rId3" cstate="print">
            <a:extLst>
              <a:ext uri="{28A0092B-C50C-407E-A947-70E740481C1C}">
                <a14:useLocalDpi xmlns:a14="http://schemas.microsoft.com/office/drawing/2010/main" val="0"/>
              </a:ext>
            </a:extLst>
          </a:blip>
          <a:srcRect/>
          <a:stretch>
            <a:fillRect/>
          </a:stretch>
        </p:blipFill>
        <p:spPr bwMode="auto">
          <a:xfrm>
            <a:off x="4800600" y="1807770"/>
            <a:ext cx="3886200" cy="43425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7849489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Content Placeholder 15"/>
          <p:cNvGraphicFramePr>
            <a:graphicFrameLocks noGrp="1"/>
          </p:cNvGraphicFramePr>
          <p:nvPr>
            <p:ph sz="half" idx="1"/>
            <p:extLst>
              <p:ext uri="{D42A27DB-BD31-4B8C-83A1-F6EECF244321}">
                <p14:modId xmlns:p14="http://schemas.microsoft.com/office/powerpoint/2010/main" val="2578207191"/>
              </p:ext>
            </p:extLst>
          </p:nvPr>
        </p:nvGraphicFramePr>
        <p:xfrm>
          <a:off x="475806" y="1758395"/>
          <a:ext cx="3886200" cy="4505578"/>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xfrm>
            <a:off x="457199" y="419100"/>
            <a:ext cx="8357191" cy="800099"/>
          </a:xfrm>
        </p:spPr>
        <p:txBody>
          <a:bodyPr/>
          <a:lstStyle/>
          <a:p>
            <a:r>
              <a:rPr lang="en-US" altLang="ja-JP" dirty="0" smtClean="0"/>
              <a:t>3.1.6 </a:t>
            </a:r>
            <a:r>
              <a:rPr lang="ja-JP" altLang="en-US" dirty="0" smtClean="0"/>
              <a:t>一貫性</a:t>
            </a:r>
            <a:r>
              <a:rPr lang="ja-JP" altLang="en-US" dirty="0"/>
              <a:t>：実現および予想</a:t>
            </a:r>
            <a:r>
              <a:rPr lang="ja-JP" altLang="en-US" dirty="0" smtClean="0"/>
              <a:t>トラッキングエラー</a:t>
            </a:r>
            <a:r>
              <a:rPr lang="en-US" altLang="ja-JP" dirty="0" smtClean="0"/>
              <a:t/>
            </a:r>
            <a:br>
              <a:rPr lang="en-US" altLang="ja-JP" dirty="0" smtClean="0"/>
            </a:br>
            <a:r>
              <a:rPr lang="en-US" altLang="ja-JP" dirty="0"/>
              <a:t>	</a:t>
            </a:r>
            <a:r>
              <a:rPr lang="ja-JP" altLang="en-US" sz="2400" dirty="0" smtClean="0"/>
              <a:t>エマージング指数</a:t>
            </a:r>
            <a:endParaRPr lang="en-GB" dirty="0"/>
          </a:p>
        </p:txBody>
      </p:sp>
      <p:sp>
        <p:nvSpPr>
          <p:cNvPr id="3" name="TextBox 2"/>
          <p:cNvSpPr txBox="1"/>
          <p:nvPr/>
        </p:nvSpPr>
        <p:spPr>
          <a:xfrm>
            <a:off x="701749" y="1389063"/>
            <a:ext cx="3668232" cy="369332"/>
          </a:xfrm>
          <a:prstGeom prst="rect">
            <a:avLst/>
          </a:prstGeom>
          <a:noFill/>
        </p:spPr>
        <p:txBody>
          <a:bodyPr wrap="square" rtlCol="0">
            <a:spAutoFit/>
          </a:bodyPr>
          <a:lstStyle/>
          <a:p>
            <a:r>
              <a:rPr lang="ja-JP" altLang="en-US" dirty="0"/>
              <a:t>実現（事後）トラッキングエラー</a:t>
            </a:r>
            <a:endParaRPr lang="en-GB" dirty="0"/>
          </a:p>
        </p:txBody>
      </p:sp>
      <p:sp>
        <p:nvSpPr>
          <p:cNvPr id="12" name="TextBox 11"/>
          <p:cNvSpPr txBox="1"/>
          <p:nvPr/>
        </p:nvSpPr>
        <p:spPr>
          <a:xfrm>
            <a:off x="4841358" y="1389063"/>
            <a:ext cx="3668232" cy="369332"/>
          </a:xfrm>
          <a:prstGeom prst="rect">
            <a:avLst/>
          </a:prstGeom>
          <a:noFill/>
        </p:spPr>
        <p:txBody>
          <a:bodyPr wrap="square" rtlCol="0">
            <a:spAutoFit/>
          </a:bodyPr>
          <a:lstStyle/>
          <a:p>
            <a:r>
              <a:rPr lang="ja-JP" altLang="en-US" dirty="0"/>
              <a:t>予測（事前）トラッキングエラー</a:t>
            </a:r>
            <a:endParaRPr lang="en-GB" dirty="0"/>
          </a:p>
        </p:txBody>
      </p:sp>
      <p:sp>
        <p:nvSpPr>
          <p:cNvPr id="7" name="TextBox 6"/>
          <p:cNvSpPr txBox="1"/>
          <p:nvPr/>
        </p:nvSpPr>
        <p:spPr>
          <a:xfrm>
            <a:off x="467832" y="6127676"/>
            <a:ext cx="3902149" cy="338554"/>
          </a:xfrm>
          <a:prstGeom prst="rect">
            <a:avLst/>
          </a:prstGeom>
          <a:noFill/>
        </p:spPr>
        <p:txBody>
          <a:bodyPr wrap="square" rtlCol="0">
            <a:spAutoFit/>
          </a:bodyPr>
          <a:lstStyle/>
          <a:p>
            <a:r>
              <a:rPr lang="en-GB" sz="800" b="1" dirty="0" smtClean="0"/>
              <a:t>FTSE </a:t>
            </a:r>
            <a:r>
              <a:rPr lang="en-GB" sz="800" b="1" dirty="0"/>
              <a:t>EM Carbon Target Exposure Index, </a:t>
            </a:r>
            <a:r>
              <a:rPr lang="en-GB" sz="800" b="1" dirty="0" smtClean="0"/>
              <a:t>EUR. 1-year TE. </a:t>
            </a:r>
          </a:p>
          <a:p>
            <a:r>
              <a:rPr lang="en-GB" sz="800" b="1" dirty="0" smtClean="0"/>
              <a:t>Source: FTSE Russell </a:t>
            </a:r>
            <a:endParaRPr lang="en-GB" sz="800" b="1" dirty="0"/>
          </a:p>
        </p:txBody>
      </p:sp>
      <p:sp>
        <p:nvSpPr>
          <p:cNvPr id="8" name="TextBox 7"/>
          <p:cNvSpPr txBox="1"/>
          <p:nvPr/>
        </p:nvSpPr>
        <p:spPr>
          <a:xfrm>
            <a:off x="4667250" y="6038686"/>
            <a:ext cx="3908018" cy="338554"/>
          </a:xfrm>
          <a:prstGeom prst="rect">
            <a:avLst/>
          </a:prstGeom>
          <a:noFill/>
        </p:spPr>
        <p:txBody>
          <a:bodyPr wrap="square" rtlCol="0">
            <a:spAutoFit/>
          </a:bodyPr>
          <a:lstStyle/>
          <a:p>
            <a:r>
              <a:rPr lang="en-GB" sz="800" b="1" dirty="0" smtClean="0"/>
              <a:t>Source: FTSE Russell, </a:t>
            </a:r>
            <a:r>
              <a:rPr lang="en-GB" sz="800" b="1" dirty="0" err="1" smtClean="0"/>
              <a:t>FactSet</a:t>
            </a:r>
            <a:r>
              <a:rPr lang="en-GB" sz="800" b="1" dirty="0" smtClean="0"/>
              <a:t>. </a:t>
            </a:r>
            <a:r>
              <a:rPr lang="en-GB" sz="800" b="1" dirty="0" err="1" smtClean="0"/>
              <a:t>Axioma</a:t>
            </a:r>
            <a:r>
              <a:rPr lang="en-GB" sz="800" b="1" dirty="0" smtClean="0"/>
              <a:t> EM </a:t>
            </a:r>
            <a:r>
              <a:rPr lang="en-GB" sz="800" b="1" dirty="0"/>
              <a:t>Fundamental Equity Risk Model MH 4|3/31/2014 through 3/29/2019</a:t>
            </a:r>
          </a:p>
        </p:txBody>
      </p:sp>
      <p:graphicFrame>
        <p:nvGraphicFramePr>
          <p:cNvPr id="14" name="Content Placeholder 13"/>
          <p:cNvGraphicFramePr>
            <a:graphicFrameLocks noGrp="1"/>
          </p:cNvGraphicFramePr>
          <p:nvPr>
            <p:ph sz="half" idx="2"/>
            <p:extLst>
              <p:ext uri="{D42A27DB-BD31-4B8C-83A1-F6EECF244321}">
                <p14:modId xmlns:p14="http://schemas.microsoft.com/office/powerpoint/2010/main" val="600658169"/>
              </p:ext>
            </p:extLst>
          </p:nvPr>
        </p:nvGraphicFramePr>
        <p:xfrm>
          <a:off x="4814888" y="1804947"/>
          <a:ext cx="3886200" cy="423373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69382575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19574" y="457200"/>
            <a:ext cx="4324351" cy="2600325"/>
          </a:xfrm>
        </p:spPr>
        <p:txBody>
          <a:bodyPr/>
          <a:lstStyle/>
          <a:p>
            <a:r>
              <a:rPr lang="en-US" altLang="ja-JP" dirty="0" smtClean="0"/>
              <a:t>3.1.7 </a:t>
            </a:r>
            <a:r>
              <a:rPr lang="ja-JP" altLang="en-US" dirty="0" smtClean="0"/>
              <a:t>パフォーマンス・アトリビューション</a:t>
            </a:r>
            <a:r>
              <a:rPr lang="en-GB" dirty="0" smtClean="0"/>
              <a:t> </a:t>
            </a:r>
            <a:br>
              <a:rPr lang="en-GB" dirty="0" smtClean="0"/>
            </a:br>
            <a:r>
              <a:rPr lang="en-GB" dirty="0" smtClean="0"/>
              <a:t/>
            </a:r>
            <a:br>
              <a:rPr lang="en-GB" dirty="0" smtClean="0"/>
            </a:br>
            <a:r>
              <a:rPr lang="ja-JP" altLang="en-US" sz="1600" b="0" dirty="0" smtClean="0">
                <a:solidFill>
                  <a:schemeClr val="tx1">
                    <a:lumMod val="75000"/>
                    <a:lumOff val="25000"/>
                  </a:schemeClr>
                </a:solidFill>
                <a:latin typeface="+mn-lt"/>
                <a:ea typeface="+mn-ea"/>
                <a:cs typeface="+mn-cs"/>
              </a:rPr>
              <a:t>セクターアロケーション要因と個別株選択要因を区別する</a:t>
            </a:r>
            <a:r>
              <a:rPr lang="en-GB" altLang="zh-CN" sz="1600" b="0" dirty="0" smtClean="0">
                <a:solidFill>
                  <a:schemeClr val="tx1">
                    <a:lumMod val="75000"/>
                    <a:lumOff val="25000"/>
                  </a:schemeClr>
                </a:solidFill>
                <a:latin typeface="+mn-lt"/>
                <a:ea typeface="+mn-ea"/>
                <a:cs typeface="+mn-cs"/>
              </a:rPr>
              <a:t> </a:t>
            </a:r>
            <a:r>
              <a:rPr lang="en-GB" altLang="zh-CN" sz="1600" b="0" dirty="0">
                <a:solidFill>
                  <a:schemeClr val="tx1">
                    <a:lumMod val="75000"/>
                    <a:lumOff val="25000"/>
                  </a:schemeClr>
                </a:solidFill>
                <a:latin typeface="+mn-lt"/>
                <a:ea typeface="+mn-ea"/>
                <a:cs typeface="+mn-cs"/>
              </a:rPr>
              <a:t/>
            </a:r>
            <a:br>
              <a:rPr lang="en-GB" altLang="zh-CN" sz="1600" b="0" dirty="0">
                <a:solidFill>
                  <a:schemeClr val="tx1">
                    <a:lumMod val="75000"/>
                    <a:lumOff val="25000"/>
                  </a:schemeClr>
                </a:solidFill>
                <a:latin typeface="+mn-lt"/>
                <a:ea typeface="+mn-ea"/>
                <a:cs typeface="+mn-cs"/>
              </a:rPr>
            </a:br>
            <a:r>
              <a:rPr lang="ja-JP" altLang="en-US" sz="1600" b="0" dirty="0" smtClean="0">
                <a:solidFill>
                  <a:schemeClr val="tx1">
                    <a:lumMod val="75000"/>
                    <a:lumOff val="25000"/>
                  </a:schemeClr>
                </a:solidFill>
                <a:latin typeface="+mn-lt"/>
                <a:ea typeface="+mn-ea"/>
                <a:cs typeface="+mn-cs"/>
              </a:rPr>
              <a:t>セクターを</a:t>
            </a:r>
            <a:r>
              <a:rPr lang="ja-JP" altLang="en-US" sz="1600" b="0" dirty="0">
                <a:solidFill>
                  <a:schemeClr val="tx1">
                    <a:lumMod val="75000"/>
                    <a:lumOff val="25000"/>
                  </a:schemeClr>
                </a:solidFill>
                <a:latin typeface="+mn-lt"/>
                <a:ea typeface="+mn-ea"/>
                <a:cs typeface="+mn-cs"/>
              </a:rPr>
              <a:t>含むすべてのアクティブな</a:t>
            </a:r>
            <a:r>
              <a:rPr lang="ja-JP" altLang="en-US" sz="1600" b="0" dirty="0" smtClean="0">
                <a:solidFill>
                  <a:schemeClr val="tx1">
                    <a:lumMod val="75000"/>
                    <a:lumOff val="25000"/>
                  </a:schemeClr>
                </a:solidFill>
                <a:latin typeface="+mn-lt"/>
                <a:ea typeface="+mn-ea"/>
                <a:cs typeface="+mn-cs"/>
              </a:rPr>
              <a:t>リスクファクターエクスポージャー</a:t>
            </a:r>
            <a:r>
              <a:rPr lang="ja-JP" altLang="en-US" sz="1600" b="0" dirty="0">
                <a:solidFill>
                  <a:schemeClr val="tx1">
                    <a:lumMod val="75000"/>
                    <a:lumOff val="25000"/>
                  </a:schemeClr>
                </a:solidFill>
                <a:latin typeface="+mn-lt"/>
                <a:ea typeface="+mn-ea"/>
                <a:cs typeface="+mn-cs"/>
              </a:rPr>
              <a:t>がゼロに設定されているため</a:t>
            </a:r>
            <a:r>
              <a:rPr lang="ja-JP" altLang="en-US" sz="1600" b="0" dirty="0" smtClean="0">
                <a:solidFill>
                  <a:schemeClr val="tx1">
                    <a:lumMod val="75000"/>
                    <a:lumOff val="25000"/>
                  </a:schemeClr>
                </a:solidFill>
                <a:latin typeface="+mn-lt"/>
                <a:ea typeface="+mn-ea"/>
                <a:cs typeface="+mn-cs"/>
              </a:rPr>
              <a:t>、アロケーション効果</a:t>
            </a:r>
            <a:r>
              <a:rPr lang="ja-JP" altLang="en-US" sz="1600" b="0" dirty="0">
                <a:solidFill>
                  <a:schemeClr val="tx1">
                    <a:lumMod val="75000"/>
                    <a:lumOff val="25000"/>
                  </a:schemeClr>
                </a:solidFill>
                <a:latin typeface="+mn-lt"/>
                <a:ea typeface="+mn-ea"/>
                <a:cs typeface="+mn-cs"/>
              </a:rPr>
              <a:t>は比較的小さく、主な効果</a:t>
            </a:r>
            <a:r>
              <a:rPr lang="ja-JP" altLang="en-US" sz="1600" b="0" dirty="0" smtClean="0">
                <a:solidFill>
                  <a:schemeClr val="tx1">
                    <a:lumMod val="75000"/>
                    <a:lumOff val="25000"/>
                  </a:schemeClr>
                </a:solidFill>
                <a:latin typeface="+mn-lt"/>
                <a:ea typeface="+mn-ea"/>
                <a:cs typeface="+mn-cs"/>
              </a:rPr>
              <a:t>はセクター内の個別銘柄選択</a:t>
            </a:r>
            <a:r>
              <a:rPr lang="ja-JP" altLang="en-US" sz="1600" b="0" dirty="0">
                <a:solidFill>
                  <a:schemeClr val="tx1">
                    <a:lumMod val="75000"/>
                    <a:lumOff val="25000"/>
                  </a:schemeClr>
                </a:solidFill>
                <a:latin typeface="+mn-lt"/>
                <a:ea typeface="+mn-ea"/>
                <a:cs typeface="+mn-cs"/>
              </a:rPr>
              <a:t>効果</a:t>
            </a:r>
            <a:r>
              <a:rPr lang="ja-JP" altLang="en-US" sz="1600" b="0" dirty="0" smtClean="0">
                <a:solidFill>
                  <a:schemeClr val="tx1">
                    <a:lumMod val="75000"/>
                    <a:lumOff val="25000"/>
                  </a:schemeClr>
                </a:solidFill>
                <a:latin typeface="+mn-lt"/>
                <a:ea typeface="+mn-ea"/>
                <a:cs typeface="+mn-cs"/>
              </a:rPr>
              <a:t>である。</a:t>
            </a:r>
            <a:endParaRPr lang="en-GB" sz="1600" b="0" dirty="0">
              <a:solidFill>
                <a:schemeClr val="tx1">
                  <a:lumMod val="75000"/>
                  <a:lumOff val="25000"/>
                </a:schemeClr>
              </a:solidFill>
              <a:latin typeface="+mn-lt"/>
              <a:ea typeface="+mn-ea"/>
              <a:cs typeface="+mn-cs"/>
            </a:endParaRPr>
          </a:p>
        </p:txBody>
      </p:sp>
      <p:pic>
        <p:nvPicPr>
          <p:cNvPr id="3078"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8125" y="152400"/>
            <a:ext cx="3848100" cy="2971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9"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600" y="3171825"/>
            <a:ext cx="3848100" cy="2971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81" name="Picture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52925" y="3181350"/>
            <a:ext cx="3848100" cy="2971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552450" y="6115050"/>
            <a:ext cx="6286500" cy="338554"/>
          </a:xfrm>
          <a:prstGeom prst="rect">
            <a:avLst/>
          </a:prstGeom>
          <a:noFill/>
        </p:spPr>
        <p:txBody>
          <a:bodyPr wrap="square" rtlCol="0">
            <a:spAutoFit/>
          </a:bodyPr>
          <a:lstStyle/>
          <a:p>
            <a:r>
              <a:rPr lang="en-GB" sz="800" dirty="0" smtClean="0"/>
              <a:t>Data: 3/19/2012- 6/28/2019</a:t>
            </a:r>
            <a:r>
              <a:rPr lang="ja-JP" altLang="en-US" sz="800" dirty="0" err="1"/>
              <a:t>、</a:t>
            </a:r>
            <a:r>
              <a:rPr lang="ja-JP" altLang="en-US" sz="800" dirty="0"/>
              <a:t>パフォーマンスは仮説に基づいたバックテスト結果。巻末の注意事項も参照のこと。</a:t>
            </a:r>
            <a:endParaRPr lang="en-GB" sz="800" dirty="0" smtClean="0"/>
          </a:p>
          <a:p>
            <a:r>
              <a:rPr lang="en-GB" sz="800" dirty="0" smtClean="0"/>
              <a:t>Source: FTSE Russell, </a:t>
            </a:r>
            <a:r>
              <a:rPr lang="en-GB" sz="800" dirty="0" err="1" smtClean="0"/>
              <a:t>Factset</a:t>
            </a:r>
            <a:endParaRPr lang="en-GB" sz="800" dirty="0"/>
          </a:p>
        </p:txBody>
      </p:sp>
    </p:spTree>
    <p:extLst>
      <p:ext uri="{BB962C8B-B14F-4D97-AF65-F5344CB8AC3E}">
        <p14:creationId xmlns:p14="http://schemas.microsoft.com/office/powerpoint/2010/main" val="363895595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ortant information</a:t>
            </a:r>
          </a:p>
        </p:txBody>
      </p:sp>
      <p:sp>
        <p:nvSpPr>
          <p:cNvPr id="5" name="Text Placeholder 4"/>
          <p:cNvSpPr>
            <a:spLocks noGrp="1"/>
          </p:cNvSpPr>
          <p:nvPr>
            <p:ph type="body" sz="quarter" idx="12"/>
          </p:nvPr>
        </p:nvSpPr>
        <p:spPr>
          <a:xfrm>
            <a:off x="457200" y="1384343"/>
            <a:ext cx="8229600" cy="1477328"/>
          </a:xfrm>
        </p:spPr>
        <p:txBody>
          <a:bodyPr>
            <a:spAutoFit/>
          </a:bodyPr>
          <a:lstStyle/>
          <a:p>
            <a:pPr marL="0" lvl="1" indent="0">
              <a:lnSpc>
                <a:spcPct val="100000"/>
              </a:lnSpc>
              <a:spcAft>
                <a:spcPts val="1200"/>
              </a:spcAft>
              <a:buNone/>
            </a:pPr>
            <a:r>
              <a:rPr lang="en-US" sz="1600" dirty="0"/>
              <a:t>FTSE Russell is not an investment firm and this presentation is not advice about </a:t>
            </a:r>
            <a:r>
              <a:rPr lang="en-US" sz="1600" dirty="0" smtClean="0"/>
              <a:t>any investment </a:t>
            </a:r>
            <a:r>
              <a:rPr lang="en-US" sz="1600" dirty="0"/>
              <a:t>activity</a:t>
            </a:r>
            <a:r>
              <a:rPr lang="en-US" sz="1600" dirty="0" smtClean="0"/>
              <a:t>. None </a:t>
            </a:r>
            <a:r>
              <a:rPr lang="en-US" sz="1600" dirty="0"/>
              <a:t>of the information in this presentation or reference to a </a:t>
            </a:r>
            <a:r>
              <a:rPr lang="en-US" sz="1600" dirty="0" smtClean="0"/>
              <a:t>FTSE Russell </a:t>
            </a:r>
            <a:r>
              <a:rPr lang="en-US" sz="1600" dirty="0"/>
              <a:t>index constitutes an offer to buy or sell, or a promotion of, a security. </a:t>
            </a:r>
            <a:r>
              <a:rPr lang="en-US" sz="1600" dirty="0" smtClean="0"/>
              <a:t>This presentation </a:t>
            </a:r>
            <a:r>
              <a:rPr lang="en-US" sz="1600" dirty="0"/>
              <a:t>is solely for informational purposes. Accordingly, nothing contained in </a:t>
            </a:r>
            <a:r>
              <a:rPr lang="en-US" sz="1600" dirty="0" smtClean="0"/>
              <a:t>this presentation </a:t>
            </a:r>
            <a:r>
              <a:rPr lang="en-US" sz="1600" dirty="0"/>
              <a:t>is intended to constitute legal, tax, securities, or investment advice, nor </a:t>
            </a:r>
            <a:r>
              <a:rPr lang="en-US" sz="1600" dirty="0" smtClean="0"/>
              <a:t>an opinion </a:t>
            </a:r>
            <a:r>
              <a:rPr lang="en-US" sz="1600" dirty="0"/>
              <a:t>regarding the appropriateness of making any investment through our indexes</a:t>
            </a:r>
            <a:r>
              <a:rPr lang="en-US" sz="1600" dirty="0" smtClean="0"/>
              <a:t>.</a:t>
            </a:r>
          </a:p>
        </p:txBody>
      </p:sp>
    </p:spTree>
    <p:extLst>
      <p:ext uri="{BB962C8B-B14F-4D97-AF65-F5344CB8AC3E}">
        <p14:creationId xmlns:p14="http://schemas.microsoft.com/office/powerpoint/2010/main" val="318606968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419100"/>
            <a:ext cx="8229600" cy="1123949"/>
          </a:xfrm>
        </p:spPr>
        <p:txBody>
          <a:bodyPr/>
          <a:lstStyle/>
          <a:p>
            <a:r>
              <a:rPr lang="en-US" altLang="ja-JP" dirty="0" smtClean="0"/>
              <a:t>3.1.8 </a:t>
            </a:r>
            <a:r>
              <a:rPr lang="ja-JP" altLang="en-US" dirty="0" smtClean="0"/>
              <a:t>意図せざるエクスポージャ：化石燃料埋蔵量</a:t>
            </a:r>
            <a:r>
              <a:rPr lang="en-GB" dirty="0" smtClean="0"/>
              <a:t/>
            </a:r>
            <a:br>
              <a:rPr lang="en-GB" dirty="0" smtClean="0"/>
            </a:br>
            <a:r>
              <a:rPr lang="ja-JP" altLang="en-US" b="0" dirty="0" smtClean="0"/>
              <a:t>化石燃料埋蔵量と炭素集約度の相関は好ましい方向</a:t>
            </a:r>
            <a:endParaRPr lang="en-GB" b="0" dirty="0"/>
          </a:p>
        </p:txBody>
      </p:sp>
      <p:sp>
        <p:nvSpPr>
          <p:cNvPr id="9" name="Content Placeholder 8"/>
          <p:cNvSpPr>
            <a:spLocks noGrp="1"/>
          </p:cNvSpPr>
          <p:nvPr>
            <p:ph sz="half" idx="2"/>
          </p:nvPr>
        </p:nvSpPr>
        <p:spPr>
          <a:xfrm>
            <a:off x="4800600" y="1643780"/>
            <a:ext cx="3886200" cy="4351338"/>
          </a:xfrm>
        </p:spPr>
        <p:txBody>
          <a:bodyPr/>
          <a:lstStyle/>
          <a:p>
            <a:endParaRPr lang="en-GB" altLang="zh-CN" sz="1800" b="0" dirty="0" smtClean="0">
              <a:solidFill>
                <a:schemeClr val="tx1">
                  <a:lumMod val="75000"/>
                  <a:lumOff val="25000"/>
                </a:schemeClr>
              </a:solidFill>
            </a:endParaRPr>
          </a:p>
          <a:p>
            <a:r>
              <a:rPr lang="ja-JP" altLang="en-US" sz="1800" b="0" dirty="0" smtClean="0">
                <a:solidFill>
                  <a:schemeClr val="tx1">
                    <a:lumMod val="75000"/>
                    <a:lumOff val="25000"/>
                  </a:schemeClr>
                </a:solidFill>
              </a:rPr>
              <a:t>化石燃料埋蔵量（</a:t>
            </a:r>
            <a:r>
              <a:rPr lang="en-US" altLang="ja-JP" sz="1800" b="0" dirty="0">
                <a:solidFill>
                  <a:schemeClr val="tx1">
                    <a:lumMod val="75000"/>
                    <a:lumOff val="25000"/>
                  </a:schemeClr>
                </a:solidFill>
              </a:rPr>
              <a:t>CO2</a:t>
            </a:r>
            <a:r>
              <a:rPr lang="ja-JP" altLang="en-US" sz="1800" b="0" dirty="0">
                <a:solidFill>
                  <a:schemeClr val="tx1">
                    <a:lumMod val="75000"/>
                    <a:lumOff val="25000"/>
                  </a:schemeClr>
                </a:solidFill>
              </a:rPr>
              <a:t>換算重量</a:t>
            </a:r>
            <a:r>
              <a:rPr lang="en-US" altLang="ja-JP" sz="1800" b="0" dirty="0">
                <a:solidFill>
                  <a:schemeClr val="tx1">
                    <a:lumMod val="75000"/>
                    <a:lumOff val="25000"/>
                  </a:schemeClr>
                </a:solidFill>
              </a:rPr>
              <a:t>[</a:t>
            </a:r>
            <a:r>
              <a:rPr lang="ja-JP" altLang="en-US" sz="1800" b="0" dirty="0">
                <a:solidFill>
                  <a:schemeClr val="tx1">
                    <a:lumMod val="75000"/>
                    <a:lumOff val="25000"/>
                  </a:schemeClr>
                </a:solidFill>
              </a:rPr>
              <a:t>トン</a:t>
            </a:r>
            <a:r>
              <a:rPr lang="en-US" altLang="ja-JP" sz="1800" b="0" dirty="0">
                <a:solidFill>
                  <a:schemeClr val="tx1">
                    <a:lumMod val="75000"/>
                    <a:lumOff val="25000"/>
                  </a:schemeClr>
                </a:solidFill>
              </a:rPr>
              <a:t>] / </a:t>
            </a:r>
            <a:r>
              <a:rPr lang="ja-JP" altLang="en-US" sz="1800" b="0" dirty="0">
                <a:solidFill>
                  <a:schemeClr val="tx1">
                    <a:lumMod val="75000"/>
                    <a:lumOff val="25000"/>
                  </a:schemeClr>
                </a:solidFill>
              </a:rPr>
              <a:t>時価</a:t>
            </a:r>
            <a:r>
              <a:rPr lang="ja-JP" altLang="en-US" sz="1800" b="0" dirty="0" smtClean="0">
                <a:solidFill>
                  <a:schemeClr val="tx1">
                    <a:lumMod val="75000"/>
                    <a:lumOff val="25000"/>
                  </a:schemeClr>
                </a:solidFill>
              </a:rPr>
              <a:t>総額</a:t>
            </a:r>
            <a:r>
              <a:rPr lang="en-US" altLang="ja-JP" sz="1800" b="0" dirty="0" smtClean="0">
                <a:solidFill>
                  <a:schemeClr val="tx1">
                    <a:lumMod val="75000"/>
                    <a:lumOff val="25000"/>
                  </a:schemeClr>
                </a:solidFill>
              </a:rPr>
              <a:t>[</a:t>
            </a:r>
            <a:r>
              <a:rPr lang="ja-JP" altLang="en-US" sz="1800" b="0" dirty="0">
                <a:solidFill>
                  <a:schemeClr val="tx1">
                    <a:lumMod val="75000"/>
                    <a:lumOff val="25000"/>
                  </a:schemeClr>
                </a:solidFill>
              </a:rPr>
              <a:t>百万ドル</a:t>
            </a:r>
            <a:r>
              <a:rPr lang="en-US" altLang="ja-JP" sz="1800" b="0" dirty="0" smtClean="0">
                <a:solidFill>
                  <a:schemeClr val="tx1">
                    <a:lumMod val="75000"/>
                    <a:lumOff val="25000"/>
                  </a:schemeClr>
                </a:solidFill>
              </a:rPr>
              <a:t>] </a:t>
            </a:r>
            <a:r>
              <a:rPr lang="ja-JP" altLang="en-US" sz="1800" b="0" dirty="0" smtClean="0">
                <a:solidFill>
                  <a:schemeClr val="tx1">
                    <a:lumMod val="75000"/>
                    <a:lumOff val="25000"/>
                  </a:schemeClr>
                </a:solidFill>
              </a:rPr>
              <a:t>）</a:t>
            </a:r>
            <a:r>
              <a:rPr lang="ja-JP" altLang="en-US" sz="1800" b="0" dirty="0">
                <a:solidFill>
                  <a:schemeClr val="tx1">
                    <a:lumMod val="75000"/>
                    <a:lumOff val="25000"/>
                  </a:schemeClr>
                </a:solidFill>
              </a:rPr>
              <a:t>が高い</a:t>
            </a:r>
            <a:r>
              <a:rPr lang="ja-JP" altLang="en-US" sz="1800" b="0" dirty="0" smtClean="0">
                <a:solidFill>
                  <a:schemeClr val="tx1">
                    <a:lumMod val="75000"/>
                    <a:lumOff val="25000"/>
                  </a:schemeClr>
                </a:solidFill>
              </a:rPr>
              <a:t>企業は、</a:t>
            </a:r>
            <a:r>
              <a:rPr lang="ja-JP" altLang="en-US" sz="1800" b="0" dirty="0">
                <a:solidFill>
                  <a:schemeClr val="tx1">
                    <a:lumMod val="75000"/>
                    <a:lumOff val="25000"/>
                  </a:schemeClr>
                </a:solidFill>
              </a:rPr>
              <a:t>より</a:t>
            </a:r>
            <a:r>
              <a:rPr lang="ja-JP" altLang="en-US" sz="1800" b="0" dirty="0" smtClean="0">
                <a:solidFill>
                  <a:schemeClr val="tx1">
                    <a:lumMod val="75000"/>
                    <a:lumOff val="25000"/>
                  </a:schemeClr>
                </a:solidFill>
              </a:rPr>
              <a:t>高い炭素集約度を</a:t>
            </a:r>
            <a:r>
              <a:rPr lang="ja-JP" altLang="en-US" sz="1800" b="0" dirty="0">
                <a:solidFill>
                  <a:schemeClr val="tx1">
                    <a:lumMod val="75000"/>
                    <a:lumOff val="25000"/>
                  </a:schemeClr>
                </a:solidFill>
              </a:rPr>
              <a:t>示して</a:t>
            </a:r>
            <a:r>
              <a:rPr lang="ja-JP" altLang="en-US" sz="1800" b="0" dirty="0" smtClean="0">
                <a:solidFill>
                  <a:schemeClr val="tx1">
                    <a:lumMod val="75000"/>
                    <a:lumOff val="25000"/>
                  </a:schemeClr>
                </a:solidFill>
              </a:rPr>
              <a:t>いる</a:t>
            </a:r>
            <a:endParaRPr lang="en-GB" altLang="zh-CN" sz="1800" b="0" dirty="0" smtClean="0">
              <a:solidFill>
                <a:schemeClr val="tx1">
                  <a:lumMod val="75000"/>
                  <a:lumOff val="25000"/>
                </a:schemeClr>
              </a:solidFill>
            </a:endParaRPr>
          </a:p>
          <a:p>
            <a:r>
              <a:rPr lang="ja-JP" altLang="en-US" sz="1800" b="0" dirty="0" smtClean="0">
                <a:solidFill>
                  <a:schemeClr val="tx1">
                    <a:lumMod val="75000"/>
                    <a:lumOff val="25000"/>
                  </a:schemeClr>
                </a:solidFill>
              </a:rPr>
              <a:t>すなわち、炭素集約度と</a:t>
            </a:r>
            <a:r>
              <a:rPr lang="ja-JP" altLang="en-US" sz="1800" b="0" dirty="0">
                <a:solidFill>
                  <a:schemeClr val="tx1">
                    <a:lumMod val="75000"/>
                    <a:lumOff val="25000"/>
                  </a:schemeClr>
                </a:solidFill>
              </a:rPr>
              <a:t>化石</a:t>
            </a:r>
            <a:r>
              <a:rPr lang="ja-JP" altLang="en-US" sz="1800" b="0" dirty="0" smtClean="0">
                <a:solidFill>
                  <a:schemeClr val="tx1">
                    <a:lumMod val="75000"/>
                    <a:lumOff val="25000"/>
                  </a:schemeClr>
                </a:solidFill>
              </a:rPr>
              <a:t>燃料埋蔵量</a:t>
            </a:r>
            <a:r>
              <a:rPr lang="ja-JP" altLang="en-US" sz="1800" b="0" dirty="0">
                <a:solidFill>
                  <a:schemeClr val="tx1">
                    <a:lumMod val="75000"/>
                    <a:lumOff val="25000"/>
                  </a:schemeClr>
                </a:solidFill>
              </a:rPr>
              <a:t>の間</a:t>
            </a:r>
            <a:r>
              <a:rPr lang="ja-JP" altLang="en-US" sz="1800" b="0" dirty="0" smtClean="0">
                <a:solidFill>
                  <a:schemeClr val="tx1">
                    <a:lumMod val="75000"/>
                    <a:lumOff val="25000"/>
                  </a:schemeClr>
                </a:solidFill>
              </a:rPr>
              <a:t>の正</a:t>
            </a:r>
            <a:r>
              <a:rPr lang="ja-JP" altLang="en-US" sz="1800" b="0" dirty="0">
                <a:solidFill>
                  <a:schemeClr val="tx1">
                    <a:lumMod val="75000"/>
                    <a:lumOff val="25000"/>
                  </a:schemeClr>
                </a:solidFill>
              </a:rPr>
              <a:t>の相関</a:t>
            </a:r>
            <a:r>
              <a:rPr lang="ja-JP" altLang="en-US" sz="1800" b="0" dirty="0" smtClean="0">
                <a:solidFill>
                  <a:schemeClr val="tx1">
                    <a:lumMod val="75000"/>
                    <a:lumOff val="25000"/>
                  </a:schemeClr>
                </a:solidFill>
              </a:rPr>
              <a:t>関係がある</a:t>
            </a:r>
            <a:endParaRPr lang="en-GB" sz="1800" b="0" dirty="0" smtClean="0">
              <a:solidFill>
                <a:schemeClr val="tx1">
                  <a:lumMod val="75000"/>
                  <a:lumOff val="25000"/>
                </a:schemeClr>
              </a:solidFill>
            </a:endParaRPr>
          </a:p>
          <a:p>
            <a:r>
              <a:rPr lang="ja-JP" altLang="en-US" sz="1800" b="0" u="sng" dirty="0" smtClean="0">
                <a:solidFill>
                  <a:schemeClr val="tx1">
                    <a:lumMod val="75000"/>
                    <a:lumOff val="25000"/>
                  </a:schemeClr>
                </a:solidFill>
              </a:rPr>
              <a:t>炭素集約度の</a:t>
            </a:r>
            <a:r>
              <a:rPr lang="ja-JP" altLang="en-US" sz="1800" b="0" u="sng" dirty="0">
                <a:solidFill>
                  <a:schemeClr val="tx1">
                    <a:lumMod val="75000"/>
                    <a:lumOff val="25000"/>
                  </a:schemeClr>
                </a:solidFill>
              </a:rPr>
              <a:t>減少は、暗黙のうちに化石</a:t>
            </a:r>
            <a:r>
              <a:rPr lang="ja-JP" altLang="en-US" sz="1800" b="0" u="sng" dirty="0" smtClean="0">
                <a:solidFill>
                  <a:schemeClr val="tx1">
                    <a:lumMod val="75000"/>
                    <a:lumOff val="25000"/>
                  </a:schemeClr>
                </a:solidFill>
              </a:rPr>
              <a:t>燃料埋蔵量</a:t>
            </a:r>
            <a:r>
              <a:rPr lang="ja-JP" altLang="en-US" sz="1800" b="0" u="sng" dirty="0">
                <a:solidFill>
                  <a:schemeClr val="tx1">
                    <a:lumMod val="75000"/>
                    <a:lumOff val="25000"/>
                  </a:schemeClr>
                </a:solidFill>
              </a:rPr>
              <a:t>へ</a:t>
            </a:r>
            <a:r>
              <a:rPr lang="ja-JP" altLang="en-US" sz="1800" b="0" u="sng" dirty="0" smtClean="0">
                <a:solidFill>
                  <a:schemeClr val="tx1">
                    <a:lumMod val="75000"/>
                    <a:lumOff val="25000"/>
                  </a:schemeClr>
                </a:solidFill>
              </a:rPr>
              <a:t>のエクスポージャの</a:t>
            </a:r>
            <a:r>
              <a:rPr lang="ja-JP" altLang="en-US" sz="1800" b="0" u="sng" dirty="0">
                <a:solidFill>
                  <a:schemeClr val="tx1">
                    <a:lumMod val="75000"/>
                    <a:lumOff val="25000"/>
                  </a:schemeClr>
                </a:solidFill>
              </a:rPr>
              <a:t>減少を</a:t>
            </a:r>
            <a:r>
              <a:rPr lang="ja-JP" altLang="en-US" sz="1800" b="0" u="sng" dirty="0" smtClean="0">
                <a:solidFill>
                  <a:schemeClr val="tx1">
                    <a:lumMod val="75000"/>
                    <a:lumOff val="25000"/>
                  </a:schemeClr>
                </a:solidFill>
              </a:rPr>
              <a:t>もたらす</a:t>
            </a:r>
            <a:endParaRPr lang="en-GB" sz="1800" b="0" u="sng" dirty="0">
              <a:solidFill>
                <a:schemeClr val="tx1">
                  <a:lumMod val="75000"/>
                  <a:lumOff val="25000"/>
                </a:schemeClr>
              </a:solidFill>
            </a:endParaRPr>
          </a:p>
        </p:txBody>
      </p:sp>
      <p:graphicFrame>
        <p:nvGraphicFramePr>
          <p:cNvPr id="14" name="Content Placeholder 9"/>
          <p:cNvGraphicFramePr>
            <a:graphicFrameLocks noGrp="1"/>
          </p:cNvGraphicFramePr>
          <p:nvPr>
            <p:ph sz="half" idx="1"/>
            <p:extLst>
              <p:ext uri="{D42A27DB-BD31-4B8C-83A1-F6EECF244321}">
                <p14:modId xmlns:p14="http://schemas.microsoft.com/office/powerpoint/2010/main" val="1213938972"/>
              </p:ext>
            </p:extLst>
          </p:nvPr>
        </p:nvGraphicFramePr>
        <p:xfrm>
          <a:off x="457200" y="1524000"/>
          <a:ext cx="3886200" cy="4686300"/>
        </p:xfrm>
        <a:graphic>
          <a:graphicData uri="http://schemas.openxmlformats.org/drawingml/2006/chart">
            <c:chart xmlns:c="http://schemas.openxmlformats.org/drawingml/2006/chart" xmlns:r="http://schemas.openxmlformats.org/officeDocument/2006/relationships" r:id="rId2"/>
          </a:graphicData>
        </a:graphic>
      </p:graphicFrame>
      <p:sp>
        <p:nvSpPr>
          <p:cNvPr id="15" name="TextBox 14"/>
          <p:cNvSpPr txBox="1"/>
          <p:nvPr/>
        </p:nvSpPr>
        <p:spPr>
          <a:xfrm>
            <a:off x="461963" y="6067425"/>
            <a:ext cx="5650302" cy="400110"/>
          </a:xfrm>
          <a:prstGeom prst="rect">
            <a:avLst/>
          </a:prstGeom>
          <a:noFill/>
        </p:spPr>
        <p:txBody>
          <a:bodyPr wrap="square" rtlCol="0">
            <a:spAutoFit/>
          </a:bodyPr>
          <a:lstStyle/>
          <a:p>
            <a:r>
              <a:rPr lang="en-GB" sz="1000" dirty="0" smtClean="0"/>
              <a:t>FTSE Developed </a:t>
            </a:r>
            <a:r>
              <a:rPr lang="en-GB" sz="1000" dirty="0"/>
              <a:t>March 2012 – December </a:t>
            </a:r>
            <a:r>
              <a:rPr lang="en-GB" sz="1000" dirty="0" smtClean="0"/>
              <a:t>2018</a:t>
            </a:r>
          </a:p>
          <a:p>
            <a:r>
              <a:rPr lang="en-GB" sz="1000" dirty="0" smtClean="0"/>
              <a:t>Source: FTSE Russell</a:t>
            </a:r>
            <a:endParaRPr lang="en-GB" sz="1000" dirty="0"/>
          </a:p>
        </p:txBody>
      </p:sp>
    </p:spTree>
    <p:extLst>
      <p:ext uri="{BB962C8B-B14F-4D97-AF65-F5344CB8AC3E}">
        <p14:creationId xmlns:p14="http://schemas.microsoft.com/office/powerpoint/2010/main" val="105472502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419101"/>
            <a:ext cx="8229600" cy="1571624"/>
          </a:xfrm>
        </p:spPr>
        <p:txBody>
          <a:bodyPr/>
          <a:lstStyle/>
          <a:p>
            <a:r>
              <a:rPr lang="en-US" altLang="ja-JP" dirty="0" smtClean="0"/>
              <a:t>3.1.9 </a:t>
            </a:r>
            <a:r>
              <a:rPr lang="ja-JP" altLang="en-US" dirty="0" smtClean="0"/>
              <a:t>意図せざるエクスポージャ：</a:t>
            </a:r>
            <a:r>
              <a:rPr lang="en-US" altLang="ja-JP" dirty="0" smtClean="0"/>
              <a:t>Green Revenue</a:t>
            </a:r>
            <a:r>
              <a:rPr lang="en-GB" dirty="0" smtClean="0"/>
              <a:t/>
            </a:r>
            <a:br>
              <a:rPr lang="en-GB" dirty="0" smtClean="0"/>
            </a:br>
            <a:r>
              <a:rPr lang="ja-JP" altLang="en-US" b="0" dirty="0" smtClean="0"/>
              <a:t>セクター中立アプローチ</a:t>
            </a:r>
            <a:r>
              <a:rPr lang="ja-JP" altLang="en-US" b="0" dirty="0"/>
              <a:t>は</a:t>
            </a:r>
            <a:r>
              <a:rPr lang="ja-JP" altLang="en-US" b="0" dirty="0" smtClean="0"/>
              <a:t>、</a:t>
            </a:r>
            <a:r>
              <a:rPr lang="en-US" altLang="ja-JP" b="0" dirty="0" smtClean="0"/>
              <a:t>Green Revenue</a:t>
            </a:r>
            <a:r>
              <a:rPr lang="ja-JP" altLang="en-US" b="0" dirty="0" smtClean="0"/>
              <a:t>と炭素集約度削減</a:t>
            </a:r>
            <a:r>
              <a:rPr lang="ja-JP" altLang="en-US" b="0" dirty="0"/>
              <a:t>を同時に達成するため</a:t>
            </a:r>
            <a:r>
              <a:rPr lang="ja-JP" altLang="en-US" b="0" dirty="0" smtClean="0"/>
              <a:t>のソリューション</a:t>
            </a:r>
            <a:endParaRPr lang="en-GB" dirty="0"/>
          </a:p>
        </p:txBody>
      </p:sp>
      <p:sp>
        <p:nvSpPr>
          <p:cNvPr id="9" name="Content Placeholder 8"/>
          <p:cNvSpPr>
            <a:spLocks noGrp="1"/>
          </p:cNvSpPr>
          <p:nvPr>
            <p:ph sz="half" idx="2"/>
          </p:nvPr>
        </p:nvSpPr>
        <p:spPr>
          <a:xfrm>
            <a:off x="4781550" y="1824094"/>
            <a:ext cx="3886200" cy="4351338"/>
          </a:xfrm>
        </p:spPr>
        <p:txBody>
          <a:bodyPr/>
          <a:lstStyle/>
          <a:p>
            <a:endParaRPr lang="en-GB" sz="1800" b="0" dirty="0">
              <a:solidFill>
                <a:schemeClr val="tx1">
                  <a:lumMod val="75000"/>
                  <a:lumOff val="25000"/>
                </a:schemeClr>
              </a:solidFill>
            </a:endParaRPr>
          </a:p>
          <a:p>
            <a:r>
              <a:rPr lang="ja-JP" altLang="en-US" sz="1800" b="0" dirty="0" smtClean="0">
                <a:solidFill>
                  <a:schemeClr val="tx1">
                    <a:lumMod val="75000"/>
                    <a:lumOff val="25000"/>
                  </a:schemeClr>
                </a:solidFill>
              </a:rPr>
              <a:t>セクター</a:t>
            </a:r>
            <a:r>
              <a:rPr lang="ja-JP" altLang="en-US" sz="1800" b="0" dirty="0">
                <a:solidFill>
                  <a:schemeClr val="tx1">
                    <a:lumMod val="75000"/>
                    <a:lumOff val="25000"/>
                  </a:schemeClr>
                </a:solidFill>
              </a:rPr>
              <a:t>のエクスポージャーは</a:t>
            </a:r>
            <a:r>
              <a:rPr lang="ja-JP" altLang="en-US" sz="1800" b="0" dirty="0" smtClean="0">
                <a:solidFill>
                  <a:schemeClr val="tx1">
                    <a:lumMod val="75000"/>
                    <a:lumOff val="25000"/>
                  </a:schemeClr>
                </a:solidFill>
              </a:rPr>
              <a:t>、</a:t>
            </a:r>
            <a:r>
              <a:rPr lang="en-US" altLang="ja-JP" sz="1800" b="0" dirty="0" smtClean="0">
                <a:solidFill>
                  <a:schemeClr val="tx1">
                    <a:lumMod val="75000"/>
                    <a:lumOff val="25000"/>
                  </a:schemeClr>
                </a:solidFill>
              </a:rPr>
              <a:t>Green Revenue</a:t>
            </a:r>
            <a:r>
              <a:rPr lang="ja-JP" altLang="en-US" sz="1800" b="0" dirty="0" smtClean="0">
                <a:solidFill>
                  <a:schemeClr val="tx1">
                    <a:lumMod val="75000"/>
                    <a:lumOff val="25000"/>
                  </a:schemeClr>
                </a:solidFill>
              </a:rPr>
              <a:t>と炭素集約度の関係に悪影響を与えている</a:t>
            </a:r>
            <a:r>
              <a:rPr lang="ja-JP" altLang="en-US" sz="1800" b="0" dirty="0">
                <a:solidFill>
                  <a:schemeClr val="tx1">
                    <a:lumMod val="75000"/>
                    <a:lumOff val="25000"/>
                  </a:schemeClr>
                </a:solidFill>
              </a:rPr>
              <a:t>（灰色）</a:t>
            </a:r>
            <a:endParaRPr lang="en-GB" sz="1800" b="0" dirty="0" smtClean="0">
              <a:solidFill>
                <a:schemeClr val="tx1">
                  <a:lumMod val="75000"/>
                  <a:lumOff val="25000"/>
                </a:schemeClr>
              </a:solidFill>
            </a:endParaRPr>
          </a:p>
          <a:p>
            <a:r>
              <a:rPr lang="ja-JP" altLang="en-US" sz="1800" b="0" dirty="0" smtClean="0">
                <a:solidFill>
                  <a:schemeClr val="tx1">
                    <a:lumMod val="75000"/>
                    <a:lumOff val="25000"/>
                  </a:schemeClr>
                </a:solidFill>
              </a:rPr>
              <a:t>セクター、</a:t>
            </a:r>
            <a:r>
              <a:rPr lang="ja-JP" altLang="en-US" sz="1800" b="0" dirty="0">
                <a:solidFill>
                  <a:schemeClr val="tx1">
                    <a:lumMod val="75000"/>
                    <a:lumOff val="25000"/>
                  </a:schemeClr>
                </a:solidFill>
              </a:rPr>
              <a:t>国、スタイル</a:t>
            </a:r>
            <a:r>
              <a:rPr lang="ja-JP" altLang="en-US" sz="1800" b="0" dirty="0" smtClean="0">
                <a:solidFill>
                  <a:schemeClr val="tx1">
                    <a:lumMod val="75000"/>
                    <a:lumOff val="25000"/>
                  </a:schemeClr>
                </a:solidFill>
              </a:rPr>
              <a:t>のエクスポージャをコントロールすると、</a:t>
            </a:r>
            <a:r>
              <a:rPr lang="ja-JP" altLang="en-US" sz="1800" b="0" u="sng" dirty="0" smtClean="0">
                <a:solidFill>
                  <a:schemeClr val="tx1">
                    <a:lumMod val="75000"/>
                    <a:lumOff val="25000"/>
                  </a:schemeClr>
                </a:solidFill>
              </a:rPr>
              <a:t>炭素集約度の低減は</a:t>
            </a:r>
            <a:r>
              <a:rPr lang="ja-JP" altLang="en-US" sz="1800" b="0" u="sng" dirty="0">
                <a:solidFill>
                  <a:schemeClr val="tx1">
                    <a:lumMod val="75000"/>
                    <a:lumOff val="25000"/>
                  </a:schemeClr>
                </a:solidFill>
              </a:rPr>
              <a:t>、暗黙のうちに、より</a:t>
            </a:r>
            <a:r>
              <a:rPr lang="ja-JP" altLang="en-US" sz="1800" b="0" u="sng" dirty="0" smtClean="0">
                <a:solidFill>
                  <a:schemeClr val="tx1">
                    <a:lumMod val="75000"/>
                    <a:lumOff val="25000"/>
                  </a:schemeClr>
                </a:solidFill>
              </a:rPr>
              <a:t>高い</a:t>
            </a:r>
            <a:r>
              <a:rPr lang="en-US" altLang="ja-JP" sz="1800" b="0" u="sng" dirty="0" smtClean="0">
                <a:solidFill>
                  <a:schemeClr val="tx1">
                    <a:lumMod val="75000"/>
                    <a:lumOff val="25000"/>
                  </a:schemeClr>
                </a:solidFill>
              </a:rPr>
              <a:t>Green Revenue</a:t>
            </a:r>
            <a:r>
              <a:rPr lang="ja-JP" altLang="en-US" sz="1800" b="0" u="sng" dirty="0" smtClean="0">
                <a:solidFill>
                  <a:schemeClr val="tx1">
                    <a:lumMod val="75000"/>
                    <a:lumOff val="25000"/>
                  </a:schemeClr>
                </a:solidFill>
              </a:rPr>
              <a:t>エクスポージャー</a:t>
            </a:r>
            <a:r>
              <a:rPr lang="ja-JP" altLang="en-US" sz="1800" b="0" u="sng" dirty="0">
                <a:solidFill>
                  <a:schemeClr val="tx1">
                    <a:lumMod val="75000"/>
                    <a:lumOff val="25000"/>
                  </a:schemeClr>
                </a:solidFill>
              </a:rPr>
              <a:t>を</a:t>
            </a:r>
            <a:r>
              <a:rPr lang="ja-JP" altLang="en-US" sz="1800" b="0" u="sng" dirty="0" smtClean="0">
                <a:solidFill>
                  <a:schemeClr val="tx1">
                    <a:lumMod val="75000"/>
                    <a:lumOff val="25000"/>
                  </a:schemeClr>
                </a:solidFill>
              </a:rPr>
              <a:t>もたらす</a:t>
            </a:r>
            <a:r>
              <a:rPr lang="ja-JP" altLang="en-US" sz="1800" b="0" dirty="0" smtClean="0">
                <a:solidFill>
                  <a:schemeClr val="tx1">
                    <a:lumMod val="75000"/>
                    <a:lumOff val="25000"/>
                  </a:schemeClr>
                </a:solidFill>
              </a:rPr>
              <a:t>（赤色）</a:t>
            </a:r>
            <a:endParaRPr lang="en-GB" sz="1800" b="0" dirty="0">
              <a:solidFill>
                <a:schemeClr val="tx1">
                  <a:lumMod val="75000"/>
                  <a:lumOff val="25000"/>
                </a:schemeClr>
              </a:solidFill>
            </a:endParaRPr>
          </a:p>
        </p:txBody>
      </p:sp>
      <p:graphicFrame>
        <p:nvGraphicFramePr>
          <p:cNvPr id="6" name="Content Placeholder 5"/>
          <p:cNvGraphicFramePr>
            <a:graphicFrameLocks noGrp="1"/>
          </p:cNvGraphicFramePr>
          <p:nvPr>
            <p:ph sz="half" idx="1"/>
            <p:extLst>
              <p:ext uri="{D42A27DB-BD31-4B8C-83A1-F6EECF244321}">
                <p14:modId xmlns:p14="http://schemas.microsoft.com/office/powerpoint/2010/main" val="1312452087"/>
              </p:ext>
            </p:extLst>
          </p:nvPr>
        </p:nvGraphicFramePr>
        <p:xfrm>
          <a:off x="366713" y="1428750"/>
          <a:ext cx="4114800" cy="4686300"/>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p:cNvSpPr txBox="1"/>
          <p:nvPr/>
        </p:nvSpPr>
        <p:spPr>
          <a:xfrm>
            <a:off x="366713" y="6019800"/>
            <a:ext cx="5650302" cy="400110"/>
          </a:xfrm>
          <a:prstGeom prst="rect">
            <a:avLst/>
          </a:prstGeom>
          <a:noFill/>
        </p:spPr>
        <p:txBody>
          <a:bodyPr wrap="square" rtlCol="0">
            <a:spAutoFit/>
          </a:bodyPr>
          <a:lstStyle/>
          <a:p>
            <a:r>
              <a:rPr lang="en-GB" sz="1000" dirty="0" smtClean="0"/>
              <a:t>FTSE Developed </a:t>
            </a:r>
            <a:r>
              <a:rPr lang="en-GB" sz="1000" dirty="0"/>
              <a:t>March 2012 – December </a:t>
            </a:r>
            <a:r>
              <a:rPr lang="en-GB" sz="1000" dirty="0" smtClean="0"/>
              <a:t>2018</a:t>
            </a:r>
          </a:p>
          <a:p>
            <a:r>
              <a:rPr lang="en-GB" sz="1000" dirty="0" smtClean="0"/>
              <a:t>Source: FTSE Russell</a:t>
            </a:r>
            <a:endParaRPr lang="en-GB" sz="1000" dirty="0"/>
          </a:p>
        </p:txBody>
      </p:sp>
    </p:spTree>
    <p:extLst>
      <p:ext uri="{BB962C8B-B14F-4D97-AF65-F5344CB8AC3E}">
        <p14:creationId xmlns:p14="http://schemas.microsoft.com/office/powerpoint/2010/main" val="380939043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419101"/>
            <a:ext cx="8229600" cy="381000"/>
          </a:xfrm>
        </p:spPr>
        <p:txBody>
          <a:bodyPr/>
          <a:lstStyle/>
          <a:p>
            <a:r>
              <a:rPr lang="en-US" dirty="0"/>
              <a:t>3</a:t>
            </a:r>
            <a:r>
              <a:rPr lang="en-US" dirty="0" smtClean="0"/>
              <a:t>.2 </a:t>
            </a:r>
            <a:r>
              <a:rPr lang="ja-JP" altLang="en-US" dirty="0"/>
              <a:t>基本</a:t>
            </a:r>
            <a:r>
              <a:rPr lang="ja-JP" altLang="en-US" dirty="0" smtClean="0"/>
              <a:t>アイデア：‘純粋な’</a:t>
            </a:r>
            <a:r>
              <a:rPr lang="en-US" dirty="0" smtClean="0"/>
              <a:t>ESG </a:t>
            </a:r>
            <a:r>
              <a:rPr lang="ja-JP" altLang="en-US" dirty="0" smtClean="0"/>
              <a:t>インデックス</a:t>
            </a:r>
            <a:endParaRPr lang="en-GB" dirty="0"/>
          </a:p>
        </p:txBody>
      </p:sp>
      <p:sp>
        <p:nvSpPr>
          <p:cNvPr id="5" name="TextBox 4"/>
          <p:cNvSpPr txBox="1"/>
          <p:nvPr/>
        </p:nvSpPr>
        <p:spPr>
          <a:xfrm>
            <a:off x="466725" y="800100"/>
            <a:ext cx="8220075" cy="1815882"/>
          </a:xfrm>
          <a:prstGeom prst="rect">
            <a:avLst/>
          </a:prstGeom>
          <a:noFill/>
        </p:spPr>
        <p:txBody>
          <a:bodyPr wrap="square" rtlCol="0">
            <a:spAutoFit/>
          </a:bodyPr>
          <a:lstStyle/>
          <a:p>
            <a:pPr marL="285750" indent="-285750">
              <a:buFont typeface="Arial" panose="020B0604020202020204" pitchFamily="34" charset="0"/>
              <a:buChar char="•"/>
            </a:pPr>
            <a:r>
              <a:rPr lang="ja-JP" altLang="en-US" sz="1400" dirty="0" smtClean="0"/>
              <a:t>「</a:t>
            </a:r>
            <a:r>
              <a:rPr lang="ja-JP" altLang="en-US" sz="1400" dirty="0"/>
              <a:t>純粋な」</a:t>
            </a:r>
            <a:r>
              <a:rPr lang="en-US" altLang="ja-JP" sz="1400" dirty="0"/>
              <a:t>ESG</a:t>
            </a:r>
            <a:r>
              <a:rPr lang="ja-JP" altLang="en-US" sz="1400" dirty="0"/>
              <a:t>ポートフォリオは</a:t>
            </a:r>
            <a:r>
              <a:rPr lang="ja-JP" altLang="en-US" sz="1400" dirty="0" smtClean="0"/>
              <a:t>、</a:t>
            </a:r>
            <a:r>
              <a:rPr lang="en-US" altLang="ja-JP" sz="1400" dirty="0" smtClean="0"/>
              <a:t>Target Carbon Index</a:t>
            </a:r>
            <a:r>
              <a:rPr lang="ja-JP" altLang="en-US" sz="1400" dirty="0" smtClean="0"/>
              <a:t>と</a:t>
            </a:r>
            <a:r>
              <a:rPr lang="ja-JP" altLang="en-US" sz="1400" dirty="0"/>
              <a:t>同じ方法</a:t>
            </a:r>
            <a:r>
              <a:rPr lang="ja-JP" altLang="en-US" sz="1400" dirty="0" smtClean="0"/>
              <a:t>で</a:t>
            </a:r>
            <a:r>
              <a:rPr lang="ja-JP" altLang="en-US" sz="1400" dirty="0"/>
              <a:t>作成</a:t>
            </a:r>
            <a:r>
              <a:rPr lang="ja-JP" altLang="en-US" sz="1400" dirty="0" smtClean="0"/>
              <a:t>可能。すべて</a:t>
            </a:r>
            <a:r>
              <a:rPr lang="ja-JP" altLang="en-US" sz="1400" dirty="0"/>
              <a:t>の</a:t>
            </a:r>
            <a:r>
              <a:rPr lang="ja-JP" altLang="en-US" sz="1400" dirty="0" smtClean="0"/>
              <a:t>アクティブ・リスク・ファクター・エクスポージャー</a:t>
            </a:r>
            <a:r>
              <a:rPr lang="ja-JP" altLang="en-US" sz="1400" dirty="0"/>
              <a:t>をゼロに</a:t>
            </a:r>
            <a:r>
              <a:rPr lang="ja-JP" altLang="en-US" sz="1400" dirty="0" smtClean="0"/>
              <a:t>設定する。</a:t>
            </a:r>
            <a:r>
              <a:rPr lang="en-GB" sz="1400" dirty="0" smtClean="0"/>
              <a:t>  </a:t>
            </a:r>
            <a:endParaRPr lang="en-GB" sz="1400" dirty="0"/>
          </a:p>
          <a:p>
            <a:pPr marL="285750" indent="-285750">
              <a:buFont typeface="Arial" panose="020B0604020202020204" pitchFamily="34" charset="0"/>
              <a:buChar char="•"/>
            </a:pPr>
            <a:r>
              <a:rPr lang="en-US" altLang="ja-JP" sz="1400" dirty="0" smtClean="0"/>
              <a:t>ESG</a:t>
            </a:r>
            <a:r>
              <a:rPr lang="ja-JP" altLang="en-US" sz="1400" dirty="0"/>
              <a:t>のエクスポージャーのレベルを上げると、「純粋な」</a:t>
            </a:r>
            <a:r>
              <a:rPr lang="en-US" altLang="ja-JP" sz="1400" dirty="0"/>
              <a:t>ESG</a:t>
            </a:r>
            <a:r>
              <a:rPr lang="ja-JP" altLang="en-US" sz="1400" dirty="0"/>
              <a:t>ポートフォリオで単調に増加するペイオフが観察</a:t>
            </a:r>
            <a:r>
              <a:rPr lang="ja-JP" altLang="en-US" sz="1400" dirty="0" smtClean="0"/>
              <a:t>される。しかし、単純な</a:t>
            </a:r>
            <a:r>
              <a:rPr lang="en-US" altLang="ja-JP" sz="1400" dirty="0" smtClean="0"/>
              <a:t>ESG</a:t>
            </a:r>
            <a:r>
              <a:rPr lang="ja-JP" altLang="en-US" sz="1400" dirty="0" smtClean="0"/>
              <a:t>ティルトポートフォリオ（</a:t>
            </a:r>
            <a:r>
              <a:rPr lang="en-US" altLang="ja-JP" sz="1400" dirty="0" smtClean="0"/>
              <a:t>no TE control</a:t>
            </a:r>
            <a:r>
              <a:rPr lang="ja-JP" altLang="en-US" sz="1400" dirty="0" smtClean="0"/>
              <a:t>）</a:t>
            </a:r>
            <a:r>
              <a:rPr lang="ja-JP" altLang="en-US" sz="1400" dirty="0"/>
              <a:t>でのペイオフは負</a:t>
            </a:r>
            <a:r>
              <a:rPr lang="ja-JP" altLang="en-US" sz="1400" dirty="0" smtClean="0"/>
              <a:t>にな</a:t>
            </a:r>
            <a:r>
              <a:rPr lang="ja-JP" altLang="en-US" sz="1400" dirty="0"/>
              <a:t>っている</a:t>
            </a:r>
            <a:r>
              <a:rPr lang="ja-JP" altLang="en-US" sz="1400" dirty="0" smtClean="0"/>
              <a:t>。</a:t>
            </a:r>
            <a:endParaRPr lang="en-GB" sz="1400" dirty="0" smtClean="0"/>
          </a:p>
          <a:p>
            <a:pPr marL="285750" indent="-285750">
              <a:buFont typeface="Arial" panose="020B0604020202020204" pitchFamily="34" charset="0"/>
              <a:buChar char="•"/>
            </a:pPr>
            <a:r>
              <a:rPr lang="ja-JP" altLang="en-US" sz="1400" dirty="0" smtClean="0"/>
              <a:t>リスクファクターと</a:t>
            </a:r>
            <a:r>
              <a:rPr lang="ja-JP" altLang="en-US" sz="1400" dirty="0"/>
              <a:t>正の相関関係があるため、業界</a:t>
            </a:r>
            <a:r>
              <a:rPr lang="en-US" altLang="ja-JP" sz="1400" dirty="0"/>
              <a:t>/</a:t>
            </a:r>
            <a:r>
              <a:rPr lang="ja-JP" altLang="en-US" sz="1400" dirty="0"/>
              <a:t>国の要因のみ</a:t>
            </a:r>
            <a:r>
              <a:rPr lang="ja-JP" altLang="en-US" sz="1400" dirty="0" smtClean="0"/>
              <a:t>を制御する（</a:t>
            </a:r>
            <a:r>
              <a:rPr lang="en-GB" sz="1400" dirty="0" smtClean="0"/>
              <a:t> control </a:t>
            </a:r>
            <a:r>
              <a:rPr lang="en-GB" sz="1400" dirty="0"/>
              <a:t>industry/country only</a:t>
            </a:r>
            <a:r>
              <a:rPr lang="en-GB" sz="1400" dirty="0" smtClean="0"/>
              <a:t>’ </a:t>
            </a:r>
            <a:r>
              <a:rPr lang="ja-JP" altLang="en-US" sz="1400" dirty="0" smtClean="0"/>
              <a:t>）</a:t>
            </a:r>
            <a:r>
              <a:rPr lang="ja-JP" altLang="en-US" sz="1400" dirty="0"/>
              <a:t>場合</a:t>
            </a:r>
            <a:r>
              <a:rPr lang="ja-JP" altLang="en-US" sz="1400" dirty="0" smtClean="0"/>
              <a:t>、リスクファクターに起因する超過リターンが得られたと考えている。</a:t>
            </a:r>
            <a:r>
              <a:rPr lang="en-GB" sz="1400" dirty="0" smtClean="0"/>
              <a:t> </a:t>
            </a:r>
            <a:endParaRPr lang="en-GB" sz="1400" dirty="0"/>
          </a:p>
          <a:p>
            <a:pPr marL="285750" indent="-285750">
              <a:buFont typeface="Arial" panose="020B0604020202020204" pitchFamily="34" charset="0"/>
              <a:buChar char="•"/>
            </a:pPr>
            <a:r>
              <a:rPr lang="ja-JP" altLang="en-US" sz="1400" dirty="0" smtClean="0"/>
              <a:t>これ</a:t>
            </a:r>
            <a:r>
              <a:rPr lang="ja-JP" altLang="en-US" sz="1400" dirty="0"/>
              <a:t>は、</a:t>
            </a:r>
            <a:r>
              <a:rPr lang="en-US" altLang="ja-JP" sz="1400" dirty="0"/>
              <a:t>ESG</a:t>
            </a:r>
            <a:r>
              <a:rPr lang="ja-JP" altLang="en-US" sz="1400" dirty="0"/>
              <a:t>ポートフォリオを構築する際に意図</a:t>
            </a:r>
            <a:r>
              <a:rPr lang="ja-JP" altLang="en-US" sz="1400" dirty="0" smtClean="0"/>
              <a:t>しないファクターエクスポージャー</a:t>
            </a:r>
            <a:r>
              <a:rPr lang="ja-JP" altLang="en-US" sz="1400" dirty="0"/>
              <a:t>を制御することの重要性を意味し、</a:t>
            </a:r>
            <a:r>
              <a:rPr lang="en-US" altLang="ja-JP" sz="1400" dirty="0"/>
              <a:t>ESG</a:t>
            </a:r>
            <a:r>
              <a:rPr lang="ja-JP" altLang="en-US" sz="1400" dirty="0"/>
              <a:t>特性に対するリターンプレミアムの存在を示唆</a:t>
            </a:r>
            <a:r>
              <a:rPr lang="ja-JP" altLang="en-US" sz="1400" dirty="0" smtClean="0"/>
              <a:t>する可能性も考えられる。</a:t>
            </a:r>
            <a:endParaRPr lang="en-GB" sz="1400" dirty="0"/>
          </a:p>
        </p:txBody>
      </p:sp>
      <p:sp>
        <p:nvSpPr>
          <p:cNvPr id="6" name="TextBox 5"/>
          <p:cNvSpPr txBox="1"/>
          <p:nvPr/>
        </p:nvSpPr>
        <p:spPr>
          <a:xfrm>
            <a:off x="490538" y="6191250"/>
            <a:ext cx="5650302" cy="215444"/>
          </a:xfrm>
          <a:prstGeom prst="rect">
            <a:avLst/>
          </a:prstGeom>
          <a:noFill/>
        </p:spPr>
        <p:txBody>
          <a:bodyPr wrap="square" rtlCol="0">
            <a:spAutoFit/>
          </a:bodyPr>
          <a:lstStyle/>
          <a:p>
            <a:r>
              <a:rPr lang="en-GB" sz="800" dirty="0" smtClean="0"/>
              <a:t>FTSE Developed Sep 2014 – May 2019, USD. </a:t>
            </a:r>
            <a:r>
              <a:rPr lang="ja-JP" altLang="en-US" sz="800" dirty="0" smtClean="0"/>
              <a:t>　　</a:t>
            </a:r>
            <a:r>
              <a:rPr lang="en-GB" altLang="ja-JP" sz="800" dirty="0"/>
              <a:t>Source: FTSE Russell </a:t>
            </a:r>
          </a:p>
        </p:txBody>
      </p:sp>
      <p:sp>
        <p:nvSpPr>
          <p:cNvPr id="13" name="TextBox 12"/>
          <p:cNvSpPr txBox="1"/>
          <p:nvPr/>
        </p:nvSpPr>
        <p:spPr>
          <a:xfrm>
            <a:off x="596974" y="2570163"/>
            <a:ext cx="3668232" cy="276999"/>
          </a:xfrm>
          <a:prstGeom prst="rect">
            <a:avLst/>
          </a:prstGeom>
          <a:noFill/>
        </p:spPr>
        <p:txBody>
          <a:bodyPr wrap="square" rtlCol="0">
            <a:spAutoFit/>
          </a:bodyPr>
          <a:lstStyle/>
          <a:p>
            <a:pPr algn="ctr"/>
            <a:r>
              <a:rPr lang="en-GB" sz="1200" b="1" dirty="0" smtClean="0"/>
              <a:t>Tracking Error</a:t>
            </a:r>
            <a:endParaRPr lang="en-GB" sz="1200" b="1" dirty="0"/>
          </a:p>
        </p:txBody>
      </p:sp>
      <p:sp>
        <p:nvSpPr>
          <p:cNvPr id="14" name="TextBox 13"/>
          <p:cNvSpPr txBox="1"/>
          <p:nvPr/>
        </p:nvSpPr>
        <p:spPr>
          <a:xfrm>
            <a:off x="4883224" y="2541588"/>
            <a:ext cx="3668232" cy="276999"/>
          </a:xfrm>
          <a:prstGeom prst="rect">
            <a:avLst/>
          </a:prstGeom>
          <a:noFill/>
        </p:spPr>
        <p:txBody>
          <a:bodyPr wrap="square" rtlCol="0">
            <a:spAutoFit/>
          </a:bodyPr>
          <a:lstStyle/>
          <a:p>
            <a:pPr algn="ctr"/>
            <a:r>
              <a:rPr lang="en-GB" sz="1200" b="1" dirty="0" smtClean="0"/>
              <a:t>Payoff</a:t>
            </a:r>
            <a:endParaRPr lang="en-GB" sz="1200" b="1" dirty="0"/>
          </a:p>
        </p:txBody>
      </p:sp>
      <p:graphicFrame>
        <p:nvGraphicFramePr>
          <p:cNvPr id="17" name="Content Placeholder 16"/>
          <p:cNvGraphicFramePr>
            <a:graphicFrameLocks noGrp="1"/>
          </p:cNvGraphicFramePr>
          <p:nvPr>
            <p:ph sz="half" idx="1"/>
            <p:extLst>
              <p:ext uri="{D42A27DB-BD31-4B8C-83A1-F6EECF244321}">
                <p14:modId xmlns:p14="http://schemas.microsoft.com/office/powerpoint/2010/main" val="3570564390"/>
              </p:ext>
            </p:extLst>
          </p:nvPr>
        </p:nvGraphicFramePr>
        <p:xfrm>
          <a:off x="457200" y="2559050"/>
          <a:ext cx="3886200" cy="362902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8" name="Content Placeholder 17"/>
          <p:cNvGraphicFramePr>
            <a:graphicFrameLocks noGrp="1"/>
          </p:cNvGraphicFramePr>
          <p:nvPr>
            <p:ph sz="half" idx="2"/>
            <p:extLst>
              <p:ext uri="{D42A27DB-BD31-4B8C-83A1-F6EECF244321}">
                <p14:modId xmlns:p14="http://schemas.microsoft.com/office/powerpoint/2010/main" val="2786412631"/>
              </p:ext>
            </p:extLst>
          </p:nvPr>
        </p:nvGraphicFramePr>
        <p:xfrm>
          <a:off x="4800600" y="2571750"/>
          <a:ext cx="3886200" cy="362902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90710207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7200" y="142875"/>
            <a:ext cx="8229600" cy="800099"/>
          </a:xfrm>
        </p:spPr>
        <p:txBody>
          <a:bodyPr/>
          <a:lstStyle/>
          <a:p>
            <a:r>
              <a:rPr lang="en-US" altLang="ja-JP" sz="2400" dirty="0" smtClean="0"/>
              <a:t>3.3 </a:t>
            </a:r>
            <a:r>
              <a:rPr lang="ja-JP" altLang="en-US" sz="2400" dirty="0" smtClean="0"/>
              <a:t>基本アイデア：ターゲットカーボン</a:t>
            </a:r>
            <a:r>
              <a:rPr lang="en-US" altLang="ja-JP" sz="2400" dirty="0"/>
              <a:t>+ ESG</a:t>
            </a:r>
            <a:r>
              <a:rPr lang="ja-JP" altLang="en-US" sz="2400" dirty="0" smtClean="0"/>
              <a:t>インデックス</a:t>
            </a:r>
            <a:endParaRPr lang="en-US" sz="2000" dirty="0"/>
          </a:p>
        </p:txBody>
      </p:sp>
      <p:sp>
        <p:nvSpPr>
          <p:cNvPr id="9" name="TextBox 8"/>
          <p:cNvSpPr txBox="1"/>
          <p:nvPr/>
        </p:nvSpPr>
        <p:spPr>
          <a:xfrm>
            <a:off x="490538" y="6115050"/>
            <a:ext cx="5650302" cy="338554"/>
          </a:xfrm>
          <a:prstGeom prst="rect">
            <a:avLst/>
          </a:prstGeom>
          <a:noFill/>
        </p:spPr>
        <p:txBody>
          <a:bodyPr wrap="square" rtlCol="0">
            <a:spAutoFit/>
          </a:bodyPr>
          <a:lstStyle/>
          <a:p>
            <a:r>
              <a:rPr lang="en-GB" sz="800" dirty="0" smtClean="0"/>
              <a:t>FTSE Developed September 2014 </a:t>
            </a:r>
            <a:r>
              <a:rPr lang="en-GB" sz="800" dirty="0"/>
              <a:t>– December </a:t>
            </a:r>
            <a:r>
              <a:rPr lang="en-GB" sz="800" dirty="0" smtClean="0"/>
              <a:t>2018, USD.</a:t>
            </a:r>
          </a:p>
          <a:p>
            <a:r>
              <a:rPr lang="en-GB" sz="800" dirty="0" smtClean="0"/>
              <a:t>Source: FTSE Russell </a:t>
            </a:r>
            <a:endParaRPr lang="en-GB" sz="800" dirty="0"/>
          </a:p>
        </p:txBody>
      </p:sp>
      <p:sp>
        <p:nvSpPr>
          <p:cNvPr id="11" name="TextBox 10"/>
          <p:cNvSpPr txBox="1"/>
          <p:nvPr/>
        </p:nvSpPr>
        <p:spPr>
          <a:xfrm>
            <a:off x="701749" y="2046288"/>
            <a:ext cx="3668232" cy="276999"/>
          </a:xfrm>
          <a:prstGeom prst="rect">
            <a:avLst/>
          </a:prstGeom>
          <a:noFill/>
        </p:spPr>
        <p:txBody>
          <a:bodyPr wrap="square" rtlCol="0">
            <a:spAutoFit/>
          </a:bodyPr>
          <a:lstStyle/>
          <a:p>
            <a:pPr algn="ctr"/>
            <a:r>
              <a:rPr lang="en-GB" sz="1200" b="1" dirty="0" smtClean="0"/>
              <a:t>Tracking Error</a:t>
            </a:r>
            <a:endParaRPr lang="en-GB" sz="1200" b="1" dirty="0"/>
          </a:p>
        </p:txBody>
      </p:sp>
      <p:sp>
        <p:nvSpPr>
          <p:cNvPr id="12" name="TextBox 11"/>
          <p:cNvSpPr txBox="1"/>
          <p:nvPr/>
        </p:nvSpPr>
        <p:spPr>
          <a:xfrm>
            <a:off x="4987999" y="2017713"/>
            <a:ext cx="3668232" cy="276999"/>
          </a:xfrm>
          <a:prstGeom prst="rect">
            <a:avLst/>
          </a:prstGeom>
          <a:noFill/>
        </p:spPr>
        <p:txBody>
          <a:bodyPr wrap="square" rtlCol="0">
            <a:spAutoFit/>
          </a:bodyPr>
          <a:lstStyle/>
          <a:p>
            <a:pPr algn="ctr"/>
            <a:r>
              <a:rPr lang="en-GB" sz="1200" b="1" dirty="0" smtClean="0"/>
              <a:t>Payoff</a:t>
            </a:r>
            <a:endParaRPr lang="en-GB" sz="1200" b="1" dirty="0"/>
          </a:p>
        </p:txBody>
      </p:sp>
      <p:sp>
        <p:nvSpPr>
          <p:cNvPr id="13" name="TextBox 12"/>
          <p:cNvSpPr txBox="1"/>
          <p:nvPr/>
        </p:nvSpPr>
        <p:spPr>
          <a:xfrm>
            <a:off x="323850" y="514350"/>
            <a:ext cx="8648700" cy="1477328"/>
          </a:xfrm>
          <a:prstGeom prst="rect">
            <a:avLst/>
          </a:prstGeom>
          <a:noFill/>
        </p:spPr>
        <p:txBody>
          <a:bodyPr wrap="square" rtlCol="0">
            <a:spAutoFit/>
          </a:bodyPr>
          <a:lstStyle/>
          <a:p>
            <a:pPr marL="285750" indent="-285750">
              <a:buFont typeface="Arial" panose="020B0604020202020204" pitchFamily="34" charset="0"/>
              <a:buChar char="•"/>
            </a:pPr>
            <a:r>
              <a:rPr lang="ja-JP" altLang="en-US" dirty="0" smtClean="0"/>
              <a:t>例</a:t>
            </a:r>
            <a:r>
              <a:rPr lang="ja-JP" altLang="en-US" dirty="0"/>
              <a:t>として、</a:t>
            </a:r>
            <a:r>
              <a:rPr lang="en-US" altLang="ja-JP" dirty="0"/>
              <a:t>70</a:t>
            </a:r>
            <a:r>
              <a:rPr lang="ja-JP" altLang="en-US" dirty="0"/>
              <a:t>％の</a:t>
            </a:r>
            <a:r>
              <a:rPr lang="ja-JP" altLang="en-US" dirty="0" smtClean="0"/>
              <a:t>炭素集約度削減と、</a:t>
            </a:r>
            <a:r>
              <a:rPr lang="en-US" altLang="ja-JP" dirty="0" smtClean="0"/>
              <a:t>ESG</a:t>
            </a:r>
            <a:r>
              <a:rPr lang="ja-JP" altLang="en-US" dirty="0" smtClean="0"/>
              <a:t>レーティングの様々</a:t>
            </a:r>
            <a:r>
              <a:rPr lang="ja-JP" altLang="en-US" dirty="0"/>
              <a:t>な</a:t>
            </a:r>
            <a:r>
              <a:rPr lang="ja-JP" altLang="en-US" dirty="0" smtClean="0"/>
              <a:t>レベルをターゲットとした</a:t>
            </a:r>
            <a:r>
              <a:rPr lang="ja-JP" altLang="en-US" dirty="0"/>
              <a:t>ポートフォリオを</a:t>
            </a:r>
            <a:r>
              <a:rPr lang="ja-JP" altLang="en-US" dirty="0" smtClean="0"/>
              <a:t>示す。</a:t>
            </a:r>
            <a:r>
              <a:rPr lang="en-GB" dirty="0" smtClean="0"/>
              <a:t> </a:t>
            </a:r>
          </a:p>
          <a:p>
            <a:pPr marL="285750" indent="-285750">
              <a:buFont typeface="Arial" panose="020B0604020202020204" pitchFamily="34" charset="0"/>
              <a:buChar char="•"/>
            </a:pPr>
            <a:r>
              <a:rPr lang="ja-JP" altLang="en-US" dirty="0" smtClean="0"/>
              <a:t>相関</a:t>
            </a:r>
            <a:r>
              <a:rPr lang="ja-JP" altLang="en-US" dirty="0"/>
              <a:t>を制御しないと、</a:t>
            </a:r>
            <a:r>
              <a:rPr lang="en-US" altLang="ja-JP" dirty="0"/>
              <a:t>TE</a:t>
            </a:r>
            <a:r>
              <a:rPr lang="ja-JP" altLang="en-US" dirty="0"/>
              <a:t>は少なくとも</a:t>
            </a:r>
            <a:r>
              <a:rPr lang="en-US" altLang="ja-JP" dirty="0" smtClean="0"/>
              <a:t>40〜150 </a:t>
            </a:r>
            <a:r>
              <a:rPr lang="en-US" altLang="ja-JP" dirty="0"/>
              <a:t>bps</a:t>
            </a:r>
            <a:r>
              <a:rPr lang="ja-JP" altLang="en-US" dirty="0"/>
              <a:t>高く</a:t>
            </a:r>
            <a:r>
              <a:rPr lang="ja-JP" altLang="en-US" dirty="0" smtClean="0"/>
              <a:t>なる。</a:t>
            </a:r>
            <a:endParaRPr lang="en-GB" dirty="0" smtClean="0"/>
          </a:p>
          <a:p>
            <a:pPr marL="285750" indent="-285750">
              <a:buFont typeface="Arial" panose="020B0604020202020204" pitchFamily="34" charset="0"/>
              <a:buChar char="•"/>
            </a:pPr>
            <a:r>
              <a:rPr lang="ja-JP" altLang="en-US" dirty="0" smtClean="0"/>
              <a:t>セクター</a:t>
            </a:r>
            <a:r>
              <a:rPr lang="en-US" altLang="ja-JP" dirty="0" smtClean="0"/>
              <a:t>/</a:t>
            </a:r>
            <a:r>
              <a:rPr lang="ja-JP" altLang="en-US" dirty="0"/>
              <a:t>国</a:t>
            </a:r>
            <a:r>
              <a:rPr lang="en-US" altLang="ja-JP" dirty="0"/>
              <a:t>/</a:t>
            </a:r>
            <a:r>
              <a:rPr lang="ja-JP" altLang="en-US" dirty="0"/>
              <a:t>スタイルの中立性により</a:t>
            </a:r>
            <a:r>
              <a:rPr lang="ja-JP" altLang="en-US" dirty="0" smtClean="0"/>
              <a:t>、超過リターンは</a:t>
            </a:r>
            <a:r>
              <a:rPr lang="en-US" altLang="ja-JP" dirty="0" smtClean="0"/>
              <a:t>ESG</a:t>
            </a:r>
            <a:r>
              <a:rPr lang="ja-JP" altLang="en-US" dirty="0" smtClean="0"/>
              <a:t>に対して</a:t>
            </a:r>
            <a:r>
              <a:rPr lang="ja-JP" altLang="en-US" u="sng" dirty="0" smtClean="0"/>
              <a:t>単調</a:t>
            </a:r>
            <a:r>
              <a:rPr lang="ja-JP" altLang="en-US" u="sng" dirty="0"/>
              <a:t>に</a:t>
            </a:r>
            <a:r>
              <a:rPr lang="ja-JP" altLang="en-US" u="sng" dirty="0" smtClean="0"/>
              <a:t>増加</a:t>
            </a:r>
            <a:r>
              <a:rPr lang="ja-JP" altLang="en-US" dirty="0" smtClean="0"/>
              <a:t>。</a:t>
            </a:r>
            <a:r>
              <a:rPr lang="en-GB" dirty="0" smtClean="0"/>
              <a:t> </a:t>
            </a:r>
          </a:p>
          <a:p>
            <a:pPr marL="285750" indent="-285750">
              <a:buFont typeface="Arial" panose="020B0604020202020204" pitchFamily="34" charset="0"/>
              <a:buChar char="•"/>
            </a:pPr>
            <a:r>
              <a:rPr lang="ja-JP" altLang="en-US" dirty="0" smtClean="0"/>
              <a:t>相関</a:t>
            </a:r>
            <a:r>
              <a:rPr lang="ja-JP" altLang="en-US" dirty="0"/>
              <a:t>関係を制御しなければ</a:t>
            </a:r>
            <a:r>
              <a:rPr lang="ja-JP" altLang="en-US" dirty="0" smtClean="0"/>
              <a:t>、そのような関係は観察されない。</a:t>
            </a:r>
            <a:r>
              <a:rPr lang="en-GB" dirty="0" smtClean="0"/>
              <a:t> </a:t>
            </a:r>
            <a:endParaRPr lang="en-GB" dirty="0"/>
          </a:p>
        </p:txBody>
      </p:sp>
      <p:sp>
        <p:nvSpPr>
          <p:cNvPr id="2" name="Content Placeholder 1"/>
          <p:cNvSpPr>
            <a:spLocks noGrp="1"/>
          </p:cNvSpPr>
          <p:nvPr>
            <p:ph sz="half" idx="1"/>
          </p:nvPr>
        </p:nvSpPr>
        <p:spPr/>
        <p:txBody>
          <a:bodyPr/>
          <a:lstStyle/>
          <a:p>
            <a:endParaRPr lang="en-GB" dirty="0"/>
          </a:p>
        </p:txBody>
      </p:sp>
      <p:sp>
        <p:nvSpPr>
          <p:cNvPr id="3" name="Content Placeholder 2"/>
          <p:cNvSpPr>
            <a:spLocks noGrp="1"/>
          </p:cNvSpPr>
          <p:nvPr>
            <p:ph sz="half" idx="2"/>
          </p:nvPr>
        </p:nvSpPr>
        <p:spPr/>
        <p:txBody>
          <a:bodyPr/>
          <a:lstStyle/>
          <a:p>
            <a:endParaRPr lang="en-GB" dirty="0"/>
          </a:p>
        </p:txBody>
      </p:sp>
      <p:graphicFrame>
        <p:nvGraphicFramePr>
          <p:cNvPr id="14" name="Content Placeholder 15"/>
          <p:cNvGraphicFramePr>
            <a:graphicFrameLocks/>
          </p:cNvGraphicFramePr>
          <p:nvPr>
            <p:extLst>
              <p:ext uri="{D42A27DB-BD31-4B8C-83A1-F6EECF244321}">
                <p14:modId xmlns:p14="http://schemas.microsoft.com/office/powerpoint/2010/main" val="972675120"/>
              </p:ext>
            </p:extLst>
          </p:nvPr>
        </p:nvGraphicFramePr>
        <p:xfrm>
          <a:off x="457200" y="2314575"/>
          <a:ext cx="3895725" cy="382587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5" name="Content Placeholder 16"/>
          <p:cNvGraphicFramePr>
            <a:graphicFrameLocks/>
          </p:cNvGraphicFramePr>
          <p:nvPr>
            <p:extLst>
              <p:ext uri="{D42A27DB-BD31-4B8C-83A1-F6EECF244321}">
                <p14:modId xmlns:p14="http://schemas.microsoft.com/office/powerpoint/2010/main" val="4133076558"/>
              </p:ext>
            </p:extLst>
          </p:nvPr>
        </p:nvGraphicFramePr>
        <p:xfrm>
          <a:off x="4800600" y="2327275"/>
          <a:ext cx="3895725" cy="382587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83308512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tLang="ja-JP" dirty="0" smtClean="0"/>
              <a:t>4.1 </a:t>
            </a:r>
            <a:r>
              <a:rPr lang="ja-JP" altLang="en-US" dirty="0" smtClean="0"/>
              <a:t>スマートベータファクターとサステナブル特性</a:t>
            </a:r>
            <a:r>
              <a:rPr lang="ja-JP" altLang="en-US" dirty="0"/>
              <a:t>の</a:t>
            </a:r>
            <a:r>
              <a:rPr lang="ja-JP" altLang="en-US" dirty="0" smtClean="0"/>
              <a:t>調整：炭素集約度と</a:t>
            </a:r>
            <a:r>
              <a:rPr lang="ja-JP" altLang="en-US" dirty="0"/>
              <a:t>配当</a:t>
            </a:r>
            <a:r>
              <a:rPr lang="ja-JP" altLang="en-US" dirty="0" smtClean="0"/>
              <a:t>利回り</a:t>
            </a:r>
            <a:endParaRPr lang="en-GB" dirty="0"/>
          </a:p>
        </p:txBody>
      </p:sp>
      <p:sp>
        <p:nvSpPr>
          <p:cNvPr id="4" name="Content Placeholder 3"/>
          <p:cNvSpPr>
            <a:spLocks noGrp="1"/>
          </p:cNvSpPr>
          <p:nvPr>
            <p:ph sz="half" idx="2"/>
          </p:nvPr>
        </p:nvSpPr>
        <p:spPr>
          <a:xfrm>
            <a:off x="5724128" y="1600200"/>
            <a:ext cx="2962672" cy="4525963"/>
          </a:xfrm>
        </p:spPr>
        <p:txBody>
          <a:bodyPr/>
          <a:lstStyle/>
          <a:p>
            <a:r>
              <a:rPr lang="ja-JP" altLang="en-US" sz="1600" b="0" dirty="0" smtClean="0"/>
              <a:t>時価総額加重指数：配当利回り</a:t>
            </a:r>
            <a:r>
              <a:rPr lang="en-GB" sz="1600" b="0" dirty="0" smtClean="0"/>
              <a:t> 2.4%</a:t>
            </a:r>
            <a:r>
              <a:rPr lang="ja-JP" altLang="en-US" sz="1600" b="0" dirty="0" err="1" smtClean="0"/>
              <a:t>、</a:t>
            </a:r>
            <a:r>
              <a:rPr lang="ja-JP" altLang="en-US" sz="1600" b="0" dirty="0" smtClean="0"/>
              <a:t>炭素集約度</a:t>
            </a:r>
            <a:r>
              <a:rPr lang="en-GB" sz="1600" b="0" dirty="0" smtClean="0"/>
              <a:t> 200 </a:t>
            </a:r>
            <a:r>
              <a:rPr lang="ja-JP" altLang="en-US" sz="1600" b="0" dirty="0"/>
              <a:t>（</a:t>
            </a:r>
            <a:r>
              <a:rPr lang="en-US" altLang="ja-JP" sz="1600" b="0" dirty="0"/>
              <a:t>CO2</a:t>
            </a:r>
            <a:r>
              <a:rPr lang="ja-JP" altLang="en-US" sz="1600" b="0" dirty="0"/>
              <a:t>換算重量</a:t>
            </a:r>
            <a:r>
              <a:rPr lang="en-US" altLang="ja-JP" sz="1600" b="0" dirty="0"/>
              <a:t>[</a:t>
            </a:r>
            <a:r>
              <a:rPr lang="ja-JP" altLang="en-US" sz="1600" b="0" dirty="0"/>
              <a:t>トン</a:t>
            </a:r>
            <a:r>
              <a:rPr lang="en-US" altLang="ja-JP" sz="1600" b="0" dirty="0"/>
              <a:t>] / </a:t>
            </a:r>
            <a:r>
              <a:rPr lang="ja-JP" altLang="en-US" sz="1600" b="0" dirty="0" smtClean="0"/>
              <a:t>売上高</a:t>
            </a:r>
            <a:r>
              <a:rPr lang="en-US" altLang="ja-JP" sz="1600" b="0" dirty="0" smtClean="0"/>
              <a:t>[</a:t>
            </a:r>
            <a:r>
              <a:rPr lang="ja-JP" altLang="en-US" sz="1600" b="0" dirty="0"/>
              <a:t>百万ドル</a:t>
            </a:r>
            <a:r>
              <a:rPr lang="en-US" altLang="ja-JP" sz="1600" b="0" dirty="0"/>
              <a:t>]</a:t>
            </a:r>
            <a:r>
              <a:rPr lang="ja-JP" altLang="en-US" sz="1600" b="0" dirty="0" smtClean="0"/>
              <a:t>）</a:t>
            </a:r>
            <a:endParaRPr lang="en-GB" sz="1600" b="0" dirty="0" smtClean="0"/>
          </a:p>
          <a:p>
            <a:r>
              <a:rPr lang="ja-JP" altLang="en-US" sz="1600" b="0" dirty="0" smtClean="0"/>
              <a:t>純粋な高配当利回りインデックス</a:t>
            </a:r>
            <a:r>
              <a:rPr lang="ja-JP" altLang="en-US" sz="1600" b="0" dirty="0"/>
              <a:t>は</a:t>
            </a:r>
            <a:r>
              <a:rPr lang="ja-JP" altLang="en-US" sz="1600" b="0" dirty="0" smtClean="0"/>
              <a:t>、配当利回り以外のスタイルファクター</a:t>
            </a:r>
            <a:r>
              <a:rPr lang="ja-JP" altLang="en-US" sz="1600" b="0" dirty="0"/>
              <a:t>へ</a:t>
            </a:r>
            <a:r>
              <a:rPr lang="ja-JP" altLang="en-US" sz="1600" b="0" dirty="0" smtClean="0"/>
              <a:t>のエクスポージャを中立化する。</a:t>
            </a:r>
            <a:endParaRPr lang="en-GB" sz="1600" b="0" dirty="0" smtClean="0"/>
          </a:p>
          <a:p>
            <a:r>
              <a:rPr lang="ja-JP" altLang="en-US" sz="1600" b="0" dirty="0" smtClean="0"/>
              <a:t>配当利回りは</a:t>
            </a:r>
            <a:r>
              <a:rPr lang="en-GB" sz="1600" b="0" dirty="0" smtClean="0"/>
              <a:t> 3.8% </a:t>
            </a:r>
            <a:r>
              <a:rPr lang="ja-JP" altLang="en-US" sz="1600" b="0" dirty="0" smtClean="0"/>
              <a:t>と高いがグリーンではない。炭素集約度は</a:t>
            </a:r>
            <a:r>
              <a:rPr lang="en-GB" sz="1600" b="0" dirty="0" smtClean="0"/>
              <a:t> 250 </a:t>
            </a:r>
            <a:r>
              <a:rPr lang="ja-JP" altLang="en-US" sz="1600" b="0" dirty="0"/>
              <a:t>（</a:t>
            </a:r>
            <a:r>
              <a:rPr lang="en-US" altLang="ja-JP" sz="1600" b="0" dirty="0"/>
              <a:t>CO2</a:t>
            </a:r>
            <a:r>
              <a:rPr lang="ja-JP" altLang="en-US" sz="1600" b="0" dirty="0"/>
              <a:t>換算重量</a:t>
            </a:r>
            <a:r>
              <a:rPr lang="en-US" altLang="ja-JP" sz="1600" b="0" dirty="0"/>
              <a:t>[</a:t>
            </a:r>
            <a:r>
              <a:rPr lang="ja-JP" altLang="en-US" sz="1600" b="0" dirty="0"/>
              <a:t>トン</a:t>
            </a:r>
            <a:r>
              <a:rPr lang="en-US" altLang="ja-JP" sz="1600" b="0" dirty="0"/>
              <a:t>] / </a:t>
            </a:r>
            <a:r>
              <a:rPr lang="ja-JP" altLang="en-US" sz="1600" b="0" dirty="0"/>
              <a:t>売上高</a:t>
            </a:r>
            <a:r>
              <a:rPr lang="en-US" altLang="ja-JP" sz="1600" b="0" dirty="0"/>
              <a:t>[</a:t>
            </a:r>
            <a:r>
              <a:rPr lang="ja-JP" altLang="en-US" sz="1600" b="0" dirty="0"/>
              <a:t>百万ドル</a:t>
            </a:r>
            <a:r>
              <a:rPr lang="en-US" altLang="ja-JP" sz="1600" b="0" dirty="0"/>
              <a:t>]</a:t>
            </a:r>
            <a:r>
              <a:rPr lang="ja-JP" altLang="en-US" sz="1600" b="0" dirty="0"/>
              <a:t>）</a:t>
            </a:r>
            <a:endParaRPr lang="en-GB" sz="1600" b="0" dirty="0"/>
          </a:p>
          <a:p>
            <a:r>
              <a:rPr lang="ja-JP" altLang="en-US" sz="1600" b="0" dirty="0" smtClean="0"/>
              <a:t>グリーン＋純粋な高配当利回り指数：配当利回り</a:t>
            </a:r>
            <a:r>
              <a:rPr lang="en-US" altLang="ja-JP" sz="1600" b="0" dirty="0" smtClean="0"/>
              <a:t>3.8</a:t>
            </a:r>
            <a:r>
              <a:rPr lang="ja-JP" altLang="en-US" sz="1600" b="0" dirty="0"/>
              <a:t>％、他のスタイルファクター</a:t>
            </a:r>
            <a:r>
              <a:rPr lang="ja-JP" altLang="en-US" sz="1600" b="0" dirty="0" smtClean="0"/>
              <a:t>のエクスポージャは</a:t>
            </a:r>
            <a:r>
              <a:rPr lang="ja-JP" altLang="en-US" sz="1600" b="0" dirty="0"/>
              <a:t>なく、はるかに環境に優しい：</a:t>
            </a:r>
            <a:r>
              <a:rPr lang="en-US" altLang="ja-JP" sz="1600" b="0" dirty="0" smtClean="0"/>
              <a:t>160</a:t>
            </a:r>
            <a:r>
              <a:rPr lang="en-GB" sz="1600" b="0" dirty="0" smtClean="0"/>
              <a:t> </a:t>
            </a:r>
            <a:r>
              <a:rPr lang="ja-JP" altLang="en-US" sz="1600" b="0" dirty="0"/>
              <a:t>（</a:t>
            </a:r>
            <a:r>
              <a:rPr lang="en-US" altLang="ja-JP" sz="1600" b="0" dirty="0"/>
              <a:t>CO2</a:t>
            </a:r>
            <a:r>
              <a:rPr lang="ja-JP" altLang="en-US" sz="1600" b="0" dirty="0"/>
              <a:t>換算重量</a:t>
            </a:r>
            <a:r>
              <a:rPr lang="en-US" altLang="ja-JP" sz="1600" b="0" dirty="0"/>
              <a:t>[</a:t>
            </a:r>
            <a:r>
              <a:rPr lang="ja-JP" altLang="en-US" sz="1600" b="0" dirty="0"/>
              <a:t>トン</a:t>
            </a:r>
            <a:r>
              <a:rPr lang="en-US" altLang="ja-JP" sz="1600" b="0" dirty="0"/>
              <a:t>] / </a:t>
            </a:r>
            <a:r>
              <a:rPr lang="ja-JP" altLang="en-US" sz="1600" b="0" dirty="0"/>
              <a:t>売上高</a:t>
            </a:r>
            <a:r>
              <a:rPr lang="en-US" altLang="ja-JP" sz="1600" b="0" dirty="0"/>
              <a:t>[</a:t>
            </a:r>
            <a:r>
              <a:rPr lang="ja-JP" altLang="en-US" sz="1600" b="0" dirty="0"/>
              <a:t>百万ドル</a:t>
            </a:r>
            <a:r>
              <a:rPr lang="en-US" altLang="ja-JP" sz="1600" b="0" dirty="0"/>
              <a:t>]</a:t>
            </a:r>
            <a:r>
              <a:rPr lang="ja-JP" altLang="en-US" sz="1600" b="0" dirty="0" smtClean="0"/>
              <a:t>）</a:t>
            </a:r>
            <a:endParaRPr lang="en-GB" sz="1600" b="0" dirty="0"/>
          </a:p>
        </p:txBody>
      </p:sp>
      <p:graphicFrame>
        <p:nvGraphicFramePr>
          <p:cNvPr id="7" name="Content Placeholder 6"/>
          <p:cNvGraphicFramePr>
            <a:graphicFrameLocks noGrp="1"/>
          </p:cNvGraphicFramePr>
          <p:nvPr>
            <p:ph sz="half" idx="1"/>
            <p:extLst>
              <p:ext uri="{D42A27DB-BD31-4B8C-83A1-F6EECF244321}">
                <p14:modId xmlns:p14="http://schemas.microsoft.com/office/powerpoint/2010/main" val="3218320602"/>
              </p:ext>
            </p:extLst>
          </p:nvPr>
        </p:nvGraphicFramePr>
        <p:xfrm>
          <a:off x="457200" y="1600200"/>
          <a:ext cx="4835525" cy="4525963"/>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p:cNvSpPr txBox="1"/>
          <p:nvPr/>
        </p:nvSpPr>
        <p:spPr>
          <a:xfrm>
            <a:off x="408788" y="6010093"/>
            <a:ext cx="5401461" cy="400110"/>
          </a:xfrm>
          <a:prstGeom prst="rect">
            <a:avLst/>
          </a:prstGeom>
          <a:noFill/>
        </p:spPr>
        <p:txBody>
          <a:bodyPr wrap="square" rtlCol="0">
            <a:spAutoFit/>
          </a:bodyPr>
          <a:lstStyle/>
          <a:p>
            <a:r>
              <a:rPr lang="en-GB" sz="1000" dirty="0" smtClean="0"/>
              <a:t>Sep 2013 – Sep 2018</a:t>
            </a:r>
            <a:r>
              <a:rPr lang="ja-JP" altLang="en-US" sz="1000" dirty="0" err="1" smtClean="0"/>
              <a:t>、</a:t>
            </a:r>
            <a:r>
              <a:rPr lang="ja-JP" altLang="en-US" sz="1000" dirty="0" smtClean="0"/>
              <a:t>パフォーマンスは仮説に基づいたバックテスト結果。巻末の注意事項も参照のこと。　</a:t>
            </a:r>
            <a:r>
              <a:rPr lang="en-GB" sz="1000" dirty="0" smtClean="0"/>
              <a:t>Source: FTSE Russell</a:t>
            </a:r>
            <a:endParaRPr lang="en-GB" sz="1000" dirty="0"/>
          </a:p>
        </p:txBody>
      </p:sp>
    </p:spTree>
    <p:extLst>
      <p:ext uri="{BB962C8B-B14F-4D97-AF65-F5344CB8AC3E}">
        <p14:creationId xmlns:p14="http://schemas.microsoft.com/office/powerpoint/2010/main" val="136045407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tLang="ja-JP" dirty="0" smtClean="0"/>
              <a:t>4.2 </a:t>
            </a:r>
            <a:r>
              <a:rPr lang="ja-JP" altLang="en-US" dirty="0" smtClean="0"/>
              <a:t>スマートベータファクター</a:t>
            </a:r>
            <a:r>
              <a:rPr lang="ja-JP" altLang="en-US" dirty="0"/>
              <a:t>とサステナブル特性の調整</a:t>
            </a:r>
            <a:r>
              <a:rPr lang="ja-JP" altLang="en-US" dirty="0" smtClean="0"/>
              <a:t>：</a:t>
            </a:r>
            <a:r>
              <a:rPr lang="ja-JP" altLang="en-US" dirty="0"/>
              <a:t>コーポレートガバナンス</a:t>
            </a:r>
            <a:r>
              <a:rPr lang="ja-JP" altLang="en-US" dirty="0" smtClean="0"/>
              <a:t>とサイズ</a:t>
            </a:r>
            <a:endParaRPr lang="en-GB" dirty="0"/>
          </a:p>
        </p:txBody>
      </p:sp>
      <p:sp>
        <p:nvSpPr>
          <p:cNvPr id="4" name="Content Placeholder 3"/>
          <p:cNvSpPr>
            <a:spLocks noGrp="1"/>
          </p:cNvSpPr>
          <p:nvPr>
            <p:ph sz="half" idx="2"/>
          </p:nvPr>
        </p:nvSpPr>
        <p:spPr>
          <a:xfrm>
            <a:off x="5724128" y="1388165"/>
            <a:ext cx="2962672" cy="4525963"/>
          </a:xfrm>
        </p:spPr>
        <p:txBody>
          <a:bodyPr/>
          <a:lstStyle/>
          <a:p>
            <a:r>
              <a:rPr lang="ja-JP" altLang="en-US" sz="1600" dirty="0" smtClean="0"/>
              <a:t>企業</a:t>
            </a:r>
            <a:r>
              <a:rPr lang="ja-JP" altLang="en-US" sz="1600" dirty="0"/>
              <a:t>規模</a:t>
            </a:r>
            <a:r>
              <a:rPr lang="ja-JP" altLang="en-US" sz="1600" dirty="0" smtClean="0"/>
              <a:t>は、コーポレートガバナンス・スコア（</a:t>
            </a:r>
            <a:r>
              <a:rPr lang="en-US" altLang="ja-JP" sz="1600" dirty="0" smtClean="0"/>
              <a:t>CG</a:t>
            </a:r>
            <a:r>
              <a:rPr lang="ja-JP" altLang="en-US" sz="1600" dirty="0" smtClean="0"/>
              <a:t>）と</a:t>
            </a:r>
            <a:r>
              <a:rPr lang="ja-JP" altLang="en-US" sz="1600" dirty="0"/>
              <a:t>正の</a:t>
            </a:r>
            <a:r>
              <a:rPr lang="ja-JP" altLang="en-US" sz="1600" dirty="0" smtClean="0"/>
              <a:t>相関がある</a:t>
            </a:r>
            <a:endParaRPr lang="en-GB" sz="1600" dirty="0" smtClean="0"/>
          </a:p>
          <a:p>
            <a:r>
              <a:rPr lang="ja-JP" altLang="en-US" sz="1600" dirty="0" smtClean="0"/>
              <a:t>純粋</a:t>
            </a:r>
            <a:r>
              <a:rPr lang="ja-JP" altLang="en-US" sz="1600" dirty="0"/>
              <a:t>な</a:t>
            </a:r>
            <a:r>
              <a:rPr lang="ja-JP" altLang="en-US" sz="1600" dirty="0" smtClean="0"/>
              <a:t>サイズインデックス</a:t>
            </a:r>
            <a:r>
              <a:rPr lang="ja-JP" altLang="en-US" sz="1600" dirty="0"/>
              <a:t>は、サイズ以外</a:t>
            </a:r>
            <a:r>
              <a:rPr lang="ja-JP" altLang="en-US" sz="1600" dirty="0" smtClean="0"/>
              <a:t>のスタイルファクターへのエクスポージャを中立化</a:t>
            </a:r>
            <a:endParaRPr lang="en-GB" sz="1600" dirty="0"/>
          </a:p>
          <a:p>
            <a:r>
              <a:rPr lang="ja-JP" altLang="en-US" sz="1600" dirty="0" smtClean="0"/>
              <a:t>これら</a:t>
            </a:r>
            <a:r>
              <a:rPr lang="ja-JP" altLang="en-US" sz="1600" dirty="0"/>
              <a:t>のインデックスは、</a:t>
            </a:r>
            <a:r>
              <a:rPr lang="ja-JP" altLang="en-US" sz="1600" dirty="0" smtClean="0"/>
              <a:t>コーポレートガバナンスに正のエクスポージャを持つ</a:t>
            </a:r>
            <a:endParaRPr lang="en-GB" sz="1600" dirty="0" smtClean="0"/>
          </a:p>
          <a:p>
            <a:r>
              <a:rPr lang="ja-JP" altLang="en-US" sz="1600" dirty="0" smtClean="0"/>
              <a:t>純粋</a:t>
            </a:r>
            <a:r>
              <a:rPr lang="ja-JP" altLang="en-US" sz="1600" dirty="0"/>
              <a:t>な</a:t>
            </a:r>
            <a:r>
              <a:rPr lang="ja-JP" altLang="en-US" sz="1600" dirty="0" smtClean="0"/>
              <a:t>サイズ＋コーポレートガバナンスニュートラルインデックス</a:t>
            </a:r>
            <a:r>
              <a:rPr lang="ja-JP" altLang="en-US" sz="1600" dirty="0"/>
              <a:t>：</a:t>
            </a:r>
            <a:r>
              <a:rPr lang="en-US" altLang="ja-JP" sz="1600" dirty="0" smtClean="0"/>
              <a:t>FTSE</a:t>
            </a:r>
            <a:r>
              <a:rPr lang="ja-JP" altLang="en-US" sz="1600" dirty="0" smtClean="0"/>
              <a:t>先進国指数と</a:t>
            </a:r>
            <a:r>
              <a:rPr lang="ja-JP" altLang="en-US" sz="1600" dirty="0"/>
              <a:t>同じコーポレートガバナンス</a:t>
            </a:r>
            <a:r>
              <a:rPr lang="ja-JP" altLang="en-US" sz="1600" dirty="0" smtClean="0"/>
              <a:t>評価、他</a:t>
            </a:r>
            <a:r>
              <a:rPr lang="ja-JP" altLang="en-US" sz="1600" dirty="0"/>
              <a:t>の</a:t>
            </a:r>
            <a:r>
              <a:rPr lang="ja-JP" altLang="en-US" sz="1600" dirty="0" smtClean="0"/>
              <a:t>スタイルエクスポージャを中立化</a:t>
            </a:r>
            <a:r>
              <a:rPr lang="ja-JP" altLang="en-US" sz="1600" dirty="0"/>
              <a:t>する</a:t>
            </a:r>
            <a:endParaRPr lang="en-GB" b="1" dirty="0"/>
          </a:p>
        </p:txBody>
      </p:sp>
      <p:sp>
        <p:nvSpPr>
          <p:cNvPr id="8" name="TextBox 7"/>
          <p:cNvSpPr txBox="1"/>
          <p:nvPr/>
        </p:nvSpPr>
        <p:spPr>
          <a:xfrm>
            <a:off x="480846" y="6051090"/>
            <a:ext cx="3312368" cy="400110"/>
          </a:xfrm>
          <a:prstGeom prst="rect">
            <a:avLst/>
          </a:prstGeom>
          <a:noFill/>
        </p:spPr>
        <p:txBody>
          <a:bodyPr wrap="square" rtlCol="0">
            <a:spAutoFit/>
          </a:bodyPr>
          <a:lstStyle/>
          <a:p>
            <a:r>
              <a:rPr lang="en-GB" sz="1000" dirty="0" smtClean="0"/>
              <a:t>Sep 2013 – Sep 2018</a:t>
            </a:r>
          </a:p>
          <a:p>
            <a:r>
              <a:rPr lang="en-GB" sz="1000" dirty="0" smtClean="0"/>
              <a:t>Source: FTSE Russell</a:t>
            </a:r>
            <a:endParaRPr lang="en-GB" sz="1000" dirty="0"/>
          </a:p>
        </p:txBody>
      </p:sp>
      <p:graphicFrame>
        <p:nvGraphicFramePr>
          <p:cNvPr id="9" name="Content Placeholder 8"/>
          <p:cNvGraphicFramePr>
            <a:graphicFrameLocks noGrp="1"/>
          </p:cNvGraphicFramePr>
          <p:nvPr>
            <p:ph sz="half" idx="1"/>
            <p:extLst>
              <p:ext uri="{D42A27DB-BD31-4B8C-83A1-F6EECF244321}">
                <p14:modId xmlns:p14="http://schemas.microsoft.com/office/powerpoint/2010/main" val="766814254"/>
              </p:ext>
            </p:extLst>
          </p:nvPr>
        </p:nvGraphicFramePr>
        <p:xfrm>
          <a:off x="457200" y="1600200"/>
          <a:ext cx="4835525" cy="452596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48202209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7200" y="419101"/>
            <a:ext cx="8229600" cy="666750"/>
          </a:xfrm>
        </p:spPr>
        <p:txBody>
          <a:bodyPr/>
          <a:lstStyle/>
          <a:p>
            <a:r>
              <a:rPr lang="ja-JP" altLang="en-US" dirty="0" smtClean="0"/>
              <a:t>サマリー</a:t>
            </a:r>
            <a:r>
              <a:rPr lang="en-US" dirty="0"/>
              <a:t/>
            </a:r>
            <a:br>
              <a:rPr lang="en-US" dirty="0"/>
            </a:br>
            <a:endParaRPr lang="en-US" dirty="0"/>
          </a:p>
        </p:txBody>
      </p:sp>
      <p:sp>
        <p:nvSpPr>
          <p:cNvPr id="2" name="Text Placeholder 1"/>
          <p:cNvSpPr>
            <a:spLocks noGrp="1"/>
          </p:cNvSpPr>
          <p:nvPr>
            <p:ph type="body" sz="quarter" idx="12"/>
          </p:nvPr>
        </p:nvSpPr>
        <p:spPr>
          <a:xfrm>
            <a:off x="476250" y="1085850"/>
            <a:ext cx="8229600" cy="5086393"/>
          </a:xfrm>
        </p:spPr>
        <p:txBody>
          <a:bodyPr/>
          <a:lstStyle/>
          <a:p>
            <a:r>
              <a:rPr lang="ja-JP" altLang="en-US" sz="1400" b="0" dirty="0">
                <a:solidFill>
                  <a:schemeClr val="tx1"/>
                </a:solidFill>
              </a:rPr>
              <a:t>サステナブル投資特性と、スマートベータで用いられることの多いリスクファクターには相関関係が存在する。リスクファクター（たとえばサイズ）に投資して、投資リターンの改善を意図している場合、コントロールなしでは意図しない</a:t>
            </a:r>
            <a:r>
              <a:rPr lang="en-US" altLang="ja-JP" sz="1400" b="0" dirty="0">
                <a:solidFill>
                  <a:schemeClr val="tx1"/>
                </a:solidFill>
              </a:rPr>
              <a:t>ESG</a:t>
            </a:r>
            <a:r>
              <a:rPr lang="ja-JP" altLang="en-US" sz="1400" b="0" dirty="0">
                <a:solidFill>
                  <a:schemeClr val="tx1"/>
                </a:solidFill>
              </a:rPr>
              <a:t>のリスクを取ってしまう可能性がある。したがって、ポートフォリオ構築プロセスにおいて必要なのは、超過リターンの源泉と考えるリスクファクターをサステナブル投資の特性および投資哲学（インカムの追求、バリュー投資など）に合わせることや、相関をコントロールし、</a:t>
            </a:r>
            <a:r>
              <a:rPr lang="en-US" altLang="ja-JP" sz="1400" b="0" dirty="0">
                <a:solidFill>
                  <a:schemeClr val="tx1"/>
                </a:solidFill>
              </a:rPr>
              <a:t>TE</a:t>
            </a:r>
            <a:r>
              <a:rPr lang="ja-JP" altLang="en-US" sz="1400" b="0" dirty="0">
                <a:solidFill>
                  <a:schemeClr val="tx1"/>
                </a:solidFill>
              </a:rPr>
              <a:t>を下げることだと言えるだろう。</a:t>
            </a:r>
          </a:p>
          <a:p>
            <a:r>
              <a:rPr lang="ja-JP" altLang="en-US" sz="1400" b="0" dirty="0">
                <a:solidFill>
                  <a:schemeClr val="tx1"/>
                </a:solidFill>
              </a:rPr>
              <a:t>超過リターンを見込む投資目標（バリュー、クオリティ等）とサステナブル投資の目標は、矛盾する場合がある。本稿では、両方の目標を同時に達成するためのフレームワークを提示した。</a:t>
            </a:r>
          </a:p>
          <a:p>
            <a:r>
              <a:rPr lang="ja-JP" altLang="en-US" sz="1400" b="0" dirty="0" smtClean="0">
                <a:solidFill>
                  <a:schemeClr val="tx1"/>
                </a:solidFill>
              </a:rPr>
              <a:t>「</a:t>
            </a:r>
            <a:r>
              <a:rPr lang="ja-JP" altLang="en-US" sz="1400" b="0" dirty="0">
                <a:solidFill>
                  <a:schemeClr val="tx1"/>
                </a:solidFill>
              </a:rPr>
              <a:t>純粋な」低炭素排出ポートフォリオは、</a:t>
            </a:r>
            <a:r>
              <a:rPr lang="en-US" altLang="ja-JP" sz="1400" b="0" dirty="0">
                <a:solidFill>
                  <a:schemeClr val="tx1"/>
                </a:solidFill>
              </a:rPr>
              <a:t>FTSE </a:t>
            </a:r>
            <a:r>
              <a:rPr lang="ja-JP" altLang="en-US" sz="1400" b="0" dirty="0" smtClean="0">
                <a:solidFill>
                  <a:schemeClr val="tx1"/>
                </a:solidFill>
              </a:rPr>
              <a:t>先進国や</a:t>
            </a:r>
            <a:r>
              <a:rPr lang="en-US" altLang="ja-JP" sz="1400" b="0" dirty="0">
                <a:solidFill>
                  <a:schemeClr val="tx1"/>
                </a:solidFill>
              </a:rPr>
              <a:t>FTSE </a:t>
            </a:r>
            <a:r>
              <a:rPr lang="ja-JP" altLang="en-US" sz="1400" b="0" dirty="0" smtClean="0">
                <a:solidFill>
                  <a:schemeClr val="tx1"/>
                </a:solidFill>
              </a:rPr>
              <a:t>エマージングなどのユニバースで</a:t>
            </a:r>
            <a:r>
              <a:rPr lang="ja-JP" altLang="en-US" sz="1400" b="0" dirty="0">
                <a:solidFill>
                  <a:schemeClr val="tx1"/>
                </a:solidFill>
              </a:rPr>
              <a:t>比較的低いトラッキングエラー</a:t>
            </a:r>
            <a:r>
              <a:rPr lang="ja-JP" altLang="en-US" sz="1400" b="0" dirty="0" smtClean="0">
                <a:solidFill>
                  <a:schemeClr val="tx1"/>
                </a:solidFill>
              </a:rPr>
              <a:t>で組成できることがわかった。さらに</a:t>
            </a:r>
            <a:r>
              <a:rPr lang="ja-JP" altLang="en-US" sz="1400" b="0" dirty="0">
                <a:solidFill>
                  <a:schemeClr val="tx1"/>
                </a:solidFill>
              </a:rPr>
              <a:t>、</a:t>
            </a:r>
            <a:r>
              <a:rPr lang="en-US" altLang="ja-JP" sz="1400" b="0" dirty="0">
                <a:solidFill>
                  <a:schemeClr val="tx1"/>
                </a:solidFill>
              </a:rPr>
              <a:t>ESG</a:t>
            </a:r>
            <a:r>
              <a:rPr lang="ja-JP" altLang="en-US" sz="1400" b="0" dirty="0">
                <a:solidFill>
                  <a:schemeClr val="tx1"/>
                </a:solidFill>
              </a:rPr>
              <a:t>エクスポージャーのレベルを上げると、「純粋な」</a:t>
            </a:r>
            <a:r>
              <a:rPr lang="en-US" altLang="ja-JP" sz="1400" b="0" dirty="0">
                <a:solidFill>
                  <a:schemeClr val="tx1"/>
                </a:solidFill>
              </a:rPr>
              <a:t>ESG</a:t>
            </a:r>
            <a:r>
              <a:rPr lang="ja-JP" altLang="en-US" sz="1400" b="0" dirty="0" smtClean="0">
                <a:solidFill>
                  <a:schemeClr val="tx1"/>
                </a:solidFill>
              </a:rPr>
              <a:t>ポートフォリオにおいては単調</a:t>
            </a:r>
            <a:r>
              <a:rPr lang="ja-JP" altLang="en-US" sz="1400" b="0" dirty="0">
                <a:solidFill>
                  <a:schemeClr val="tx1"/>
                </a:solidFill>
              </a:rPr>
              <a:t>に増加</a:t>
            </a:r>
            <a:r>
              <a:rPr lang="ja-JP" altLang="en-US" sz="1400" b="0" dirty="0" smtClean="0">
                <a:solidFill>
                  <a:schemeClr val="tx1"/>
                </a:solidFill>
              </a:rPr>
              <a:t>する超過リターンが</a:t>
            </a:r>
            <a:r>
              <a:rPr lang="ja-JP" altLang="en-US" sz="1400" b="0" dirty="0">
                <a:solidFill>
                  <a:schemeClr val="tx1"/>
                </a:solidFill>
              </a:rPr>
              <a:t>観察</a:t>
            </a:r>
            <a:r>
              <a:rPr lang="ja-JP" altLang="en-US" sz="1400" b="0" dirty="0" smtClean="0">
                <a:solidFill>
                  <a:schemeClr val="tx1"/>
                </a:solidFill>
              </a:rPr>
              <a:t>され、「純粋ではない」</a:t>
            </a:r>
            <a:r>
              <a:rPr lang="en-US" altLang="ja-JP" sz="1400" b="0" dirty="0" smtClean="0">
                <a:solidFill>
                  <a:schemeClr val="tx1"/>
                </a:solidFill>
              </a:rPr>
              <a:t>ESG</a:t>
            </a:r>
            <a:r>
              <a:rPr lang="ja-JP" altLang="en-US" sz="1400" b="0" dirty="0">
                <a:solidFill>
                  <a:schemeClr val="tx1"/>
                </a:solidFill>
              </a:rPr>
              <a:t>ポートフォリオ</a:t>
            </a:r>
            <a:r>
              <a:rPr lang="ja-JP" altLang="en-US" sz="1400" b="0" dirty="0" smtClean="0">
                <a:solidFill>
                  <a:schemeClr val="tx1"/>
                </a:solidFill>
              </a:rPr>
              <a:t>ではそのような関係は観察されなかった。これ</a:t>
            </a:r>
            <a:r>
              <a:rPr lang="ja-JP" altLang="en-US" sz="1400" b="0" dirty="0">
                <a:solidFill>
                  <a:schemeClr val="tx1"/>
                </a:solidFill>
              </a:rPr>
              <a:t>は、</a:t>
            </a:r>
            <a:r>
              <a:rPr lang="en-US" altLang="ja-JP" sz="1400" b="0" dirty="0">
                <a:solidFill>
                  <a:schemeClr val="tx1"/>
                </a:solidFill>
              </a:rPr>
              <a:t>ESG</a:t>
            </a:r>
            <a:r>
              <a:rPr lang="ja-JP" altLang="en-US" sz="1400" b="0" dirty="0">
                <a:solidFill>
                  <a:schemeClr val="tx1"/>
                </a:solidFill>
              </a:rPr>
              <a:t>ポートフォリオを構築する際に意図</a:t>
            </a:r>
            <a:r>
              <a:rPr lang="ja-JP" altLang="en-US" sz="1400" b="0" dirty="0" smtClean="0">
                <a:solidFill>
                  <a:schemeClr val="tx1"/>
                </a:solidFill>
              </a:rPr>
              <a:t>しないファクターエクスポージャー</a:t>
            </a:r>
            <a:r>
              <a:rPr lang="ja-JP" altLang="en-US" sz="1400" b="0" dirty="0">
                <a:solidFill>
                  <a:schemeClr val="tx1"/>
                </a:solidFill>
              </a:rPr>
              <a:t>を制御することの重要性を意味し、</a:t>
            </a:r>
            <a:r>
              <a:rPr lang="en-US" altLang="ja-JP" sz="1400" b="0" dirty="0">
                <a:solidFill>
                  <a:schemeClr val="tx1"/>
                </a:solidFill>
              </a:rPr>
              <a:t>ESG</a:t>
            </a:r>
            <a:r>
              <a:rPr lang="ja-JP" altLang="en-US" sz="1400" b="0" dirty="0">
                <a:solidFill>
                  <a:schemeClr val="tx1"/>
                </a:solidFill>
              </a:rPr>
              <a:t>特性に対するリターンプレミアムの存在を示唆</a:t>
            </a:r>
            <a:r>
              <a:rPr lang="ja-JP" altLang="en-US" sz="1400" b="0" dirty="0" smtClean="0">
                <a:solidFill>
                  <a:schemeClr val="tx1"/>
                </a:solidFill>
              </a:rPr>
              <a:t>する可能性もあると考えている。</a:t>
            </a:r>
            <a:r>
              <a:rPr lang="en-GB" sz="1400" b="0" dirty="0" smtClean="0">
                <a:solidFill>
                  <a:schemeClr val="tx1"/>
                </a:solidFill>
              </a:rPr>
              <a:t> </a:t>
            </a:r>
          </a:p>
          <a:p>
            <a:r>
              <a:rPr lang="ja-JP" altLang="en-US" sz="1400" b="0" dirty="0">
                <a:solidFill>
                  <a:schemeClr val="tx1"/>
                </a:solidFill>
              </a:rPr>
              <a:t>ただし、リターンプレミアムの存在については、その源泉は何なのかという根源的な問いに対する答えは見つかっておらず、また期間やユニバースの変更を含めた頑健性のチェックも必要であることは言うまでもない</a:t>
            </a:r>
            <a:r>
              <a:rPr lang="ja-JP" altLang="en-US" sz="1400" b="0" dirty="0" smtClean="0">
                <a:solidFill>
                  <a:schemeClr val="tx1"/>
                </a:solidFill>
              </a:rPr>
              <a:t>。</a:t>
            </a:r>
            <a:endParaRPr lang="en-US" altLang="ja-JP" sz="1400" b="0" dirty="0" smtClean="0">
              <a:solidFill>
                <a:schemeClr val="tx1"/>
              </a:solidFill>
            </a:endParaRPr>
          </a:p>
        </p:txBody>
      </p:sp>
    </p:spTree>
    <p:extLst>
      <p:ext uri="{BB962C8B-B14F-4D97-AF65-F5344CB8AC3E}">
        <p14:creationId xmlns:p14="http://schemas.microsoft.com/office/powerpoint/2010/main" val="216888776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Important information</a:t>
            </a:r>
          </a:p>
        </p:txBody>
      </p:sp>
      <p:sp>
        <p:nvSpPr>
          <p:cNvPr id="5" name="Text Placeholder 4"/>
          <p:cNvSpPr>
            <a:spLocks noGrp="1"/>
          </p:cNvSpPr>
          <p:nvPr>
            <p:ph type="body" sz="quarter" idx="12"/>
          </p:nvPr>
        </p:nvSpPr>
        <p:spPr>
          <a:xfrm>
            <a:off x="438150" y="936668"/>
            <a:ext cx="8229600" cy="5516895"/>
          </a:xfrm>
        </p:spPr>
        <p:txBody>
          <a:bodyPr>
            <a:spAutoFit/>
          </a:bodyPr>
          <a:lstStyle/>
          <a:p>
            <a:pPr marL="0" indent="0">
              <a:buNone/>
            </a:pPr>
            <a:r>
              <a:rPr lang="en-GB" sz="900" b="0" dirty="0" smtClean="0">
                <a:solidFill>
                  <a:schemeClr val="tx1">
                    <a:lumMod val="75000"/>
                    <a:lumOff val="25000"/>
                  </a:schemeClr>
                </a:solidFill>
              </a:rPr>
              <a:t>© </a:t>
            </a:r>
            <a:r>
              <a:rPr lang="en-GB" sz="900" b="0" dirty="0">
                <a:solidFill>
                  <a:schemeClr val="tx1">
                    <a:lumMod val="75000"/>
                    <a:lumOff val="25000"/>
                  </a:schemeClr>
                </a:solidFill>
              </a:rPr>
              <a:t>2019 London Stock Exchange Group plc and its applicable group undertakings (the “LSE Group”). The LSE Group includes (1) FTSE International Limited (“FTSE”), (2) Frank Russell Company (“Russell”), (3) FTSE Global Debt Capital Markets Inc. and FTSE Global Debt Capital Markets Limited (together, “FTSE Canada”), (4) </a:t>
            </a:r>
            <a:r>
              <a:rPr lang="en-GB" sz="900" b="0" dirty="0" err="1">
                <a:solidFill>
                  <a:schemeClr val="tx1">
                    <a:lumMod val="75000"/>
                    <a:lumOff val="25000"/>
                  </a:schemeClr>
                </a:solidFill>
              </a:rPr>
              <a:t>MTSNext</a:t>
            </a:r>
            <a:r>
              <a:rPr lang="en-GB" sz="900" b="0" dirty="0">
                <a:solidFill>
                  <a:schemeClr val="tx1">
                    <a:lumMod val="75000"/>
                    <a:lumOff val="25000"/>
                  </a:schemeClr>
                </a:solidFill>
              </a:rPr>
              <a:t> Limited (“</a:t>
            </a:r>
            <a:r>
              <a:rPr lang="en-GB" sz="900" b="0" dirty="0" err="1">
                <a:solidFill>
                  <a:schemeClr val="tx1">
                    <a:lumMod val="75000"/>
                    <a:lumOff val="25000"/>
                  </a:schemeClr>
                </a:solidFill>
              </a:rPr>
              <a:t>MTSNext</a:t>
            </a:r>
            <a:r>
              <a:rPr lang="en-GB" sz="900" b="0" dirty="0">
                <a:solidFill>
                  <a:schemeClr val="tx1">
                    <a:lumMod val="75000"/>
                    <a:lumOff val="25000"/>
                  </a:schemeClr>
                </a:solidFill>
              </a:rPr>
              <a:t>”), (5) </a:t>
            </a:r>
            <a:r>
              <a:rPr lang="en-GB" sz="900" b="0" dirty="0" err="1">
                <a:solidFill>
                  <a:schemeClr val="tx1">
                    <a:lumMod val="75000"/>
                    <a:lumOff val="25000"/>
                  </a:schemeClr>
                </a:solidFill>
              </a:rPr>
              <a:t>Mergent</a:t>
            </a:r>
            <a:r>
              <a:rPr lang="en-GB" sz="900" b="0" dirty="0">
                <a:solidFill>
                  <a:schemeClr val="tx1">
                    <a:lumMod val="75000"/>
                    <a:lumOff val="25000"/>
                  </a:schemeClr>
                </a:solidFill>
              </a:rPr>
              <a:t>, Inc. (“</a:t>
            </a:r>
            <a:r>
              <a:rPr lang="en-GB" sz="900" b="0" dirty="0" err="1">
                <a:solidFill>
                  <a:schemeClr val="tx1">
                    <a:lumMod val="75000"/>
                    <a:lumOff val="25000"/>
                  </a:schemeClr>
                </a:solidFill>
              </a:rPr>
              <a:t>Mergent</a:t>
            </a:r>
            <a:r>
              <a:rPr lang="en-GB" sz="900" b="0" dirty="0">
                <a:solidFill>
                  <a:schemeClr val="tx1">
                    <a:lumMod val="75000"/>
                    <a:lumOff val="25000"/>
                  </a:schemeClr>
                </a:solidFill>
              </a:rPr>
              <a:t>”), (6) FTSE Fixed Income LLC (“FTSE FI”) and (7) The Yield Book </a:t>
            </a:r>
            <a:r>
              <a:rPr lang="en-GB" sz="900" b="0" dirty="0" err="1">
                <a:solidFill>
                  <a:schemeClr val="tx1">
                    <a:lumMod val="75000"/>
                    <a:lumOff val="25000"/>
                  </a:schemeClr>
                </a:solidFill>
              </a:rPr>
              <a:t>Inc</a:t>
            </a:r>
            <a:r>
              <a:rPr lang="en-GB" sz="900" b="0" dirty="0">
                <a:solidFill>
                  <a:schemeClr val="tx1">
                    <a:lumMod val="75000"/>
                    <a:lumOff val="25000"/>
                  </a:schemeClr>
                </a:solidFill>
              </a:rPr>
              <a:t> (“YB”). All rights reserved. </a:t>
            </a:r>
          </a:p>
          <a:p>
            <a:pPr marL="0" indent="0">
              <a:buNone/>
            </a:pPr>
            <a:r>
              <a:rPr lang="en-GB" sz="900" b="0" dirty="0">
                <a:solidFill>
                  <a:schemeClr val="tx1">
                    <a:lumMod val="75000"/>
                    <a:lumOff val="25000"/>
                  </a:schemeClr>
                </a:solidFill>
              </a:rPr>
              <a:t>FTSE Russell® is a trading name of FTSE, Russell, FTSE Canada, </a:t>
            </a:r>
            <a:r>
              <a:rPr lang="en-GB" sz="900" b="0" dirty="0" err="1">
                <a:solidFill>
                  <a:schemeClr val="tx1">
                    <a:lumMod val="75000"/>
                    <a:lumOff val="25000"/>
                  </a:schemeClr>
                </a:solidFill>
              </a:rPr>
              <a:t>MTSNext</a:t>
            </a:r>
            <a:r>
              <a:rPr lang="en-GB" sz="900" b="0" dirty="0">
                <a:solidFill>
                  <a:schemeClr val="tx1">
                    <a:lumMod val="75000"/>
                    <a:lumOff val="25000"/>
                  </a:schemeClr>
                </a:solidFill>
              </a:rPr>
              <a:t>, </a:t>
            </a:r>
            <a:r>
              <a:rPr lang="en-GB" sz="900" b="0" dirty="0" err="1">
                <a:solidFill>
                  <a:schemeClr val="tx1">
                    <a:lumMod val="75000"/>
                    <a:lumOff val="25000"/>
                  </a:schemeClr>
                </a:solidFill>
              </a:rPr>
              <a:t>Mergent</a:t>
            </a:r>
            <a:r>
              <a:rPr lang="en-GB" sz="900" b="0" dirty="0">
                <a:solidFill>
                  <a:schemeClr val="tx1">
                    <a:lumMod val="75000"/>
                    <a:lumOff val="25000"/>
                  </a:schemeClr>
                </a:solidFill>
              </a:rPr>
              <a:t>, FTSE FI, YB. “FTSE®”, “Russell®”, “FTSE Russell®”, “MTS®”, “FTSE4Good®”, “ICB®”, “</a:t>
            </a:r>
            <a:r>
              <a:rPr lang="en-GB" sz="900" b="0" dirty="0" err="1">
                <a:solidFill>
                  <a:schemeClr val="tx1">
                    <a:lumMod val="75000"/>
                    <a:lumOff val="25000"/>
                  </a:schemeClr>
                </a:solidFill>
              </a:rPr>
              <a:t>Mergent</a:t>
            </a:r>
            <a:r>
              <a:rPr lang="en-GB" sz="900" b="0" dirty="0">
                <a:solidFill>
                  <a:schemeClr val="tx1">
                    <a:lumMod val="75000"/>
                    <a:lumOff val="25000"/>
                  </a:schemeClr>
                </a:solidFill>
              </a:rPr>
              <a:t>®”, “The Yield Book®”  and all other trademarks and service marks used herein (whether registered or unregistered) are trademarks and/or service marks owned or licensed by the applicable member of the LSE Group or their respective licensors and are owned, or used under licence, by FTSE, Russell, </a:t>
            </a:r>
            <a:r>
              <a:rPr lang="en-GB" sz="900" b="0" dirty="0" err="1">
                <a:solidFill>
                  <a:schemeClr val="tx1">
                    <a:lumMod val="75000"/>
                    <a:lumOff val="25000"/>
                  </a:schemeClr>
                </a:solidFill>
              </a:rPr>
              <a:t>MTSNext</a:t>
            </a:r>
            <a:r>
              <a:rPr lang="en-GB" sz="900" b="0" dirty="0">
                <a:solidFill>
                  <a:schemeClr val="tx1">
                    <a:lumMod val="75000"/>
                    <a:lumOff val="25000"/>
                  </a:schemeClr>
                </a:solidFill>
              </a:rPr>
              <a:t>, FTSE Canada, </a:t>
            </a:r>
            <a:r>
              <a:rPr lang="en-GB" sz="900" b="0" dirty="0" err="1">
                <a:solidFill>
                  <a:schemeClr val="tx1">
                    <a:lumMod val="75000"/>
                    <a:lumOff val="25000"/>
                  </a:schemeClr>
                </a:solidFill>
              </a:rPr>
              <a:t>Mergent</a:t>
            </a:r>
            <a:r>
              <a:rPr lang="en-GB" sz="900" b="0" dirty="0">
                <a:solidFill>
                  <a:schemeClr val="tx1">
                    <a:lumMod val="75000"/>
                    <a:lumOff val="25000"/>
                  </a:schemeClr>
                </a:solidFill>
              </a:rPr>
              <a:t>,  FTSE FI, YB.  FTSE International Limited is authorised and regulated by the Financial Conduct Authority as a benchmark administrator.</a:t>
            </a:r>
          </a:p>
          <a:p>
            <a:pPr marL="0" indent="0">
              <a:buNone/>
            </a:pPr>
            <a:r>
              <a:rPr lang="en-GB" sz="900" b="0" dirty="0">
                <a:solidFill>
                  <a:schemeClr val="tx1">
                    <a:lumMod val="75000"/>
                    <a:lumOff val="25000"/>
                  </a:schemeClr>
                </a:solidFill>
              </a:rPr>
              <a:t>All information is provided for information purposes only. All information and data contained in this publication is obtained by the LSE Group, from sources believed by it to be accurate and reliable. Because of the possibility of human and mechanical error as well as other factors, however, such information and data is provided "as is" without warranty of any kind. No member of the LSE Group nor their respective directors, officers, employees, partners or licensors make any claim, prediction, warranty or representation whatsoever, expressly or impliedly, either as to the accuracy, timeliness, completeness, merchantability of any information or of results to be obtained from the use of FTSE Russell indexes or the fitness or suitability of the FTSE Russell indexes for any particular purpose to which they might be put. Any representation of historical data accessible through FTSE Russell indexes is provided for information purposes only and is not a reliable indicator of future performance.</a:t>
            </a:r>
          </a:p>
          <a:p>
            <a:pPr marL="0" indent="0">
              <a:buNone/>
            </a:pPr>
            <a:r>
              <a:rPr lang="en-GB" sz="900" b="0" dirty="0">
                <a:solidFill>
                  <a:schemeClr val="tx1">
                    <a:lumMod val="75000"/>
                    <a:lumOff val="25000"/>
                  </a:schemeClr>
                </a:solidFill>
              </a:rPr>
              <a:t>No responsibility or liability can be accepted by any member of the LSE Group nor their respective directors, officers, employees, partners or licensors for (a) any loss or damage in whole or in part caused by, resulting from, or relating to any error (negligent or otherwise) or other circumstance involved in procuring, collecting, compiling, interpreting, analysing, editing, transcribing, transmitting, communicating or delivering any such information or data or from use of this document or links to this document or (b) any direct, indirect, special, consequential or incidental damages whatsoever, even if any member of the LSE Group is advised in advance of the possibility of such damages, resulting from the use of, or inability to use, such information. </a:t>
            </a:r>
          </a:p>
          <a:p>
            <a:pPr marL="0" indent="0">
              <a:buNone/>
            </a:pPr>
            <a:r>
              <a:rPr lang="en-GB" sz="900" b="0" dirty="0">
                <a:solidFill>
                  <a:schemeClr val="tx1">
                    <a:lumMod val="75000"/>
                    <a:lumOff val="25000"/>
                  </a:schemeClr>
                </a:solidFill>
              </a:rPr>
              <a:t>No member of the LSE Group nor their respective directors, officers, employees, partners or licensors provide investment advice and nothing contained in this document or accessible through FTSE Russell indexes, including statistical data and industry reports, should be taken as constituting financial or investment advice or a financial promotion. </a:t>
            </a:r>
          </a:p>
          <a:p>
            <a:pPr marL="0" indent="0">
              <a:buNone/>
            </a:pPr>
            <a:r>
              <a:rPr lang="en-GB" sz="900" b="0" dirty="0">
                <a:solidFill>
                  <a:schemeClr val="tx1">
                    <a:lumMod val="75000"/>
                    <a:lumOff val="25000"/>
                  </a:schemeClr>
                </a:solidFill>
              </a:rPr>
              <a:t>Past performance is no guarantee of future results. Charts and graphs are provided for illustrative purposes only. Index returns shown may not represent the results of the actual trading of investable assets. Certain returns shown may reflect back-tested performance. All performance presented prior to the index inception date is back-tested performance. Back-tested performance is not actual performance, but is hypothetical. The back-test calculations are based on the same methodology that was in effect when the index was officially launched. However, back- tested data may reflect the application of the index methodology with the benefit of hindsight, and the historic calculations of an index may change from month to month based on revisions to the underlying economic data used in the calculation of the index. </a:t>
            </a:r>
          </a:p>
          <a:p>
            <a:pPr marL="0" indent="0">
              <a:buNone/>
            </a:pPr>
            <a:r>
              <a:rPr lang="en-GB" sz="900" b="0" dirty="0">
                <a:solidFill>
                  <a:schemeClr val="tx1">
                    <a:lumMod val="75000"/>
                    <a:lumOff val="25000"/>
                  </a:schemeClr>
                </a:solidFill>
              </a:rPr>
              <a:t>This publication may contain forward-looking assessments. These are based upon a number of assumptions concerning future conditions that ultimately may prove to be inaccurate. Such forward-looking assessments are subject to risks and uncertainties and may be affected by various factors that may cause actual results to differ materially. No member of the LSE Group nor their licensors assume any duty to and do not undertake to update forward-looking </a:t>
            </a:r>
            <a:r>
              <a:rPr lang="en-GB" sz="900" b="0" dirty="0" smtClean="0">
                <a:solidFill>
                  <a:schemeClr val="tx1">
                    <a:lumMod val="75000"/>
                    <a:lumOff val="25000"/>
                  </a:schemeClr>
                </a:solidFill>
              </a:rPr>
              <a:t>assessments. </a:t>
            </a:r>
          </a:p>
          <a:p>
            <a:pPr marL="0" indent="0">
              <a:buNone/>
            </a:pPr>
            <a:endParaRPr lang="en-US" sz="900" b="0" dirty="0" smtClean="0">
              <a:solidFill>
                <a:schemeClr val="tx1">
                  <a:lumMod val="75000"/>
                  <a:lumOff val="25000"/>
                </a:schemeClr>
              </a:solidFill>
            </a:endParaRPr>
          </a:p>
        </p:txBody>
      </p:sp>
    </p:spTree>
    <p:extLst>
      <p:ext uri="{BB962C8B-B14F-4D97-AF65-F5344CB8AC3E}">
        <p14:creationId xmlns:p14="http://schemas.microsoft.com/office/powerpoint/2010/main" val="72111977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smtClean="0"/>
              <a:t>要約</a:t>
            </a:r>
            <a:r>
              <a:rPr lang="en-GB" dirty="0" smtClean="0"/>
              <a:t> </a:t>
            </a:r>
            <a:endParaRPr lang="en-GB" dirty="0"/>
          </a:p>
        </p:txBody>
      </p:sp>
      <p:sp>
        <p:nvSpPr>
          <p:cNvPr id="3" name="Text Placeholder 2"/>
          <p:cNvSpPr>
            <a:spLocks noGrp="1"/>
          </p:cNvSpPr>
          <p:nvPr>
            <p:ph type="body" sz="quarter" idx="12"/>
          </p:nvPr>
        </p:nvSpPr>
        <p:spPr>
          <a:xfrm>
            <a:off x="457200" y="1000125"/>
            <a:ext cx="8229600" cy="4943518"/>
          </a:xfrm>
        </p:spPr>
        <p:txBody>
          <a:bodyPr/>
          <a:lstStyle/>
          <a:p>
            <a:r>
              <a:rPr lang="ja-JP" altLang="en-US" sz="1400" b="0" dirty="0" smtClean="0"/>
              <a:t>地球</a:t>
            </a:r>
            <a:r>
              <a:rPr lang="ja-JP" altLang="en-US" sz="1400" b="0" dirty="0"/>
              <a:t>温暖化対策が加速する中、アセットオーナー（特に欧州）は、低炭素社会への移行に伴う投資リスクをヘッジするための、長期的なインデックスソリューションを求めている。サステナブル投資における指数あるいはファンドの設計においては、サステナブル投資の特性値と、従来から用いられているリスクファクター（スタイル、セクター、マクロ感応度など）との間の相関関係を認識し、制御することが重要と考えている</a:t>
            </a:r>
            <a:r>
              <a:rPr lang="ja-JP" altLang="en-US" sz="1400" b="0" dirty="0" smtClean="0"/>
              <a:t>。</a:t>
            </a:r>
            <a:endParaRPr lang="en-GB" sz="1400" b="0" dirty="0" smtClean="0"/>
          </a:p>
          <a:p>
            <a:endParaRPr lang="en-GB" sz="1400" b="0" dirty="0"/>
          </a:p>
          <a:p>
            <a:r>
              <a:rPr lang="ja-JP" altLang="en-US" sz="1400" b="0" dirty="0" smtClean="0"/>
              <a:t>本稿</a:t>
            </a:r>
            <a:r>
              <a:rPr lang="ja-JP" altLang="en-US" sz="1400" b="0" dirty="0"/>
              <a:t>では、特定のファクターエクスポージャを達成するための、透明でフレキシブルなフレームワークを提案する。このフレームワークでは、サステナブル投資の特性値やファクターエクスポージャが時間軸で変動するリスクを制御し、ベンチマークと同じレベルに中立化することも可能となる。結果として、目標とするサステナブル投資の特性値を達成しながら、他のファクターエクスポージャは中立化した「純粋な」サステナブル投資・ポートフォリオを作成することができる</a:t>
            </a:r>
            <a:r>
              <a:rPr lang="ja-JP" altLang="en-US" sz="1400" b="0" dirty="0" smtClean="0"/>
              <a:t>。</a:t>
            </a:r>
            <a:endParaRPr lang="en-US" altLang="ja-JP" sz="1400" b="0" dirty="0" smtClean="0"/>
          </a:p>
          <a:p>
            <a:endParaRPr lang="en-GB" sz="1400" b="0" dirty="0"/>
          </a:p>
          <a:p>
            <a:r>
              <a:rPr lang="ja-JP" altLang="en-US" sz="1400" b="0" dirty="0" smtClean="0"/>
              <a:t>実証</a:t>
            </a:r>
            <a:r>
              <a:rPr lang="ja-JP" altLang="en-US" sz="1400" b="0" dirty="0"/>
              <a:t>分析の結果、「純粋な」低炭素排出ティルト・ポートフォリオは、</a:t>
            </a:r>
            <a:r>
              <a:rPr lang="en-US" altLang="ja-JP" sz="1400" b="0" dirty="0"/>
              <a:t>FTSE </a:t>
            </a:r>
            <a:r>
              <a:rPr lang="ja-JP" altLang="en-US" sz="1400" b="0" dirty="0"/>
              <a:t>先進国指数や</a:t>
            </a:r>
            <a:r>
              <a:rPr lang="en-US" altLang="ja-JP" sz="1400" b="0" dirty="0"/>
              <a:t>FTSE </a:t>
            </a:r>
            <a:r>
              <a:rPr lang="ja-JP" altLang="en-US" sz="1400" b="0" dirty="0"/>
              <a:t>エマージング指数などの多様なユニバースに対して比較的低いトラッキングエラーで作成可能であることがわかった。また、</a:t>
            </a:r>
            <a:r>
              <a:rPr lang="en-US" altLang="ja-JP" sz="1400" b="0" dirty="0"/>
              <a:t>ESG</a:t>
            </a:r>
            <a:r>
              <a:rPr lang="ja-JP" altLang="en-US" sz="1400" b="0" dirty="0"/>
              <a:t>エクスポージャーの目標レベルを上げると、「純粋な」</a:t>
            </a:r>
            <a:r>
              <a:rPr lang="en-US" altLang="ja-JP" sz="1400" b="0" dirty="0"/>
              <a:t>ESG</a:t>
            </a:r>
            <a:r>
              <a:rPr lang="ja-JP" altLang="en-US" sz="1400" b="0" dirty="0"/>
              <a:t>ティルト・ポートフォリオからは単調増加の超過リターンが観察され、単純な</a:t>
            </a:r>
            <a:r>
              <a:rPr lang="en-US" altLang="ja-JP" sz="1400" b="0" dirty="0"/>
              <a:t>ESG</a:t>
            </a:r>
            <a:r>
              <a:rPr lang="ja-JP" altLang="en-US" sz="1400" b="0" dirty="0"/>
              <a:t>ティルト・ポートフォリオからはそのような関係は観察されなかった。これは、</a:t>
            </a:r>
            <a:r>
              <a:rPr lang="en-US" altLang="ja-JP" sz="1400" b="0" dirty="0"/>
              <a:t>ESG</a:t>
            </a:r>
            <a:r>
              <a:rPr lang="ja-JP" altLang="en-US" sz="1400" b="0" dirty="0"/>
              <a:t>ティルト・ポートフォリオを構築する際には、意図しないファクターのエクスポージャーを制御する重要性を示唆しており、</a:t>
            </a:r>
            <a:r>
              <a:rPr lang="en-US" altLang="ja-JP" sz="1400" b="0" dirty="0"/>
              <a:t>ESG</a:t>
            </a:r>
            <a:r>
              <a:rPr lang="ja-JP" altLang="en-US" sz="1400" b="0" dirty="0"/>
              <a:t>特性値に対するリターンプレミアムの存在を示唆している可能性もある</a:t>
            </a:r>
            <a:r>
              <a:rPr lang="ja-JP" altLang="en-US" sz="1400" b="0" dirty="0" smtClean="0"/>
              <a:t>。</a:t>
            </a:r>
            <a:endParaRPr lang="en-GB" sz="1400" b="0" dirty="0"/>
          </a:p>
        </p:txBody>
      </p:sp>
    </p:spTree>
    <p:extLst>
      <p:ext uri="{BB962C8B-B14F-4D97-AF65-F5344CB8AC3E}">
        <p14:creationId xmlns:p14="http://schemas.microsoft.com/office/powerpoint/2010/main" val="247789401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dirty="0" smtClean="0"/>
              <a:t>1. </a:t>
            </a:r>
            <a:r>
              <a:rPr lang="ja-JP" altLang="en-US" dirty="0" smtClean="0"/>
              <a:t>相関</a:t>
            </a:r>
            <a:r>
              <a:rPr lang="ja-JP" altLang="en-US" dirty="0"/>
              <a:t>に</a:t>
            </a:r>
            <a:r>
              <a:rPr lang="ja-JP" altLang="en-US" dirty="0" smtClean="0"/>
              <a:t>より、リスクが集中</a:t>
            </a:r>
            <a:r>
              <a:rPr lang="en-GB" dirty="0" smtClean="0"/>
              <a:t> </a:t>
            </a:r>
            <a:endParaRPr lang="en-GB" dirty="0"/>
          </a:p>
        </p:txBody>
      </p:sp>
      <p:sp>
        <p:nvSpPr>
          <p:cNvPr id="3" name="Text Placeholder 2"/>
          <p:cNvSpPr>
            <a:spLocks noGrp="1"/>
          </p:cNvSpPr>
          <p:nvPr>
            <p:ph type="body" sz="quarter" idx="12"/>
          </p:nvPr>
        </p:nvSpPr>
        <p:spPr>
          <a:xfrm>
            <a:off x="457200" y="942975"/>
            <a:ext cx="8229600" cy="5000668"/>
          </a:xfrm>
        </p:spPr>
        <p:txBody>
          <a:bodyPr/>
          <a:lstStyle/>
          <a:p>
            <a:r>
              <a:rPr lang="ja-JP" altLang="en-US" sz="1800" b="0" dirty="0" smtClean="0">
                <a:solidFill>
                  <a:schemeClr val="tx1"/>
                </a:solidFill>
              </a:rPr>
              <a:t>次</a:t>
            </a:r>
            <a:r>
              <a:rPr lang="ja-JP" altLang="en-US" sz="1800" b="0" dirty="0">
                <a:solidFill>
                  <a:schemeClr val="tx1"/>
                </a:solidFill>
              </a:rPr>
              <a:t>の定義を使用して</a:t>
            </a:r>
            <a:r>
              <a:rPr lang="ja-JP" altLang="en-US" sz="1800" b="0" dirty="0" smtClean="0">
                <a:solidFill>
                  <a:schemeClr val="tx1"/>
                </a:solidFill>
              </a:rPr>
              <a:t>、サステナブル投資の</a:t>
            </a:r>
            <a:r>
              <a:rPr lang="ja-JP" altLang="en-US" sz="1800" b="0" dirty="0">
                <a:solidFill>
                  <a:schemeClr val="tx1"/>
                </a:solidFill>
              </a:rPr>
              <a:t>特性</a:t>
            </a:r>
            <a:r>
              <a:rPr lang="ja-JP" altLang="en-US" sz="1800" b="0" dirty="0" smtClean="0">
                <a:solidFill>
                  <a:schemeClr val="tx1"/>
                </a:solidFill>
              </a:rPr>
              <a:t>を分析する</a:t>
            </a:r>
            <a:endParaRPr lang="en-GB" sz="1800" b="0" dirty="0">
              <a:solidFill>
                <a:schemeClr val="tx1"/>
              </a:solidFill>
            </a:endParaRPr>
          </a:p>
          <a:p>
            <a:pPr lvl="1"/>
            <a:r>
              <a:rPr lang="ja-JP" altLang="en-US" sz="1400" b="0" dirty="0" smtClean="0">
                <a:solidFill>
                  <a:schemeClr val="bg1">
                    <a:lumMod val="50000"/>
                  </a:schemeClr>
                </a:solidFill>
              </a:rPr>
              <a:t>炭素集約度</a:t>
            </a:r>
            <a:r>
              <a:rPr lang="ja-JP" altLang="en-US" sz="1400" dirty="0" smtClean="0">
                <a:solidFill>
                  <a:schemeClr val="bg1">
                    <a:lumMod val="50000"/>
                  </a:schemeClr>
                </a:solidFill>
              </a:rPr>
              <a:t>の指標（</a:t>
            </a:r>
            <a:r>
              <a:rPr lang="en-US" altLang="ja-JP" sz="1400" dirty="0">
                <a:solidFill>
                  <a:schemeClr val="bg1">
                    <a:lumMod val="50000"/>
                  </a:schemeClr>
                </a:solidFill>
              </a:rPr>
              <a:t>CO2</a:t>
            </a:r>
            <a:r>
              <a:rPr lang="ja-JP" altLang="en-US" sz="1400" dirty="0">
                <a:solidFill>
                  <a:schemeClr val="bg1">
                    <a:lumMod val="50000"/>
                  </a:schemeClr>
                </a:solidFill>
              </a:rPr>
              <a:t>換算重量</a:t>
            </a:r>
            <a:r>
              <a:rPr lang="en-US" altLang="ja-JP" sz="1400" dirty="0">
                <a:solidFill>
                  <a:schemeClr val="bg1">
                    <a:lumMod val="50000"/>
                  </a:schemeClr>
                </a:solidFill>
              </a:rPr>
              <a:t>[</a:t>
            </a:r>
            <a:r>
              <a:rPr lang="ja-JP" altLang="en-US" sz="1400" dirty="0">
                <a:solidFill>
                  <a:schemeClr val="bg1">
                    <a:lumMod val="50000"/>
                  </a:schemeClr>
                </a:solidFill>
              </a:rPr>
              <a:t>トン</a:t>
            </a:r>
            <a:r>
              <a:rPr lang="en-US" altLang="ja-JP" sz="1400" dirty="0">
                <a:solidFill>
                  <a:schemeClr val="bg1">
                    <a:lumMod val="50000"/>
                  </a:schemeClr>
                </a:solidFill>
              </a:rPr>
              <a:t>]</a:t>
            </a:r>
            <a:r>
              <a:rPr lang="ja-JP" altLang="en-US" sz="1400" dirty="0">
                <a:solidFill>
                  <a:schemeClr val="bg1">
                    <a:lumMod val="50000"/>
                  </a:schemeClr>
                </a:solidFill>
              </a:rPr>
              <a:t> </a:t>
            </a:r>
            <a:r>
              <a:rPr lang="en-US" altLang="ja-JP" sz="1400" dirty="0">
                <a:solidFill>
                  <a:schemeClr val="bg1">
                    <a:lumMod val="50000"/>
                  </a:schemeClr>
                </a:solidFill>
              </a:rPr>
              <a:t>/ </a:t>
            </a:r>
            <a:r>
              <a:rPr lang="ja-JP" altLang="en-US" sz="1400" dirty="0" smtClean="0">
                <a:solidFill>
                  <a:schemeClr val="bg1">
                    <a:lumMod val="50000"/>
                  </a:schemeClr>
                </a:solidFill>
              </a:rPr>
              <a:t>売上高</a:t>
            </a:r>
            <a:r>
              <a:rPr lang="en-US" altLang="ja-JP" sz="1400" dirty="0" smtClean="0">
                <a:solidFill>
                  <a:schemeClr val="bg1">
                    <a:lumMod val="50000"/>
                  </a:schemeClr>
                </a:solidFill>
              </a:rPr>
              <a:t>[</a:t>
            </a:r>
            <a:r>
              <a:rPr lang="ja-JP" altLang="en-US" sz="1400" dirty="0" smtClean="0">
                <a:solidFill>
                  <a:schemeClr val="bg1">
                    <a:lumMod val="50000"/>
                  </a:schemeClr>
                </a:solidFill>
              </a:rPr>
              <a:t>百万ドル</a:t>
            </a:r>
            <a:r>
              <a:rPr lang="en-US" altLang="ja-JP" sz="1400" dirty="0">
                <a:solidFill>
                  <a:schemeClr val="bg1">
                    <a:lumMod val="50000"/>
                  </a:schemeClr>
                </a:solidFill>
              </a:rPr>
              <a:t>]</a:t>
            </a:r>
            <a:r>
              <a:rPr lang="ja-JP" altLang="en-US" sz="1400" dirty="0" smtClean="0">
                <a:solidFill>
                  <a:schemeClr val="bg1">
                    <a:lumMod val="50000"/>
                  </a:schemeClr>
                </a:solidFill>
              </a:rPr>
              <a:t>）</a:t>
            </a:r>
            <a:r>
              <a:rPr lang="en-US" altLang="ja-JP" sz="1400" dirty="0" smtClean="0">
                <a:solidFill>
                  <a:schemeClr val="bg1">
                    <a:lumMod val="50000"/>
                  </a:schemeClr>
                </a:solidFill>
              </a:rPr>
              <a:t/>
            </a:r>
            <a:br>
              <a:rPr lang="en-US" altLang="ja-JP" sz="1400" dirty="0" smtClean="0">
                <a:solidFill>
                  <a:schemeClr val="bg1">
                    <a:lumMod val="50000"/>
                  </a:schemeClr>
                </a:solidFill>
              </a:rPr>
            </a:br>
            <a:r>
              <a:rPr lang="ja-JP" altLang="en-US" sz="1400" dirty="0">
                <a:solidFill>
                  <a:schemeClr val="bg1">
                    <a:lumMod val="50000"/>
                  </a:schemeClr>
                </a:solidFill>
              </a:rPr>
              <a:t>炭素排出量</a:t>
            </a:r>
            <a:r>
              <a:rPr lang="ja-JP" altLang="en-US" sz="1400" dirty="0" smtClean="0">
                <a:solidFill>
                  <a:schemeClr val="bg1">
                    <a:lumMod val="50000"/>
                  </a:schemeClr>
                </a:solidFill>
              </a:rPr>
              <a:t>は、</a:t>
            </a:r>
            <a:r>
              <a:rPr lang="ja-JP" altLang="en-US" sz="1400" dirty="0">
                <a:solidFill>
                  <a:schemeClr val="bg1">
                    <a:lumMod val="50000"/>
                  </a:schemeClr>
                </a:solidFill>
              </a:rPr>
              <a:t>事業活動に伴う</a:t>
            </a:r>
            <a:r>
              <a:rPr lang="en-US" altLang="ja-JP" sz="1400" dirty="0">
                <a:solidFill>
                  <a:schemeClr val="bg1">
                    <a:lumMod val="50000"/>
                  </a:schemeClr>
                </a:solidFill>
              </a:rPr>
              <a:t>GHG</a:t>
            </a:r>
            <a:r>
              <a:rPr lang="ja-JP" altLang="en-US" sz="1400" dirty="0" smtClean="0">
                <a:solidFill>
                  <a:schemeClr val="bg1">
                    <a:lumMod val="50000"/>
                  </a:schemeClr>
                </a:solidFill>
              </a:rPr>
              <a:t>排出量のスコープ</a:t>
            </a:r>
            <a:r>
              <a:rPr lang="en-US" altLang="ja-JP" sz="1400" dirty="0">
                <a:solidFill>
                  <a:schemeClr val="bg1">
                    <a:lumMod val="50000"/>
                  </a:schemeClr>
                </a:solidFill>
              </a:rPr>
              <a:t>1</a:t>
            </a:r>
            <a:r>
              <a:rPr lang="ja-JP" altLang="en-US" sz="1400" dirty="0">
                <a:solidFill>
                  <a:schemeClr val="bg1">
                    <a:lumMod val="50000"/>
                  </a:schemeClr>
                </a:solidFill>
              </a:rPr>
              <a:t>および</a:t>
            </a:r>
            <a:r>
              <a:rPr lang="en-US" altLang="ja-JP" sz="1400" dirty="0" smtClean="0">
                <a:solidFill>
                  <a:schemeClr val="bg1">
                    <a:lumMod val="50000"/>
                  </a:schemeClr>
                </a:solidFill>
              </a:rPr>
              <a:t>2</a:t>
            </a:r>
            <a:r>
              <a:rPr lang="ja-JP" altLang="en-US" sz="1400" dirty="0" smtClean="0">
                <a:solidFill>
                  <a:schemeClr val="bg1">
                    <a:lumMod val="50000"/>
                  </a:schemeClr>
                </a:solidFill>
              </a:rPr>
              <a:t>として</a:t>
            </a:r>
            <a:r>
              <a:rPr lang="ja-JP" altLang="en-US" sz="1400" dirty="0">
                <a:solidFill>
                  <a:schemeClr val="bg1">
                    <a:lumMod val="50000"/>
                  </a:schemeClr>
                </a:solidFill>
              </a:rPr>
              <a:t>定義</a:t>
            </a:r>
            <a:r>
              <a:rPr lang="ja-JP" altLang="en-US" sz="1400" dirty="0" smtClean="0">
                <a:solidFill>
                  <a:schemeClr val="bg1">
                    <a:lumMod val="50000"/>
                  </a:schemeClr>
                </a:solidFill>
              </a:rPr>
              <a:t>。スコープ</a:t>
            </a:r>
            <a:r>
              <a:rPr lang="en-US" altLang="ja-JP" sz="1400" dirty="0" smtClean="0">
                <a:solidFill>
                  <a:schemeClr val="bg1">
                    <a:lumMod val="50000"/>
                  </a:schemeClr>
                </a:solidFill>
              </a:rPr>
              <a:t>3</a:t>
            </a:r>
            <a:r>
              <a:rPr lang="ja-JP" altLang="en-US" sz="1400" dirty="0" smtClean="0">
                <a:solidFill>
                  <a:schemeClr val="bg1">
                    <a:lumMod val="50000"/>
                  </a:schemeClr>
                </a:solidFill>
              </a:rPr>
              <a:t>は含まない。</a:t>
            </a:r>
            <a:r>
              <a:rPr lang="ja-JP" altLang="en-US" sz="1400" dirty="0">
                <a:solidFill>
                  <a:schemeClr val="bg1">
                    <a:lumMod val="50000"/>
                  </a:schemeClr>
                </a:solidFill>
              </a:rPr>
              <a:t>インデックスレベルの</a:t>
            </a:r>
            <a:r>
              <a:rPr lang="en-US" altLang="ja-JP" sz="1400" dirty="0">
                <a:solidFill>
                  <a:schemeClr val="bg1">
                    <a:lumMod val="50000"/>
                  </a:schemeClr>
                </a:solidFill>
              </a:rPr>
              <a:t>GHG</a:t>
            </a:r>
            <a:r>
              <a:rPr lang="ja-JP" altLang="en-US" sz="1400" dirty="0">
                <a:solidFill>
                  <a:schemeClr val="bg1">
                    <a:lumMod val="50000"/>
                  </a:schemeClr>
                </a:solidFill>
              </a:rPr>
              <a:t>排出量は、全構成銘柄の事業活動に伴う</a:t>
            </a:r>
            <a:r>
              <a:rPr lang="en-US" altLang="ja-JP" sz="1400" dirty="0">
                <a:solidFill>
                  <a:schemeClr val="bg1">
                    <a:lumMod val="50000"/>
                  </a:schemeClr>
                </a:solidFill>
              </a:rPr>
              <a:t>GHG</a:t>
            </a:r>
            <a:r>
              <a:rPr lang="ja-JP" altLang="en-US" sz="1400" dirty="0" smtClean="0">
                <a:solidFill>
                  <a:schemeClr val="bg1">
                    <a:lumMod val="50000"/>
                  </a:schemeClr>
                </a:solidFill>
              </a:rPr>
              <a:t>排出量を組み入れウエートを考慮した上で</a:t>
            </a:r>
            <a:r>
              <a:rPr lang="ja-JP" altLang="en-US" sz="1400" dirty="0">
                <a:solidFill>
                  <a:schemeClr val="bg1">
                    <a:lumMod val="50000"/>
                  </a:schemeClr>
                </a:solidFill>
              </a:rPr>
              <a:t>集計される。インデックスの炭素集約度は、インデックスレベルの</a:t>
            </a:r>
            <a:r>
              <a:rPr lang="en-US" altLang="ja-JP" sz="1400" dirty="0">
                <a:solidFill>
                  <a:schemeClr val="bg1">
                    <a:lumMod val="50000"/>
                  </a:schemeClr>
                </a:solidFill>
              </a:rPr>
              <a:t>GHG</a:t>
            </a:r>
            <a:r>
              <a:rPr lang="ja-JP" altLang="en-US" sz="1400" dirty="0">
                <a:solidFill>
                  <a:schemeClr val="bg1">
                    <a:lumMod val="50000"/>
                  </a:schemeClr>
                </a:solidFill>
              </a:rPr>
              <a:t>排出量</a:t>
            </a:r>
            <a:r>
              <a:rPr lang="ja-JP" altLang="en-US" sz="1400" dirty="0" smtClean="0">
                <a:solidFill>
                  <a:schemeClr val="bg1">
                    <a:lumMod val="50000"/>
                  </a:schemeClr>
                </a:solidFill>
              </a:rPr>
              <a:t>を組み入れウエート考慮ベースの売上高</a:t>
            </a:r>
            <a:r>
              <a:rPr lang="ja-JP" altLang="en-US" sz="1400" dirty="0">
                <a:solidFill>
                  <a:schemeClr val="bg1">
                    <a:lumMod val="50000"/>
                  </a:schemeClr>
                </a:solidFill>
              </a:rPr>
              <a:t>で割ったもの。</a:t>
            </a:r>
            <a:r>
              <a:rPr lang="en-GB" sz="1400" dirty="0">
                <a:solidFill>
                  <a:schemeClr val="bg1">
                    <a:lumMod val="50000"/>
                  </a:schemeClr>
                </a:solidFill>
              </a:rPr>
              <a:t>    </a:t>
            </a:r>
          </a:p>
          <a:p>
            <a:pPr lvl="1"/>
            <a:r>
              <a:rPr lang="ja-JP" altLang="en-US" sz="1400" dirty="0" smtClean="0">
                <a:solidFill>
                  <a:schemeClr val="bg1">
                    <a:lumMod val="50000"/>
                  </a:schemeClr>
                </a:solidFill>
              </a:rPr>
              <a:t>化石燃料埋蔵量の指標：時価総額あたり</a:t>
            </a:r>
            <a:r>
              <a:rPr lang="ja-JP" altLang="en-US" sz="1400" dirty="0">
                <a:solidFill>
                  <a:schemeClr val="bg1">
                    <a:lumMod val="50000"/>
                  </a:schemeClr>
                </a:solidFill>
              </a:rPr>
              <a:t>の埋蔵量（</a:t>
            </a:r>
            <a:r>
              <a:rPr lang="en-US" altLang="ja-JP" sz="1400" dirty="0" smtClean="0">
                <a:solidFill>
                  <a:schemeClr val="bg1">
                    <a:lumMod val="50000"/>
                  </a:schemeClr>
                </a:solidFill>
              </a:rPr>
              <a:t>CO2</a:t>
            </a:r>
            <a:r>
              <a:rPr lang="ja-JP" altLang="en-US" sz="1400" dirty="0" smtClean="0">
                <a:solidFill>
                  <a:schemeClr val="bg1">
                    <a:lumMod val="50000"/>
                  </a:schemeClr>
                </a:solidFill>
              </a:rPr>
              <a:t>換算重量</a:t>
            </a:r>
            <a:r>
              <a:rPr lang="en-US" altLang="ja-JP" sz="1400" dirty="0" smtClean="0">
                <a:solidFill>
                  <a:schemeClr val="bg1">
                    <a:lumMod val="50000"/>
                  </a:schemeClr>
                </a:solidFill>
              </a:rPr>
              <a:t>[</a:t>
            </a:r>
            <a:r>
              <a:rPr lang="ja-JP" altLang="en-US" sz="1400" dirty="0">
                <a:solidFill>
                  <a:schemeClr val="bg1">
                    <a:lumMod val="50000"/>
                  </a:schemeClr>
                </a:solidFill>
              </a:rPr>
              <a:t>トン</a:t>
            </a:r>
            <a:r>
              <a:rPr lang="en-US" altLang="ja-JP" sz="1400" dirty="0" smtClean="0">
                <a:solidFill>
                  <a:schemeClr val="bg1">
                    <a:lumMod val="50000"/>
                  </a:schemeClr>
                </a:solidFill>
              </a:rPr>
              <a:t>]</a:t>
            </a:r>
            <a:r>
              <a:rPr lang="ja-JP" altLang="en-US" sz="1400" dirty="0" smtClean="0">
                <a:solidFill>
                  <a:schemeClr val="bg1">
                    <a:lumMod val="50000"/>
                  </a:schemeClr>
                </a:solidFill>
              </a:rPr>
              <a:t> </a:t>
            </a:r>
            <a:r>
              <a:rPr lang="en-US" altLang="ja-JP" sz="1400" dirty="0" smtClean="0">
                <a:solidFill>
                  <a:schemeClr val="bg1">
                    <a:lumMod val="50000"/>
                  </a:schemeClr>
                </a:solidFill>
              </a:rPr>
              <a:t>/ </a:t>
            </a:r>
            <a:r>
              <a:rPr lang="ja-JP" altLang="en-US" sz="1400" dirty="0" smtClean="0">
                <a:solidFill>
                  <a:schemeClr val="bg1">
                    <a:lumMod val="50000"/>
                  </a:schemeClr>
                </a:solidFill>
              </a:rPr>
              <a:t>時価総額</a:t>
            </a:r>
            <a:r>
              <a:rPr lang="en-US" altLang="ja-JP" sz="1400" dirty="0" smtClean="0">
                <a:solidFill>
                  <a:schemeClr val="bg1">
                    <a:lumMod val="50000"/>
                  </a:schemeClr>
                </a:solidFill>
              </a:rPr>
              <a:t>[</a:t>
            </a:r>
            <a:r>
              <a:rPr lang="ja-JP" altLang="en-US" sz="1400" dirty="0" smtClean="0">
                <a:solidFill>
                  <a:schemeClr val="bg1">
                    <a:lumMod val="50000"/>
                  </a:schemeClr>
                </a:solidFill>
              </a:rPr>
              <a:t>百万ドル</a:t>
            </a:r>
            <a:r>
              <a:rPr lang="en-US" altLang="ja-JP" sz="1400" dirty="0" smtClean="0">
                <a:solidFill>
                  <a:schemeClr val="bg1">
                    <a:lumMod val="50000"/>
                  </a:schemeClr>
                </a:solidFill>
              </a:rPr>
              <a:t>]</a:t>
            </a:r>
            <a:r>
              <a:rPr lang="ja-JP" altLang="en-US" sz="1400" dirty="0" smtClean="0">
                <a:solidFill>
                  <a:schemeClr val="bg1">
                    <a:lumMod val="50000"/>
                  </a:schemeClr>
                </a:solidFill>
              </a:rPr>
              <a:t>）</a:t>
            </a:r>
            <a:r>
              <a:rPr lang="en-US" altLang="ja-JP" sz="1400" dirty="0" smtClean="0">
                <a:solidFill>
                  <a:schemeClr val="bg1">
                    <a:lumMod val="50000"/>
                  </a:schemeClr>
                </a:solidFill>
              </a:rPr>
              <a:t/>
            </a:r>
            <a:br>
              <a:rPr lang="en-US" altLang="ja-JP" sz="1400" dirty="0" smtClean="0">
                <a:solidFill>
                  <a:schemeClr val="bg1">
                    <a:lumMod val="50000"/>
                  </a:schemeClr>
                </a:solidFill>
              </a:rPr>
            </a:br>
            <a:r>
              <a:rPr lang="ja-JP" altLang="en-US" sz="1400" dirty="0" smtClean="0">
                <a:solidFill>
                  <a:schemeClr val="bg1">
                    <a:lumMod val="50000"/>
                  </a:schemeClr>
                </a:solidFill>
              </a:rPr>
              <a:t>企業の</a:t>
            </a:r>
            <a:r>
              <a:rPr lang="ja-JP" altLang="en-US" sz="1400" dirty="0">
                <a:solidFill>
                  <a:schemeClr val="bg1">
                    <a:lumMod val="50000"/>
                  </a:schemeClr>
                </a:solidFill>
              </a:rPr>
              <a:t>化石燃料埋蔵量の燃焼によって発生</a:t>
            </a:r>
            <a:r>
              <a:rPr lang="ja-JP" altLang="en-US" sz="1400" dirty="0" smtClean="0">
                <a:solidFill>
                  <a:schemeClr val="bg1">
                    <a:lumMod val="50000"/>
                  </a:schemeClr>
                </a:solidFill>
              </a:rPr>
              <a:t>する温室</a:t>
            </a:r>
            <a:r>
              <a:rPr lang="ja-JP" altLang="en-US" sz="1400" dirty="0">
                <a:solidFill>
                  <a:schemeClr val="bg1">
                    <a:lumMod val="50000"/>
                  </a:schemeClr>
                </a:solidFill>
              </a:rPr>
              <a:t>効果ガス（</a:t>
            </a:r>
            <a:r>
              <a:rPr lang="en-US" altLang="ja-JP" sz="1400" dirty="0">
                <a:solidFill>
                  <a:schemeClr val="bg1">
                    <a:lumMod val="50000"/>
                  </a:schemeClr>
                </a:solidFill>
              </a:rPr>
              <a:t>GHG</a:t>
            </a:r>
            <a:r>
              <a:rPr lang="ja-JP" altLang="en-US" sz="1400" dirty="0">
                <a:solidFill>
                  <a:schemeClr val="bg1">
                    <a:lumMod val="50000"/>
                  </a:schemeClr>
                </a:solidFill>
              </a:rPr>
              <a:t>）</a:t>
            </a:r>
            <a:r>
              <a:rPr lang="ja-JP" altLang="en-US" sz="1400" dirty="0" smtClean="0">
                <a:solidFill>
                  <a:schemeClr val="bg1">
                    <a:lumMod val="50000"/>
                  </a:schemeClr>
                </a:solidFill>
              </a:rPr>
              <a:t>排出量の</a:t>
            </a:r>
            <a:r>
              <a:rPr lang="en-US" altLang="ja-JP" sz="1400" dirty="0" smtClean="0">
                <a:solidFill>
                  <a:schemeClr val="bg1">
                    <a:lumMod val="50000"/>
                  </a:schemeClr>
                </a:solidFill>
              </a:rPr>
              <a:t>CO2</a:t>
            </a:r>
            <a:r>
              <a:rPr lang="ja-JP" altLang="en-US" sz="1400" dirty="0" smtClean="0">
                <a:solidFill>
                  <a:schemeClr val="bg1">
                    <a:lumMod val="50000"/>
                  </a:schemeClr>
                </a:solidFill>
              </a:rPr>
              <a:t>換算重量（トン）を、企業の</a:t>
            </a:r>
            <a:r>
              <a:rPr lang="ja-JP" altLang="en-US" sz="1400" dirty="0">
                <a:solidFill>
                  <a:schemeClr val="bg1">
                    <a:lumMod val="50000"/>
                  </a:schemeClr>
                </a:solidFill>
              </a:rPr>
              <a:t>時価</a:t>
            </a:r>
            <a:r>
              <a:rPr lang="ja-JP" altLang="en-US" sz="1400" dirty="0" smtClean="0">
                <a:solidFill>
                  <a:schemeClr val="bg1">
                    <a:lumMod val="50000"/>
                  </a:schemeClr>
                </a:solidFill>
              </a:rPr>
              <a:t>総額全体（</a:t>
            </a:r>
            <a:r>
              <a:rPr lang="ja-JP" altLang="en-US" sz="1400" dirty="0">
                <a:solidFill>
                  <a:schemeClr val="bg1">
                    <a:lumMod val="50000"/>
                  </a:schemeClr>
                </a:solidFill>
              </a:rPr>
              <a:t>米ドル）で割ったもの。</a:t>
            </a:r>
            <a:endParaRPr lang="en-GB" sz="1400" b="0" dirty="0" smtClean="0">
              <a:solidFill>
                <a:schemeClr val="bg1">
                  <a:lumMod val="50000"/>
                </a:schemeClr>
              </a:solidFill>
            </a:endParaRPr>
          </a:p>
          <a:p>
            <a:pPr lvl="1"/>
            <a:r>
              <a:rPr lang="ja-JP" altLang="en-US" sz="1400" dirty="0" smtClean="0">
                <a:solidFill>
                  <a:schemeClr val="bg1">
                    <a:lumMod val="50000"/>
                  </a:schemeClr>
                </a:solidFill>
              </a:rPr>
              <a:t>炭素集約度と化石燃料埋蔵量の出所は</a:t>
            </a:r>
            <a:r>
              <a:rPr lang="en-GB" sz="1400" dirty="0" smtClean="0">
                <a:solidFill>
                  <a:schemeClr val="bg1">
                    <a:lumMod val="50000"/>
                  </a:schemeClr>
                </a:solidFill>
              </a:rPr>
              <a:t> </a:t>
            </a:r>
            <a:r>
              <a:rPr lang="en-GB" sz="1400" dirty="0" err="1" smtClean="0">
                <a:solidFill>
                  <a:schemeClr val="bg1">
                    <a:lumMod val="50000"/>
                  </a:schemeClr>
                </a:solidFill>
              </a:rPr>
              <a:t>Trucost</a:t>
            </a:r>
            <a:r>
              <a:rPr lang="ja-JP" altLang="en-US" sz="1400" dirty="0" err="1" smtClean="0">
                <a:solidFill>
                  <a:schemeClr val="bg1">
                    <a:lumMod val="50000"/>
                  </a:schemeClr>
                </a:solidFill>
              </a:rPr>
              <a:t>。</a:t>
            </a:r>
            <a:r>
              <a:rPr lang="en-GB" sz="1400" dirty="0" smtClean="0">
                <a:solidFill>
                  <a:schemeClr val="bg1">
                    <a:lumMod val="50000"/>
                  </a:schemeClr>
                </a:solidFill>
              </a:rPr>
              <a:t> </a:t>
            </a:r>
          </a:p>
          <a:p>
            <a:pPr lvl="1"/>
            <a:r>
              <a:rPr lang="en-GB" sz="1400" dirty="0" smtClean="0">
                <a:solidFill>
                  <a:schemeClr val="bg1">
                    <a:lumMod val="50000"/>
                  </a:schemeClr>
                </a:solidFill>
              </a:rPr>
              <a:t>ESG：FTSE </a:t>
            </a:r>
            <a:r>
              <a:rPr lang="en-GB" sz="1400" dirty="0">
                <a:solidFill>
                  <a:schemeClr val="bg1">
                    <a:lumMod val="50000"/>
                  </a:schemeClr>
                </a:solidFill>
              </a:rPr>
              <a:t>Russell </a:t>
            </a:r>
            <a:r>
              <a:rPr lang="ja-JP" altLang="en-US" sz="1400" dirty="0" smtClean="0">
                <a:solidFill>
                  <a:schemeClr val="bg1">
                    <a:lumMod val="50000"/>
                  </a:schemeClr>
                </a:solidFill>
              </a:rPr>
              <a:t>の</a:t>
            </a:r>
            <a:r>
              <a:rPr lang="en-GB" sz="1400" dirty="0" smtClean="0">
                <a:solidFill>
                  <a:schemeClr val="bg1">
                    <a:lumMod val="50000"/>
                  </a:schemeClr>
                </a:solidFill>
              </a:rPr>
              <a:t>ESG</a:t>
            </a:r>
            <a:r>
              <a:rPr lang="ja-JP" altLang="en-US" sz="1400" dirty="0" smtClean="0">
                <a:solidFill>
                  <a:schemeClr val="bg1">
                    <a:lumMod val="50000"/>
                  </a:schemeClr>
                </a:solidFill>
              </a:rPr>
              <a:t>レーティング</a:t>
            </a:r>
            <a:r>
              <a:rPr lang="en-GB" sz="1400" dirty="0" smtClean="0">
                <a:solidFill>
                  <a:schemeClr val="bg1">
                    <a:lumMod val="50000"/>
                  </a:schemeClr>
                </a:solidFill>
              </a:rPr>
              <a:t> </a:t>
            </a:r>
            <a:endParaRPr lang="en-GB" sz="1400" b="0" dirty="0" smtClean="0">
              <a:solidFill>
                <a:schemeClr val="bg1">
                  <a:lumMod val="50000"/>
                </a:schemeClr>
              </a:solidFill>
            </a:endParaRPr>
          </a:p>
          <a:p>
            <a:endParaRPr lang="en-US" sz="1400" b="0" dirty="0">
              <a:solidFill>
                <a:schemeClr val="bg1">
                  <a:lumMod val="50000"/>
                </a:schemeClr>
              </a:solidFill>
            </a:endParaRPr>
          </a:p>
          <a:p>
            <a:r>
              <a:rPr lang="ja-JP" altLang="en-US" sz="1800" b="0" dirty="0" smtClean="0">
                <a:solidFill>
                  <a:schemeClr val="tx1"/>
                </a:solidFill>
              </a:rPr>
              <a:t>次</a:t>
            </a:r>
            <a:r>
              <a:rPr lang="ja-JP" altLang="en-US" sz="1800" b="0" dirty="0">
                <a:solidFill>
                  <a:schemeClr val="tx1"/>
                </a:solidFill>
              </a:rPr>
              <a:t>の</a:t>
            </a:r>
            <a:r>
              <a:rPr lang="en-US" altLang="ja-JP" sz="1800" b="0" dirty="0">
                <a:solidFill>
                  <a:schemeClr val="tx1"/>
                </a:solidFill>
              </a:rPr>
              <a:t>2</a:t>
            </a:r>
            <a:r>
              <a:rPr lang="ja-JP" altLang="en-US" sz="1800" b="0" dirty="0" err="1">
                <a:solidFill>
                  <a:schemeClr val="tx1"/>
                </a:solidFill>
              </a:rPr>
              <a:t>つの</a:t>
            </a:r>
            <a:r>
              <a:rPr lang="ja-JP" altLang="en-US" sz="1800" b="0" dirty="0">
                <a:solidFill>
                  <a:schemeClr val="tx1"/>
                </a:solidFill>
              </a:rPr>
              <a:t>スライドでは</a:t>
            </a:r>
            <a:r>
              <a:rPr lang="ja-JP" altLang="en-US" sz="1800" b="0" dirty="0" smtClean="0">
                <a:solidFill>
                  <a:schemeClr val="tx1"/>
                </a:solidFill>
              </a:rPr>
              <a:t>、炭素集約度と</a:t>
            </a:r>
            <a:r>
              <a:rPr lang="ja-JP" altLang="en-US" sz="1800" b="0" dirty="0">
                <a:solidFill>
                  <a:schemeClr val="tx1"/>
                </a:solidFill>
              </a:rPr>
              <a:t>化石燃料</a:t>
            </a:r>
            <a:r>
              <a:rPr lang="ja-JP" altLang="en-US" sz="1800" b="0" dirty="0" smtClean="0">
                <a:solidFill>
                  <a:schemeClr val="tx1"/>
                </a:solidFill>
              </a:rPr>
              <a:t>埋蔵量がセクター</a:t>
            </a:r>
            <a:r>
              <a:rPr lang="ja-JP" altLang="en-US" sz="1800" b="0" dirty="0">
                <a:solidFill>
                  <a:schemeClr val="tx1"/>
                </a:solidFill>
              </a:rPr>
              <a:t>（産業</a:t>
            </a:r>
            <a:r>
              <a:rPr lang="en-US" altLang="ja-JP" sz="1800" b="0" dirty="0">
                <a:solidFill>
                  <a:schemeClr val="tx1"/>
                </a:solidFill>
              </a:rPr>
              <a:t>/</a:t>
            </a:r>
            <a:r>
              <a:rPr lang="ja-JP" altLang="en-US" sz="1800" b="0" dirty="0">
                <a:solidFill>
                  <a:schemeClr val="tx1"/>
                </a:solidFill>
              </a:rPr>
              <a:t>国）</a:t>
            </a:r>
            <a:r>
              <a:rPr lang="ja-JP" altLang="en-US" sz="1800" b="0" dirty="0" smtClean="0">
                <a:solidFill>
                  <a:schemeClr val="tx1"/>
                </a:solidFill>
              </a:rPr>
              <a:t>とオーバーラップして</a:t>
            </a:r>
            <a:r>
              <a:rPr lang="ja-JP" altLang="en-US" sz="1800" b="0" dirty="0">
                <a:solidFill>
                  <a:schemeClr val="tx1"/>
                </a:solidFill>
              </a:rPr>
              <a:t>おり、</a:t>
            </a:r>
            <a:r>
              <a:rPr lang="en-US" altLang="ja-JP" sz="1800" b="0" dirty="0" smtClean="0">
                <a:solidFill>
                  <a:schemeClr val="tx1"/>
                </a:solidFill>
              </a:rPr>
              <a:t>ESG</a:t>
            </a:r>
            <a:r>
              <a:rPr lang="ja-JP" altLang="en-US" sz="1800" b="0" dirty="0" smtClean="0">
                <a:solidFill>
                  <a:schemeClr val="tx1"/>
                </a:solidFill>
              </a:rPr>
              <a:t>レーティングが</a:t>
            </a:r>
            <a:r>
              <a:rPr lang="ja-JP" altLang="en-US" sz="1800" b="0" dirty="0">
                <a:solidFill>
                  <a:schemeClr val="tx1"/>
                </a:solidFill>
              </a:rPr>
              <a:t>特定</a:t>
            </a:r>
            <a:r>
              <a:rPr lang="ja-JP" altLang="en-US" sz="1800" b="0" dirty="0" smtClean="0">
                <a:solidFill>
                  <a:schemeClr val="tx1"/>
                </a:solidFill>
              </a:rPr>
              <a:t>のリスクファクターと</a:t>
            </a:r>
            <a:r>
              <a:rPr lang="ja-JP" altLang="en-US" sz="1800" b="0" dirty="0">
                <a:solidFill>
                  <a:schemeClr val="tx1"/>
                </a:solidFill>
              </a:rPr>
              <a:t>強い相関</a:t>
            </a:r>
            <a:r>
              <a:rPr lang="ja-JP" altLang="en-US" sz="1800" b="0" dirty="0" smtClean="0">
                <a:solidFill>
                  <a:schemeClr val="tx1"/>
                </a:solidFill>
              </a:rPr>
              <a:t>関係にあること</a:t>
            </a:r>
            <a:r>
              <a:rPr lang="ja-JP" altLang="en-US" sz="1800" b="0" dirty="0">
                <a:solidFill>
                  <a:schemeClr val="tx1"/>
                </a:solidFill>
              </a:rPr>
              <a:t>を示して</a:t>
            </a:r>
            <a:r>
              <a:rPr lang="ja-JP" altLang="en-US" sz="1800" b="0" dirty="0" smtClean="0">
                <a:solidFill>
                  <a:schemeClr val="tx1"/>
                </a:solidFill>
              </a:rPr>
              <a:t>いる。</a:t>
            </a:r>
            <a:r>
              <a:rPr lang="ja-JP" altLang="en-US" sz="1800" b="0" dirty="0">
                <a:solidFill>
                  <a:schemeClr val="tx1"/>
                </a:solidFill>
              </a:rPr>
              <a:t>このような相関は、ポートフォリオのボラティリティ</a:t>
            </a:r>
            <a:r>
              <a:rPr lang="ja-JP" altLang="en-US" sz="1800" b="0" dirty="0" smtClean="0">
                <a:solidFill>
                  <a:schemeClr val="tx1"/>
                </a:solidFill>
              </a:rPr>
              <a:t>、トラッキングエラーおよび</a:t>
            </a:r>
            <a:r>
              <a:rPr lang="en-US" altLang="ja-JP" sz="1800" b="0" dirty="0">
                <a:solidFill>
                  <a:schemeClr val="tx1"/>
                </a:solidFill>
              </a:rPr>
              <a:t>ESG</a:t>
            </a:r>
            <a:r>
              <a:rPr lang="ja-JP" altLang="en-US" sz="1800" b="0" dirty="0">
                <a:solidFill>
                  <a:schemeClr val="tx1"/>
                </a:solidFill>
              </a:rPr>
              <a:t>リスクの増加に影響を与える可能性が</a:t>
            </a:r>
            <a:r>
              <a:rPr lang="ja-JP" altLang="en-US" sz="1800" b="0" dirty="0" smtClean="0">
                <a:solidFill>
                  <a:schemeClr val="tx1"/>
                </a:solidFill>
              </a:rPr>
              <a:t>ある。</a:t>
            </a:r>
            <a:endParaRPr lang="en-GB" sz="1800" b="0" dirty="0" smtClean="0">
              <a:solidFill>
                <a:schemeClr val="tx1"/>
              </a:solidFill>
            </a:endParaRPr>
          </a:p>
          <a:p>
            <a:pPr marL="0" indent="0">
              <a:buNone/>
            </a:pPr>
            <a:endParaRPr lang="en-GB" sz="1800" b="0" dirty="0" smtClean="0">
              <a:solidFill>
                <a:schemeClr val="tx1"/>
              </a:solidFill>
            </a:endParaRPr>
          </a:p>
          <a:p>
            <a:pPr marL="0" indent="0">
              <a:buNone/>
            </a:pPr>
            <a:endParaRPr lang="en-GB" sz="1800" b="0" dirty="0">
              <a:solidFill>
                <a:schemeClr val="tx1"/>
              </a:solidFill>
            </a:endParaRPr>
          </a:p>
        </p:txBody>
      </p:sp>
    </p:spTree>
    <p:extLst>
      <p:ext uri="{BB962C8B-B14F-4D97-AF65-F5344CB8AC3E}">
        <p14:creationId xmlns:p14="http://schemas.microsoft.com/office/powerpoint/2010/main" val="281347381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438150" y="161925"/>
            <a:ext cx="8229600" cy="800099"/>
          </a:xfrm>
        </p:spPr>
        <p:txBody>
          <a:bodyPr/>
          <a:lstStyle/>
          <a:p>
            <a:pPr>
              <a:defRPr/>
            </a:pPr>
            <a:r>
              <a:rPr lang="en-US" altLang="ja-JP" dirty="0" smtClean="0"/>
              <a:t>1.1 </a:t>
            </a:r>
            <a:r>
              <a:rPr lang="ja-JP" altLang="en-US" dirty="0" smtClean="0"/>
              <a:t>化石燃料埋蔵量（</a:t>
            </a:r>
            <a:r>
              <a:rPr lang="en-US" altLang="ja-JP" dirty="0" smtClean="0"/>
              <a:t>FF</a:t>
            </a:r>
            <a:r>
              <a:rPr lang="ja-JP" altLang="en-US" dirty="0" smtClean="0"/>
              <a:t>）</a:t>
            </a:r>
            <a:r>
              <a:rPr lang="en-US" altLang="ja-JP" dirty="0" smtClean="0"/>
              <a:t>/</a:t>
            </a:r>
            <a:r>
              <a:rPr lang="ja-JP" altLang="en-US" dirty="0" smtClean="0"/>
              <a:t>炭素集約度（</a:t>
            </a:r>
            <a:r>
              <a:rPr lang="en-US" altLang="ja-JP" dirty="0" smtClean="0"/>
              <a:t>Carbon</a:t>
            </a:r>
            <a:r>
              <a:rPr lang="ja-JP" altLang="en-US" dirty="0" smtClean="0"/>
              <a:t>）のセクター別寄与度</a:t>
            </a:r>
            <a:endParaRPr lang="en-GB" dirty="0"/>
          </a:p>
        </p:txBody>
      </p:sp>
      <p:sp>
        <p:nvSpPr>
          <p:cNvPr id="27" name="Rectangle 26">
            <a:extLst>
              <a:ext uri="{FF2B5EF4-FFF2-40B4-BE49-F238E27FC236}">
                <a16:creationId xmlns="" xmlns:a16="http://schemas.microsoft.com/office/drawing/2014/main" id="{D6CD7C4A-2D24-4363-82B8-8E3283CD41AD}"/>
              </a:ext>
            </a:extLst>
          </p:cNvPr>
          <p:cNvSpPr/>
          <p:nvPr/>
        </p:nvSpPr>
        <p:spPr>
          <a:xfrm>
            <a:off x="935820" y="925988"/>
            <a:ext cx="3646914" cy="234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000" b="1" cap="all" dirty="0" smtClean="0"/>
              <a:t>先進国市場</a:t>
            </a:r>
            <a:endParaRPr lang="en-GB" sz="1000" b="1" cap="all" dirty="0"/>
          </a:p>
        </p:txBody>
      </p:sp>
      <p:sp>
        <p:nvSpPr>
          <p:cNvPr id="29" name="Rectangle 28">
            <a:extLst>
              <a:ext uri="{FF2B5EF4-FFF2-40B4-BE49-F238E27FC236}">
                <a16:creationId xmlns="" xmlns:a16="http://schemas.microsoft.com/office/drawing/2014/main" id="{C0F095CD-9FAF-4E1C-A837-8923B5C37F22}"/>
              </a:ext>
            </a:extLst>
          </p:cNvPr>
          <p:cNvSpPr/>
          <p:nvPr/>
        </p:nvSpPr>
        <p:spPr>
          <a:xfrm>
            <a:off x="953708" y="1167251"/>
            <a:ext cx="3629026" cy="2960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000" b="1" i="1" dirty="0" smtClean="0">
                <a:solidFill>
                  <a:srgbClr val="FF0000"/>
                </a:solidFill>
              </a:rPr>
              <a:t>公益</a:t>
            </a:r>
            <a:r>
              <a:rPr lang="ja-JP" altLang="en-US" sz="1000" b="1" i="1" dirty="0">
                <a:solidFill>
                  <a:srgbClr val="FF0000"/>
                </a:solidFill>
              </a:rPr>
              <a:t>（</a:t>
            </a:r>
            <a:r>
              <a:rPr lang="en-GB" sz="1000" b="1" i="1" dirty="0" smtClean="0">
                <a:solidFill>
                  <a:srgbClr val="FF0000"/>
                </a:solidFill>
              </a:rPr>
              <a:t>Utility</a:t>
            </a:r>
            <a:r>
              <a:rPr lang="ja-JP" altLang="en-US" sz="1000" b="1" i="1" dirty="0" smtClean="0">
                <a:solidFill>
                  <a:srgbClr val="FF0000"/>
                </a:solidFill>
              </a:rPr>
              <a:t>）、石油・ガス（</a:t>
            </a:r>
            <a:r>
              <a:rPr lang="en-GB" sz="1000" b="1" i="1" dirty="0" smtClean="0">
                <a:solidFill>
                  <a:srgbClr val="FF0000"/>
                </a:solidFill>
              </a:rPr>
              <a:t>Oil &amp; Gas</a:t>
            </a:r>
            <a:r>
              <a:rPr lang="ja-JP" altLang="en-US" sz="1000" b="1" i="1" dirty="0" smtClean="0">
                <a:solidFill>
                  <a:srgbClr val="FF0000"/>
                </a:solidFill>
              </a:rPr>
              <a:t>）、素材（</a:t>
            </a:r>
            <a:r>
              <a:rPr lang="en-GB" sz="1000" b="1" i="1" dirty="0" smtClean="0">
                <a:solidFill>
                  <a:srgbClr val="FF0000"/>
                </a:solidFill>
              </a:rPr>
              <a:t>Basic Material</a:t>
            </a:r>
            <a:r>
              <a:rPr lang="ja-JP" altLang="en-US" sz="1000" b="1" i="1" dirty="0" smtClean="0">
                <a:solidFill>
                  <a:srgbClr val="FF0000"/>
                </a:solidFill>
              </a:rPr>
              <a:t>）の寄与度が大きい</a:t>
            </a:r>
            <a:r>
              <a:rPr lang="en-GB" sz="1000" b="1" i="1" dirty="0" smtClean="0">
                <a:solidFill>
                  <a:srgbClr val="FF0000"/>
                </a:solidFill>
              </a:rPr>
              <a:t> </a:t>
            </a:r>
            <a:endParaRPr lang="en-GB" sz="1000" b="1" i="1" dirty="0">
              <a:solidFill>
                <a:srgbClr val="FF0000"/>
              </a:solidFill>
            </a:endParaRPr>
          </a:p>
        </p:txBody>
      </p:sp>
      <p:sp>
        <p:nvSpPr>
          <p:cNvPr id="31" name="Rectangle 30">
            <a:extLst>
              <a:ext uri="{FF2B5EF4-FFF2-40B4-BE49-F238E27FC236}">
                <a16:creationId xmlns="" xmlns:a16="http://schemas.microsoft.com/office/drawing/2014/main" id="{D6CD7C4A-2D24-4363-82B8-8E3283CD41AD}"/>
              </a:ext>
            </a:extLst>
          </p:cNvPr>
          <p:cNvSpPr/>
          <p:nvPr/>
        </p:nvSpPr>
        <p:spPr>
          <a:xfrm>
            <a:off x="4899382" y="924401"/>
            <a:ext cx="3646914" cy="234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000" b="1" cap="all" dirty="0" smtClean="0"/>
              <a:t>エマージング市場</a:t>
            </a:r>
            <a:endParaRPr lang="en-GB" sz="1000" b="1" cap="all" dirty="0"/>
          </a:p>
        </p:txBody>
      </p:sp>
      <p:pic>
        <p:nvPicPr>
          <p:cNvPr id="2054"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7245" y="1605401"/>
            <a:ext cx="3787775" cy="2117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2" name="Rectangle 41">
            <a:extLst>
              <a:ext uri="{FF2B5EF4-FFF2-40B4-BE49-F238E27FC236}">
                <a16:creationId xmlns="" xmlns:a16="http://schemas.microsoft.com/office/drawing/2014/main" id="{C0F095CD-9FAF-4E1C-A837-8923B5C37F22}"/>
              </a:ext>
            </a:extLst>
          </p:cNvPr>
          <p:cNvSpPr/>
          <p:nvPr/>
        </p:nvSpPr>
        <p:spPr>
          <a:xfrm>
            <a:off x="4899382" y="1185499"/>
            <a:ext cx="3629026" cy="2960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000" b="1" i="1" dirty="0" smtClean="0">
                <a:solidFill>
                  <a:srgbClr val="FF0000"/>
                </a:solidFill>
              </a:rPr>
              <a:t>エマージングでは</a:t>
            </a:r>
            <a:r>
              <a:rPr lang="ja-JP" altLang="en-US" sz="1000" b="1" i="1" dirty="0" smtClean="0">
                <a:solidFill>
                  <a:srgbClr val="FF0000"/>
                </a:solidFill>
              </a:rPr>
              <a:t>、</a:t>
            </a:r>
            <a:r>
              <a:rPr lang="en-US" altLang="ja-JP" sz="1000" b="1" i="1" dirty="0" smtClean="0">
                <a:solidFill>
                  <a:srgbClr val="FF0000"/>
                </a:solidFill>
              </a:rPr>
              <a:t>Carbon</a:t>
            </a:r>
            <a:r>
              <a:rPr lang="ja-JP" altLang="en-US" sz="1000" b="1" i="1" dirty="0" smtClean="0">
                <a:solidFill>
                  <a:srgbClr val="FF0000"/>
                </a:solidFill>
              </a:rPr>
              <a:t>における資本</a:t>
            </a:r>
            <a:r>
              <a:rPr lang="ja-JP" altLang="en-US" sz="1000" b="1" i="1" dirty="0" smtClean="0">
                <a:solidFill>
                  <a:srgbClr val="FF0000"/>
                </a:solidFill>
              </a:rPr>
              <a:t>財（</a:t>
            </a:r>
            <a:r>
              <a:rPr lang="en-GB" sz="1000" b="1" i="1" dirty="0" smtClean="0">
                <a:solidFill>
                  <a:srgbClr val="FF0000"/>
                </a:solidFill>
              </a:rPr>
              <a:t>industrials</a:t>
            </a:r>
            <a:r>
              <a:rPr lang="ja-JP" altLang="en-US" sz="1000" b="1" i="1" dirty="0" smtClean="0">
                <a:solidFill>
                  <a:srgbClr val="FF0000"/>
                </a:solidFill>
              </a:rPr>
              <a:t>）の寄与</a:t>
            </a:r>
            <a:r>
              <a:rPr lang="ja-JP" altLang="en-US" sz="1000" b="1" i="1" dirty="0" smtClean="0">
                <a:solidFill>
                  <a:srgbClr val="FF0000"/>
                </a:solidFill>
              </a:rPr>
              <a:t>が相対的に大きい</a:t>
            </a:r>
            <a:endParaRPr lang="en-GB" sz="1000" b="1" i="1" dirty="0">
              <a:solidFill>
                <a:srgbClr val="FF0000"/>
              </a:solidFill>
            </a:endParaRPr>
          </a:p>
        </p:txBody>
      </p:sp>
      <p:pic>
        <p:nvPicPr>
          <p:cNvPr id="2056"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7244" y="4160839"/>
            <a:ext cx="3787775" cy="1798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6" name="Rectangle 45">
            <a:extLst>
              <a:ext uri="{FF2B5EF4-FFF2-40B4-BE49-F238E27FC236}">
                <a16:creationId xmlns="" xmlns:a16="http://schemas.microsoft.com/office/drawing/2014/main" id="{C0F095CD-9FAF-4E1C-A837-8923B5C37F22}"/>
              </a:ext>
            </a:extLst>
          </p:cNvPr>
          <p:cNvSpPr/>
          <p:nvPr/>
        </p:nvSpPr>
        <p:spPr>
          <a:xfrm>
            <a:off x="935820" y="3861438"/>
            <a:ext cx="3629026" cy="2960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000" b="1" i="1" dirty="0" smtClean="0">
                <a:solidFill>
                  <a:srgbClr val="FF0000"/>
                </a:solidFill>
              </a:rPr>
              <a:t>米国（</a:t>
            </a:r>
            <a:r>
              <a:rPr lang="en-US" altLang="ja-JP" sz="1000" b="1" i="1" dirty="0" smtClean="0">
                <a:solidFill>
                  <a:srgbClr val="FF0000"/>
                </a:solidFill>
              </a:rPr>
              <a:t>USA</a:t>
            </a:r>
            <a:r>
              <a:rPr lang="ja-JP" altLang="en-US" sz="1000" b="1" i="1" dirty="0" smtClean="0">
                <a:solidFill>
                  <a:srgbClr val="FF0000"/>
                </a:solidFill>
              </a:rPr>
              <a:t>）、英国（</a:t>
            </a:r>
            <a:r>
              <a:rPr lang="en-US" altLang="ja-JP" sz="1000" b="1" i="1" dirty="0" smtClean="0">
                <a:solidFill>
                  <a:srgbClr val="FF0000"/>
                </a:solidFill>
              </a:rPr>
              <a:t>UK</a:t>
            </a:r>
            <a:r>
              <a:rPr lang="ja-JP" altLang="en-US" sz="1000" b="1" i="1" dirty="0" smtClean="0">
                <a:solidFill>
                  <a:srgbClr val="FF0000"/>
                </a:solidFill>
              </a:rPr>
              <a:t>）、オーストラリア（</a:t>
            </a:r>
            <a:r>
              <a:rPr lang="en-US" altLang="ja-JP" sz="1000" b="1" i="1" dirty="0" smtClean="0">
                <a:solidFill>
                  <a:srgbClr val="FF0000"/>
                </a:solidFill>
              </a:rPr>
              <a:t>AU</a:t>
            </a:r>
            <a:r>
              <a:rPr lang="ja-JP" altLang="en-US" sz="1000" b="1" i="1" dirty="0" smtClean="0">
                <a:solidFill>
                  <a:srgbClr val="FF0000"/>
                </a:solidFill>
              </a:rPr>
              <a:t>）の寄与度が大きい</a:t>
            </a:r>
            <a:endParaRPr lang="en-GB" sz="1000" b="1" i="1" dirty="0">
              <a:solidFill>
                <a:srgbClr val="FF0000"/>
              </a:solidFill>
            </a:endParaRPr>
          </a:p>
        </p:txBody>
      </p:sp>
      <p:sp>
        <p:nvSpPr>
          <p:cNvPr id="47" name="Rectangle 46">
            <a:extLst>
              <a:ext uri="{FF2B5EF4-FFF2-40B4-BE49-F238E27FC236}">
                <a16:creationId xmlns="" xmlns:a16="http://schemas.microsoft.com/office/drawing/2014/main" id="{C0F095CD-9FAF-4E1C-A837-8923B5C37F22}"/>
              </a:ext>
            </a:extLst>
          </p:cNvPr>
          <p:cNvSpPr/>
          <p:nvPr/>
        </p:nvSpPr>
        <p:spPr>
          <a:xfrm>
            <a:off x="4858107" y="3874286"/>
            <a:ext cx="3629026" cy="2960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000" b="1" i="1" dirty="0" smtClean="0">
                <a:solidFill>
                  <a:srgbClr val="FF0000"/>
                </a:solidFill>
              </a:rPr>
              <a:t>炭素集約度は、特定の国に偏っているわけではない</a:t>
            </a:r>
            <a:endParaRPr lang="en-GB" sz="1000" b="1" i="1" dirty="0">
              <a:solidFill>
                <a:srgbClr val="FF0000"/>
              </a:solidFill>
            </a:endParaRPr>
          </a:p>
        </p:txBody>
      </p:sp>
      <p:sp>
        <p:nvSpPr>
          <p:cNvPr id="28" name="TextBox 27"/>
          <p:cNvSpPr txBox="1"/>
          <p:nvPr/>
        </p:nvSpPr>
        <p:spPr>
          <a:xfrm>
            <a:off x="728663" y="6102350"/>
            <a:ext cx="7029450" cy="338554"/>
          </a:xfrm>
          <a:prstGeom prst="rect">
            <a:avLst/>
          </a:prstGeom>
          <a:noFill/>
        </p:spPr>
        <p:txBody>
          <a:bodyPr wrap="square" rtlCol="0">
            <a:spAutoFit/>
          </a:bodyPr>
          <a:lstStyle/>
          <a:p>
            <a:r>
              <a:rPr lang="en-GB" sz="800" dirty="0" smtClean="0"/>
              <a:t>Data as at Mar 2019. </a:t>
            </a:r>
            <a:r>
              <a:rPr lang="en-GB" sz="800" dirty="0"/>
              <a:t>Carbon: Emission Intensity(CO2 Metric Tons/m$ Revenue</a:t>
            </a:r>
            <a:r>
              <a:rPr lang="en-GB" sz="800" dirty="0" smtClean="0"/>
              <a:t>). </a:t>
            </a:r>
            <a:r>
              <a:rPr lang="en-GB" sz="800" dirty="0"/>
              <a:t>FF: Reserve Per Equity (CO2 Metric Tons/m$ Equity</a:t>
            </a:r>
            <a:r>
              <a:rPr lang="en-GB" sz="800" dirty="0" smtClean="0"/>
              <a:t>)</a:t>
            </a:r>
          </a:p>
          <a:p>
            <a:r>
              <a:rPr lang="en-US" altLang="ja-JP" sz="800" dirty="0"/>
              <a:t>Source: FTSE Russell</a:t>
            </a:r>
            <a:r>
              <a:rPr lang="en-GB" sz="800" dirty="0" smtClean="0"/>
              <a:t> </a:t>
            </a:r>
            <a:endParaRPr lang="en-GB" sz="800" dirty="0"/>
          </a:p>
        </p:txBody>
      </p:sp>
      <p:pic>
        <p:nvPicPr>
          <p:cNvPr id="2058" name="Picture 1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81550" y="4184250"/>
            <a:ext cx="3786187" cy="1797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Rectangle 15">
            <a:extLst>
              <a:ext uri="{FF2B5EF4-FFF2-40B4-BE49-F238E27FC236}">
                <a16:creationId xmlns="" xmlns:a16="http://schemas.microsoft.com/office/drawing/2014/main" id="{D6CD7C4A-2D24-4363-82B8-8E3283CD41AD}"/>
              </a:ext>
            </a:extLst>
          </p:cNvPr>
          <p:cNvSpPr/>
          <p:nvPr/>
        </p:nvSpPr>
        <p:spPr>
          <a:xfrm rot="16200000">
            <a:off x="-717058" y="2368735"/>
            <a:ext cx="2399720" cy="234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1000" b="1" cap="all" dirty="0" smtClean="0"/>
              <a:t>ICB </a:t>
            </a:r>
            <a:r>
              <a:rPr lang="ja-JP" altLang="en-US" sz="1000" b="1" cap="all" dirty="0" smtClean="0"/>
              <a:t>セクター</a:t>
            </a:r>
            <a:endParaRPr lang="en-GB" sz="1000" b="1" cap="all" dirty="0"/>
          </a:p>
        </p:txBody>
      </p:sp>
      <p:sp>
        <p:nvSpPr>
          <p:cNvPr id="17" name="Rectangle 16">
            <a:extLst>
              <a:ext uri="{FF2B5EF4-FFF2-40B4-BE49-F238E27FC236}">
                <a16:creationId xmlns="" xmlns:a16="http://schemas.microsoft.com/office/drawing/2014/main" id="{D6CD7C4A-2D24-4363-82B8-8E3283CD41AD}"/>
              </a:ext>
            </a:extLst>
          </p:cNvPr>
          <p:cNvSpPr/>
          <p:nvPr/>
        </p:nvSpPr>
        <p:spPr>
          <a:xfrm rot="16200000">
            <a:off x="-717058" y="4930960"/>
            <a:ext cx="2399720" cy="234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ja-JP" altLang="en-US" sz="1000" b="1" cap="all" dirty="0" smtClean="0"/>
              <a:t>国・地域</a:t>
            </a:r>
            <a:endParaRPr lang="en-GB" sz="1000" b="1" cap="all" dirty="0"/>
          </a:p>
        </p:txBody>
      </p:sp>
      <p:sp>
        <p:nvSpPr>
          <p:cNvPr id="2" name="Content Placeholder 1"/>
          <p:cNvSpPr>
            <a:spLocks noGrp="1"/>
          </p:cNvSpPr>
          <p:nvPr>
            <p:ph sz="half" idx="2"/>
          </p:nvPr>
        </p:nvSpPr>
        <p:spPr/>
        <p:txBody>
          <a:bodyPr/>
          <a:lstStyle/>
          <a:p>
            <a:endParaRPr lang="en-GB"/>
          </a:p>
        </p:txBody>
      </p:sp>
      <p:pic>
        <p:nvPicPr>
          <p:cNvPr id="3074" name="Picture 3" descr="image00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92284" y="1606203"/>
            <a:ext cx="3790950" cy="211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0019963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1.2 ESG </a:t>
            </a:r>
            <a:r>
              <a:rPr lang="ja-JP" altLang="en-US" dirty="0" smtClean="0"/>
              <a:t>レーティングのスタイル・エクスポージャ</a:t>
            </a:r>
            <a:r>
              <a:rPr lang="en-GB" dirty="0" smtClean="0"/>
              <a:t> </a:t>
            </a:r>
            <a:endParaRPr lang="en-GB" dirty="0"/>
          </a:p>
        </p:txBody>
      </p:sp>
      <p:graphicFrame>
        <p:nvGraphicFramePr>
          <p:cNvPr id="7" name="Content Placeholder 6"/>
          <p:cNvGraphicFramePr>
            <a:graphicFrameLocks noGrp="1"/>
          </p:cNvGraphicFramePr>
          <p:nvPr>
            <p:ph sz="half" idx="1"/>
            <p:extLst>
              <p:ext uri="{D42A27DB-BD31-4B8C-83A1-F6EECF244321}">
                <p14:modId xmlns:p14="http://schemas.microsoft.com/office/powerpoint/2010/main" val="3737921585"/>
              </p:ext>
            </p:extLst>
          </p:nvPr>
        </p:nvGraphicFramePr>
        <p:xfrm>
          <a:off x="525086" y="2843850"/>
          <a:ext cx="3886200" cy="309879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Content Placeholder 7"/>
          <p:cNvGraphicFramePr>
            <a:graphicFrameLocks noGrp="1"/>
          </p:cNvGraphicFramePr>
          <p:nvPr>
            <p:ph sz="half" idx="2"/>
            <p:extLst>
              <p:ext uri="{D42A27DB-BD31-4B8C-83A1-F6EECF244321}">
                <p14:modId xmlns:p14="http://schemas.microsoft.com/office/powerpoint/2010/main" val="2272193745"/>
              </p:ext>
            </p:extLst>
          </p:nvPr>
        </p:nvGraphicFramePr>
        <p:xfrm>
          <a:off x="4730373" y="2958150"/>
          <a:ext cx="3886200" cy="3004350"/>
        </p:xfrm>
        <a:graphic>
          <a:graphicData uri="http://schemas.openxmlformats.org/drawingml/2006/chart">
            <c:chart xmlns:c="http://schemas.openxmlformats.org/drawingml/2006/chart" xmlns:r="http://schemas.openxmlformats.org/officeDocument/2006/relationships" r:id="rId3"/>
          </a:graphicData>
        </a:graphic>
      </p:graphicFrame>
      <p:sp>
        <p:nvSpPr>
          <p:cNvPr id="10" name="Rectangle 9">
            <a:extLst>
              <a:ext uri="{FF2B5EF4-FFF2-40B4-BE49-F238E27FC236}">
                <a16:creationId xmlns="" xmlns:a16="http://schemas.microsoft.com/office/drawing/2014/main" id="{D6CD7C4A-2D24-4363-82B8-8E3283CD41AD}"/>
              </a:ext>
            </a:extLst>
          </p:cNvPr>
          <p:cNvSpPr/>
          <p:nvPr/>
        </p:nvSpPr>
        <p:spPr>
          <a:xfrm>
            <a:off x="658436" y="2611125"/>
            <a:ext cx="3646914" cy="234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ja-JP" sz="1000" b="1" cap="all" dirty="0" smtClean="0"/>
              <a:t>FTSE </a:t>
            </a:r>
            <a:r>
              <a:rPr lang="ja-JP" altLang="en-US" sz="1000" b="1" cap="all" dirty="0" smtClean="0"/>
              <a:t>先進国</a:t>
            </a:r>
            <a:endParaRPr lang="en-GB" sz="1000" b="1" cap="all" dirty="0"/>
          </a:p>
        </p:txBody>
      </p:sp>
      <p:sp>
        <p:nvSpPr>
          <p:cNvPr id="11" name="Rectangle 10">
            <a:extLst>
              <a:ext uri="{FF2B5EF4-FFF2-40B4-BE49-F238E27FC236}">
                <a16:creationId xmlns="" xmlns:a16="http://schemas.microsoft.com/office/drawing/2014/main" id="{D6CD7C4A-2D24-4363-82B8-8E3283CD41AD}"/>
              </a:ext>
            </a:extLst>
          </p:cNvPr>
          <p:cNvSpPr/>
          <p:nvPr/>
        </p:nvSpPr>
        <p:spPr>
          <a:xfrm>
            <a:off x="4962505" y="2609538"/>
            <a:ext cx="3646914" cy="234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ja-JP" sz="1000" b="1" cap="all" dirty="0" smtClean="0"/>
              <a:t>FTSE</a:t>
            </a:r>
            <a:r>
              <a:rPr lang="ja-JP" altLang="en-US" sz="1000" b="1" cap="all" dirty="0"/>
              <a:t> </a:t>
            </a:r>
            <a:r>
              <a:rPr lang="ja-JP" altLang="en-US" sz="1000" b="1" cap="all" dirty="0" smtClean="0"/>
              <a:t>エマージング</a:t>
            </a:r>
            <a:endParaRPr lang="en-GB" sz="1000" b="1" cap="all" dirty="0"/>
          </a:p>
        </p:txBody>
      </p:sp>
      <p:sp>
        <p:nvSpPr>
          <p:cNvPr id="12" name="TextBox 11"/>
          <p:cNvSpPr txBox="1"/>
          <p:nvPr/>
        </p:nvSpPr>
        <p:spPr>
          <a:xfrm>
            <a:off x="461963" y="6111875"/>
            <a:ext cx="7029450" cy="338554"/>
          </a:xfrm>
          <a:prstGeom prst="rect">
            <a:avLst/>
          </a:prstGeom>
          <a:noFill/>
        </p:spPr>
        <p:txBody>
          <a:bodyPr wrap="square" rtlCol="0">
            <a:spAutoFit/>
          </a:bodyPr>
          <a:lstStyle/>
          <a:p>
            <a:r>
              <a:rPr lang="en-GB" sz="800" dirty="0" smtClean="0"/>
              <a:t>Date: Sep 2008 – Mar 2019.</a:t>
            </a:r>
          </a:p>
          <a:p>
            <a:r>
              <a:rPr lang="en-US" altLang="ja-JP" sz="800" dirty="0"/>
              <a:t>Source: FTSE Russell</a:t>
            </a:r>
            <a:r>
              <a:rPr lang="en-GB" sz="800" dirty="0" smtClean="0"/>
              <a:t>  </a:t>
            </a:r>
            <a:endParaRPr lang="en-GB" sz="800" dirty="0"/>
          </a:p>
        </p:txBody>
      </p:sp>
      <p:sp>
        <p:nvSpPr>
          <p:cNvPr id="13" name="TextBox 12"/>
          <p:cNvSpPr txBox="1"/>
          <p:nvPr/>
        </p:nvSpPr>
        <p:spPr>
          <a:xfrm>
            <a:off x="461963" y="1143000"/>
            <a:ext cx="8239125" cy="1200329"/>
          </a:xfrm>
          <a:prstGeom prst="rect">
            <a:avLst/>
          </a:prstGeom>
          <a:noFill/>
        </p:spPr>
        <p:txBody>
          <a:bodyPr wrap="square" rtlCol="0">
            <a:spAutoFit/>
          </a:bodyPr>
          <a:lstStyle/>
          <a:p>
            <a:r>
              <a:rPr lang="en-US" altLang="ja-JP" dirty="0" smtClean="0"/>
              <a:t>ESG</a:t>
            </a:r>
            <a:r>
              <a:rPr lang="ja-JP" altLang="en-US" dirty="0"/>
              <a:t>レーティングはスタイル</a:t>
            </a:r>
            <a:r>
              <a:rPr lang="ja-JP" altLang="en-US" dirty="0" smtClean="0"/>
              <a:t>の特性を持つ。</a:t>
            </a:r>
            <a:endParaRPr lang="en-US" altLang="ja-JP" dirty="0"/>
          </a:p>
          <a:p>
            <a:pPr marL="285750" indent="-285750">
              <a:buFont typeface="Arial" panose="020B0604020202020204" pitchFamily="34" charset="0"/>
              <a:buChar char="•"/>
            </a:pPr>
            <a:r>
              <a:rPr lang="ja-JP" altLang="en-US" dirty="0" smtClean="0"/>
              <a:t>配当</a:t>
            </a:r>
            <a:r>
              <a:rPr lang="ja-JP" altLang="en-US" dirty="0"/>
              <a:t>利回りと正の</a:t>
            </a:r>
            <a:r>
              <a:rPr lang="ja-JP" altLang="en-US" dirty="0" smtClean="0"/>
              <a:t>相関</a:t>
            </a:r>
            <a:endParaRPr lang="en-US" altLang="ja-JP" dirty="0" smtClean="0"/>
          </a:p>
          <a:p>
            <a:pPr marL="285750" indent="-285750">
              <a:buFont typeface="Arial" panose="020B0604020202020204" pitchFamily="34" charset="0"/>
              <a:buChar char="•"/>
            </a:pPr>
            <a:r>
              <a:rPr lang="ja-JP" altLang="en-US" dirty="0" smtClean="0"/>
              <a:t>（</a:t>
            </a:r>
            <a:r>
              <a:rPr lang="ja-JP" altLang="en-US" dirty="0"/>
              <a:t>低）ボラティリティと正の</a:t>
            </a:r>
            <a:r>
              <a:rPr lang="ja-JP" altLang="en-US" dirty="0" smtClean="0"/>
              <a:t>相関</a:t>
            </a:r>
            <a:endParaRPr lang="en-US" altLang="ja-JP" dirty="0" smtClean="0"/>
          </a:p>
          <a:p>
            <a:pPr marL="285750" indent="-285750">
              <a:buFont typeface="Arial" panose="020B0604020202020204" pitchFamily="34" charset="0"/>
              <a:buChar char="•"/>
            </a:pPr>
            <a:r>
              <a:rPr lang="ja-JP" altLang="en-US" dirty="0" smtClean="0"/>
              <a:t>大企業</a:t>
            </a:r>
            <a:r>
              <a:rPr lang="ja-JP" altLang="en-US" dirty="0"/>
              <a:t>ほど</a:t>
            </a:r>
            <a:r>
              <a:rPr lang="en-US" altLang="ja-JP" dirty="0"/>
              <a:t>ESG</a:t>
            </a:r>
            <a:r>
              <a:rPr lang="ja-JP" altLang="en-US" dirty="0"/>
              <a:t>の評価が高く</a:t>
            </a:r>
            <a:r>
              <a:rPr lang="ja-JP" altLang="en-US" dirty="0" smtClean="0"/>
              <a:t>なる傾向</a:t>
            </a:r>
            <a:endParaRPr lang="en-US" altLang="ja-JP" dirty="0" smtClean="0"/>
          </a:p>
        </p:txBody>
      </p:sp>
    </p:spTree>
    <p:extLst>
      <p:ext uri="{BB962C8B-B14F-4D97-AF65-F5344CB8AC3E}">
        <p14:creationId xmlns:p14="http://schemas.microsoft.com/office/powerpoint/2010/main" val="368415520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ltLang="ja-JP" dirty="0" smtClean="0"/>
              <a:t>1.3 </a:t>
            </a:r>
            <a:r>
              <a:rPr lang="ja-JP" altLang="en-US" dirty="0" smtClean="0"/>
              <a:t>ここ</a:t>
            </a:r>
            <a:r>
              <a:rPr lang="ja-JP" altLang="en-US" dirty="0"/>
              <a:t>まで</a:t>
            </a:r>
            <a:r>
              <a:rPr lang="ja-JP" altLang="en-US" dirty="0" smtClean="0"/>
              <a:t>の考察</a:t>
            </a:r>
            <a:endParaRPr lang="en-GB" dirty="0"/>
          </a:p>
        </p:txBody>
      </p:sp>
      <p:sp>
        <p:nvSpPr>
          <p:cNvPr id="6" name="Text Placeholder 5"/>
          <p:cNvSpPr>
            <a:spLocks noGrp="1"/>
          </p:cNvSpPr>
          <p:nvPr>
            <p:ph type="body" sz="quarter" idx="12"/>
          </p:nvPr>
        </p:nvSpPr>
        <p:spPr>
          <a:xfrm>
            <a:off x="457200" y="1133475"/>
            <a:ext cx="8229600" cy="5136696"/>
          </a:xfrm>
        </p:spPr>
        <p:txBody>
          <a:bodyPr/>
          <a:lstStyle/>
          <a:p>
            <a:r>
              <a:rPr lang="ja-JP" altLang="en-US" b="0" dirty="0">
                <a:solidFill>
                  <a:schemeClr val="bg1">
                    <a:lumMod val="50000"/>
                  </a:schemeClr>
                </a:solidFill>
              </a:rPr>
              <a:t>サステナブル投資の特性は、セクター</a:t>
            </a:r>
            <a:r>
              <a:rPr lang="en-US" altLang="ja-JP" b="0" dirty="0">
                <a:solidFill>
                  <a:schemeClr val="bg1">
                    <a:lumMod val="50000"/>
                  </a:schemeClr>
                </a:solidFill>
              </a:rPr>
              <a:t>/</a:t>
            </a:r>
            <a:r>
              <a:rPr lang="ja-JP" altLang="en-US" b="0" dirty="0">
                <a:solidFill>
                  <a:schemeClr val="bg1">
                    <a:lumMod val="50000"/>
                  </a:schemeClr>
                </a:solidFill>
              </a:rPr>
              <a:t>国・地域</a:t>
            </a:r>
            <a:r>
              <a:rPr lang="en-US" altLang="ja-JP" b="0" dirty="0">
                <a:solidFill>
                  <a:schemeClr val="bg1">
                    <a:lumMod val="50000"/>
                  </a:schemeClr>
                </a:solidFill>
              </a:rPr>
              <a:t>/</a:t>
            </a:r>
            <a:r>
              <a:rPr lang="ja-JP" altLang="en-US" b="0" dirty="0">
                <a:solidFill>
                  <a:schemeClr val="bg1">
                    <a:lumMod val="50000"/>
                  </a:schemeClr>
                </a:solidFill>
              </a:rPr>
              <a:t>スタイルな</a:t>
            </a:r>
            <a:r>
              <a:rPr lang="ja-JP" altLang="en-US" b="0" dirty="0" smtClean="0">
                <a:solidFill>
                  <a:schemeClr val="bg1">
                    <a:lumMod val="50000"/>
                  </a:schemeClr>
                </a:solidFill>
              </a:rPr>
              <a:t>どのリスクファクターと</a:t>
            </a:r>
            <a:r>
              <a:rPr lang="ja-JP" altLang="en-US" b="0" dirty="0">
                <a:solidFill>
                  <a:schemeClr val="bg1">
                    <a:lumMod val="50000"/>
                  </a:schemeClr>
                </a:solidFill>
              </a:rPr>
              <a:t>相関</a:t>
            </a:r>
            <a:r>
              <a:rPr lang="ja-JP" altLang="en-US" b="0" dirty="0" smtClean="0">
                <a:solidFill>
                  <a:schemeClr val="bg1">
                    <a:lumMod val="50000"/>
                  </a:schemeClr>
                </a:solidFill>
              </a:rPr>
              <a:t>しており、コントロールしなければ高いボラティリティ</a:t>
            </a:r>
            <a:r>
              <a:rPr lang="en-US" altLang="ja-JP" b="0" dirty="0" smtClean="0">
                <a:solidFill>
                  <a:schemeClr val="bg1">
                    <a:lumMod val="50000"/>
                  </a:schemeClr>
                </a:solidFill>
              </a:rPr>
              <a:t>/</a:t>
            </a:r>
            <a:r>
              <a:rPr lang="ja-JP" altLang="en-US" b="0" dirty="0" smtClean="0">
                <a:solidFill>
                  <a:schemeClr val="bg1">
                    <a:lumMod val="50000"/>
                  </a:schemeClr>
                </a:solidFill>
              </a:rPr>
              <a:t>トラッキングエラーを生じさせる可能性がある。</a:t>
            </a:r>
            <a:endParaRPr lang="en-GB" b="0" dirty="0" smtClean="0">
              <a:solidFill>
                <a:schemeClr val="bg1">
                  <a:lumMod val="50000"/>
                </a:schemeClr>
              </a:solidFill>
            </a:endParaRPr>
          </a:p>
          <a:p>
            <a:r>
              <a:rPr lang="ja-JP" altLang="en-US" b="0" dirty="0" smtClean="0">
                <a:solidFill>
                  <a:schemeClr val="bg1">
                    <a:lumMod val="50000"/>
                  </a:schemeClr>
                </a:solidFill>
              </a:rPr>
              <a:t>リスクファクター（たとえばサイズ）に投資して、投資リターンの改善を意図している場合、コントロールなしでは意図しない</a:t>
            </a:r>
            <a:r>
              <a:rPr lang="en-US" altLang="ja-JP" b="0" dirty="0" smtClean="0">
                <a:solidFill>
                  <a:schemeClr val="bg1">
                    <a:lumMod val="50000"/>
                  </a:schemeClr>
                </a:solidFill>
              </a:rPr>
              <a:t>ESG</a:t>
            </a:r>
            <a:r>
              <a:rPr lang="ja-JP" altLang="en-US" b="0" dirty="0" smtClean="0">
                <a:solidFill>
                  <a:schemeClr val="bg1">
                    <a:lumMod val="50000"/>
                  </a:schemeClr>
                </a:solidFill>
              </a:rPr>
              <a:t>のリスクを取ってしまう可能性がある。</a:t>
            </a:r>
            <a:endParaRPr lang="en-GB" b="0" dirty="0" smtClean="0">
              <a:solidFill>
                <a:schemeClr val="bg1">
                  <a:lumMod val="50000"/>
                </a:schemeClr>
              </a:solidFill>
            </a:endParaRPr>
          </a:p>
          <a:p>
            <a:endParaRPr lang="en-GB" b="0" dirty="0" smtClean="0">
              <a:solidFill>
                <a:schemeClr val="bg1">
                  <a:lumMod val="50000"/>
                </a:schemeClr>
              </a:solidFill>
            </a:endParaRPr>
          </a:p>
          <a:p>
            <a:r>
              <a:rPr lang="ja-JP" altLang="en-US" b="0" dirty="0">
                <a:solidFill>
                  <a:srgbClr val="C00000"/>
                </a:solidFill>
              </a:rPr>
              <a:t>したがって、ポートフォリオ構築プロセスにおいて必要なのは</a:t>
            </a:r>
            <a:endParaRPr lang="en-GB" b="0" dirty="0">
              <a:solidFill>
                <a:srgbClr val="C00000"/>
              </a:solidFill>
            </a:endParaRPr>
          </a:p>
          <a:p>
            <a:pPr lvl="1">
              <a:buFont typeface="Wingdings" panose="05000000000000000000" pitchFamily="2" charset="2"/>
              <a:buChar char="ü"/>
            </a:pPr>
            <a:r>
              <a:rPr lang="ja-JP" altLang="en-US" sz="2000" dirty="0">
                <a:solidFill>
                  <a:srgbClr val="C00000"/>
                </a:solidFill>
              </a:rPr>
              <a:t>超過リターンの源泉と考えるリスクファクターをサステナブル投資の特性および投資哲学（インカムの追求、バリュー投資など）に合わせる</a:t>
            </a:r>
            <a:endParaRPr lang="en-GB" sz="2000" dirty="0">
              <a:solidFill>
                <a:srgbClr val="C00000"/>
              </a:solidFill>
            </a:endParaRPr>
          </a:p>
          <a:p>
            <a:pPr lvl="1">
              <a:buFont typeface="Wingdings" panose="05000000000000000000" pitchFamily="2" charset="2"/>
              <a:buChar char="ü"/>
            </a:pPr>
            <a:r>
              <a:rPr lang="ja-JP" altLang="en-US" sz="2000" dirty="0">
                <a:solidFill>
                  <a:srgbClr val="C00000"/>
                </a:solidFill>
              </a:rPr>
              <a:t>相関をコントロールし、</a:t>
            </a:r>
            <a:r>
              <a:rPr lang="en-US" altLang="ja-JP" sz="2000" dirty="0">
                <a:solidFill>
                  <a:srgbClr val="C00000"/>
                </a:solidFill>
              </a:rPr>
              <a:t>TE</a:t>
            </a:r>
            <a:r>
              <a:rPr lang="ja-JP" altLang="en-US" sz="2000" dirty="0">
                <a:solidFill>
                  <a:srgbClr val="C00000"/>
                </a:solidFill>
              </a:rPr>
              <a:t>を</a:t>
            </a:r>
            <a:r>
              <a:rPr lang="ja-JP" altLang="en-US" sz="2000" dirty="0" smtClean="0">
                <a:solidFill>
                  <a:srgbClr val="C00000"/>
                </a:solidFill>
              </a:rPr>
              <a:t>下げる</a:t>
            </a:r>
            <a:endParaRPr lang="en-GB" dirty="0">
              <a:solidFill>
                <a:schemeClr val="bg1">
                  <a:lumMod val="50000"/>
                </a:schemeClr>
              </a:solidFill>
            </a:endParaRPr>
          </a:p>
        </p:txBody>
      </p:sp>
    </p:spTree>
    <p:extLst>
      <p:ext uri="{BB962C8B-B14F-4D97-AF65-F5344CB8AC3E}">
        <p14:creationId xmlns:p14="http://schemas.microsoft.com/office/powerpoint/2010/main" val="405302933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Autofit/>
          </a:bodyPr>
          <a:lstStyle/>
          <a:p>
            <a:pPr marL="361950" lvl="2" indent="-180975"/>
            <a:r>
              <a:rPr lang="ja-JP" altLang="en-US" sz="1600" dirty="0" smtClean="0"/>
              <a:t>ユニバースを決定し</a:t>
            </a:r>
            <a:r>
              <a:rPr lang="ja-JP" altLang="en-US" sz="1600" dirty="0"/>
              <a:t>、生</a:t>
            </a:r>
            <a:r>
              <a:rPr lang="ja-JP" altLang="en-US" sz="1600" dirty="0" smtClean="0"/>
              <a:t>のファクター値</a:t>
            </a:r>
            <a:r>
              <a:rPr lang="ja-JP" altLang="en-US" sz="1600" dirty="0"/>
              <a:t>を</a:t>
            </a:r>
            <a:r>
              <a:rPr lang="ja-JP" altLang="en-US" sz="1600" dirty="0" smtClean="0"/>
              <a:t>計算する</a:t>
            </a:r>
            <a:endParaRPr lang="en-GB" sz="1600" dirty="0"/>
          </a:p>
          <a:p>
            <a:pPr marL="361950" lvl="2" indent="-180975"/>
            <a:r>
              <a:rPr lang="ja-JP" altLang="en-US" sz="1600" dirty="0" smtClean="0"/>
              <a:t>生のファクター値</a:t>
            </a:r>
            <a:r>
              <a:rPr lang="ja-JP" altLang="en-US" sz="1600" dirty="0"/>
              <a:t>を</a:t>
            </a:r>
            <a:r>
              <a:rPr lang="en-US" altLang="ja-JP" sz="1600" dirty="0"/>
              <a:t>Z</a:t>
            </a:r>
            <a:r>
              <a:rPr lang="ja-JP" altLang="en-US" sz="1600" dirty="0"/>
              <a:t>スコアに</a:t>
            </a:r>
            <a:r>
              <a:rPr lang="ja-JP" altLang="en-US" sz="1600" dirty="0" smtClean="0"/>
              <a:t>変換し、</a:t>
            </a:r>
            <a:r>
              <a:rPr lang="en-US" altLang="ja-JP" sz="1600" dirty="0" smtClean="0"/>
              <a:t>+/- </a:t>
            </a:r>
            <a:r>
              <a:rPr lang="en-US" altLang="ja-JP" sz="1600" dirty="0"/>
              <a:t>3</a:t>
            </a:r>
            <a:r>
              <a:rPr lang="ja-JP" altLang="en-US" sz="1600" dirty="0" smtClean="0"/>
              <a:t>で刈り込み</a:t>
            </a:r>
            <a:endParaRPr lang="en-GB" sz="1600" dirty="0"/>
          </a:p>
          <a:p>
            <a:pPr marL="361950" lvl="2" indent="-180975"/>
            <a:r>
              <a:rPr lang="ja-JP" altLang="en-US" sz="1600" dirty="0"/>
              <a:t>正規</a:t>
            </a:r>
            <a:r>
              <a:rPr lang="ja-JP" altLang="en-US" sz="1600" dirty="0" smtClean="0"/>
              <a:t>分布の累積密度関数</a:t>
            </a:r>
            <a:r>
              <a:rPr lang="ja-JP" altLang="en-US" sz="1600" dirty="0"/>
              <a:t>を使用して、</a:t>
            </a:r>
            <a:r>
              <a:rPr lang="en-US" altLang="ja-JP" sz="1600" dirty="0"/>
              <a:t>Z</a:t>
            </a:r>
            <a:r>
              <a:rPr lang="ja-JP" altLang="en-US" sz="1600" dirty="0"/>
              <a:t>スコアを範囲</a:t>
            </a:r>
            <a:r>
              <a:rPr lang="en-US" altLang="ja-JP" sz="1600" dirty="0"/>
              <a:t>0〜1</a:t>
            </a:r>
            <a:r>
              <a:rPr lang="ja-JP" altLang="en-US" sz="1600" dirty="0"/>
              <a:t>に</a:t>
            </a:r>
            <a:r>
              <a:rPr lang="ja-JP" altLang="en-US" sz="1600" dirty="0" smtClean="0"/>
              <a:t>マッピングする</a:t>
            </a:r>
            <a:endParaRPr lang="en-GB" sz="1600" dirty="0"/>
          </a:p>
        </p:txBody>
      </p:sp>
      <p:graphicFrame>
        <p:nvGraphicFramePr>
          <p:cNvPr id="5" name="Chart 4"/>
          <p:cNvGraphicFramePr>
            <a:graphicFrameLocks/>
          </p:cNvGraphicFramePr>
          <p:nvPr>
            <p:extLst>
              <p:ext uri="{D42A27DB-BD31-4B8C-83A1-F6EECF244321}">
                <p14:modId xmlns:p14="http://schemas.microsoft.com/office/powerpoint/2010/main" val="3953845985"/>
              </p:ext>
            </p:extLst>
          </p:nvPr>
        </p:nvGraphicFramePr>
        <p:xfrm>
          <a:off x="674446" y="2961027"/>
          <a:ext cx="7813946" cy="3162682"/>
        </p:xfrm>
        <a:graphic>
          <a:graphicData uri="http://schemas.openxmlformats.org/drawingml/2006/chart">
            <c:chart xmlns:c="http://schemas.openxmlformats.org/drawingml/2006/chart" xmlns:r="http://schemas.openxmlformats.org/officeDocument/2006/relationships" r:id="rId2"/>
          </a:graphicData>
        </a:graphic>
      </p:graphicFrame>
      <p:sp>
        <p:nvSpPr>
          <p:cNvPr id="6" name="Title 1"/>
          <p:cNvSpPr>
            <a:spLocks noGrp="1"/>
          </p:cNvSpPr>
          <p:nvPr>
            <p:ph type="title"/>
          </p:nvPr>
        </p:nvSpPr>
        <p:spPr>
          <a:xfrm>
            <a:off x="381454" y="381561"/>
            <a:ext cx="8692696" cy="886946"/>
          </a:xfrm>
        </p:spPr>
        <p:txBody>
          <a:bodyPr/>
          <a:lstStyle/>
          <a:p>
            <a:pPr>
              <a:defRPr/>
            </a:pPr>
            <a:r>
              <a:rPr lang="en-US" altLang="ja-JP" dirty="0" smtClean="0"/>
              <a:t>2.1 </a:t>
            </a:r>
            <a:r>
              <a:rPr lang="ja-JP" altLang="en-US" dirty="0" smtClean="0"/>
              <a:t>ポートフォリオ</a:t>
            </a:r>
            <a:r>
              <a:rPr lang="ja-JP" altLang="en-US" dirty="0"/>
              <a:t>構築</a:t>
            </a:r>
            <a:r>
              <a:rPr lang="ja-JP" altLang="en-US" dirty="0" smtClean="0"/>
              <a:t>：ファクターの</a:t>
            </a:r>
            <a:r>
              <a:rPr lang="ja-JP" altLang="en-US" dirty="0"/>
              <a:t>正規化と</a:t>
            </a:r>
            <a:r>
              <a:rPr lang="ja-JP" altLang="en-US" dirty="0" smtClean="0"/>
              <a:t>マッピング</a:t>
            </a:r>
            <a:endParaRPr lang="en-GB" dirty="0"/>
          </a:p>
        </p:txBody>
      </p:sp>
      <p:sp>
        <p:nvSpPr>
          <p:cNvPr id="2" name="Rectangle 1"/>
          <p:cNvSpPr/>
          <p:nvPr/>
        </p:nvSpPr>
        <p:spPr>
          <a:xfrm>
            <a:off x="906341" y="6092309"/>
            <a:ext cx="1441420" cy="246221"/>
          </a:xfrm>
          <a:prstGeom prst="rect">
            <a:avLst/>
          </a:prstGeom>
        </p:spPr>
        <p:txBody>
          <a:bodyPr wrap="none">
            <a:spAutoFit/>
          </a:bodyPr>
          <a:lstStyle/>
          <a:p>
            <a:r>
              <a:rPr lang="en-US" altLang="ja-JP" sz="1000" dirty="0"/>
              <a:t>Source: FTSE Russell</a:t>
            </a:r>
            <a:endParaRPr lang="en-GB" sz="1000" dirty="0"/>
          </a:p>
        </p:txBody>
      </p:sp>
    </p:spTree>
    <p:extLst>
      <p:ext uri="{BB962C8B-B14F-4D97-AF65-F5344CB8AC3E}">
        <p14:creationId xmlns:p14="http://schemas.microsoft.com/office/powerpoint/2010/main" val="389952561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altLang="ja-JP" dirty="0" smtClean="0"/>
              <a:t>2.2 </a:t>
            </a:r>
            <a:r>
              <a:rPr lang="ja-JP" altLang="en-US" dirty="0" smtClean="0"/>
              <a:t>ポートフォリオ</a:t>
            </a:r>
            <a:r>
              <a:rPr lang="ja-JP" altLang="en-US" dirty="0"/>
              <a:t>構築</a:t>
            </a:r>
            <a:r>
              <a:rPr lang="ja-JP" altLang="en-US" dirty="0" smtClean="0"/>
              <a:t>：ティルト法</a:t>
            </a:r>
            <a:endParaRPr lang="en-GB" sz="2800" dirty="0"/>
          </a:p>
        </p:txBody>
      </p:sp>
      <mc:AlternateContent xmlns:mc="http://schemas.openxmlformats.org/markup-compatibility/2006" xmlns:a14="http://schemas.microsoft.com/office/drawing/2010/main">
        <mc:Choice Requires="a14">
          <p:sp>
            <p:nvSpPr>
              <p:cNvPr id="2" name="Content Placeholder 1"/>
              <p:cNvSpPr>
                <a:spLocks noGrp="1"/>
              </p:cNvSpPr>
              <p:nvPr>
                <p:ph idx="1"/>
              </p:nvPr>
            </p:nvSpPr>
            <p:spPr>
              <a:xfrm>
                <a:off x="356635" y="1219604"/>
                <a:ext cx="8565691" cy="5017707"/>
              </a:xfrm>
            </p:spPr>
            <p:txBody>
              <a:bodyPr>
                <a:normAutofit fontScale="85000" lnSpcReduction="20000"/>
              </a:bodyPr>
              <a:lstStyle/>
              <a:p>
                <a:pPr marL="0" indent="0">
                  <a:buNone/>
                </a:pPr>
                <a:r>
                  <a:rPr lang="ja-JP" altLang="en-US" sz="2200" b="1" dirty="0" smtClean="0">
                    <a:solidFill>
                      <a:srgbClr val="005B67"/>
                    </a:solidFill>
                  </a:rPr>
                  <a:t>ティルト法の一般化式</a:t>
                </a:r>
                <a:r>
                  <a:rPr lang="en-GB" sz="2200" b="1" dirty="0" smtClean="0">
                    <a:solidFill>
                      <a:srgbClr val="005B67"/>
                    </a:solidFill>
                  </a:rPr>
                  <a:t>:</a:t>
                </a:r>
                <a:endParaRPr lang="en-GB" sz="2200" b="1" dirty="0">
                  <a:solidFill>
                    <a:srgbClr val="005B67"/>
                  </a:solidFill>
                </a:endParaRPr>
              </a:p>
              <a:p>
                <a:pPr marL="0" indent="0">
                  <a:buNone/>
                </a:pPr>
                <a:endParaRPr lang="en-GB" sz="1600" dirty="0">
                  <a:solidFill>
                    <a:srgbClr val="595959"/>
                  </a:solidFill>
                </a:endParaRPr>
              </a:p>
              <a:p>
                <a:pPr marL="0" indent="0">
                  <a:buNone/>
                </a:pPr>
                <a:endParaRPr lang="en-GB" sz="1800" b="1" dirty="0">
                  <a:solidFill>
                    <a:srgbClr val="005B67"/>
                  </a:solidFill>
                </a:endParaRPr>
              </a:p>
              <a:p>
                <a:pPr marL="0" indent="0">
                  <a:buNone/>
                </a:pPr>
                <a:endParaRPr lang="en-GB" sz="1900" b="1" dirty="0">
                  <a:solidFill>
                    <a:schemeClr val="tx1">
                      <a:lumMod val="95000"/>
                      <a:lumOff val="5000"/>
                    </a:schemeClr>
                  </a:solidFill>
                </a:endParaRPr>
              </a:p>
              <a:p>
                <a:pPr marL="0" indent="0">
                  <a:buNone/>
                </a:pPr>
                <a:r>
                  <a:rPr lang="en-GB" sz="1900" b="1" dirty="0" smtClean="0">
                    <a:solidFill>
                      <a:srgbClr val="005B67"/>
                    </a:solidFill>
                  </a:rPr>
                  <a:t> </a:t>
                </a:r>
                <a14:m>
                  <m:oMath xmlns:m="http://schemas.openxmlformats.org/officeDocument/2006/math">
                    <m:sSup>
                      <m:sSupPr>
                        <m:ctrlPr>
                          <a:rPr lang="en-GB" sz="1900" b="1" i="1" dirty="0">
                            <a:solidFill>
                              <a:srgbClr val="005B67"/>
                            </a:solidFill>
                            <a:latin typeface="Cambria Math"/>
                          </a:rPr>
                        </m:ctrlPr>
                      </m:sSupPr>
                      <m:e>
                        <m:r>
                          <a:rPr lang="en-GB" sz="1900" b="1" dirty="0">
                            <a:solidFill>
                              <a:srgbClr val="005B67"/>
                            </a:solidFill>
                            <a:latin typeface="Cambria Math"/>
                          </a:rPr>
                          <m:t>𝑖</m:t>
                        </m:r>
                      </m:e>
                      <m:sup/>
                    </m:sSup>
                  </m:oMath>
                </a14:m>
                <a:r>
                  <a:rPr lang="en-GB" sz="1900" b="1" dirty="0">
                    <a:solidFill>
                      <a:srgbClr val="005B67"/>
                    </a:solidFill>
                  </a:rPr>
                  <a:t> </a:t>
                </a:r>
                <a:r>
                  <a:rPr lang="ja-JP" altLang="en-US" sz="1900" dirty="0">
                    <a:solidFill>
                      <a:srgbClr val="005B67"/>
                    </a:solidFill>
                  </a:rPr>
                  <a:t>番目</a:t>
                </a:r>
                <a:r>
                  <a:rPr lang="ja-JP" altLang="en-US" sz="1900" dirty="0" smtClean="0">
                    <a:solidFill>
                      <a:srgbClr val="005B67"/>
                    </a:solidFill>
                  </a:rPr>
                  <a:t>の株式について</a:t>
                </a:r>
                <a:r>
                  <a:rPr lang="en-GB" sz="1900" b="1" dirty="0" smtClean="0">
                    <a:solidFill>
                      <a:srgbClr val="005B67"/>
                    </a:solidFill>
                  </a:rPr>
                  <a:t>:</a:t>
                </a:r>
                <a:endParaRPr lang="en-GB" sz="1900" b="1" dirty="0">
                  <a:solidFill>
                    <a:srgbClr val="005B67"/>
                  </a:solidFill>
                </a:endParaRPr>
              </a:p>
              <a:p>
                <a:pPr marL="0" indent="0">
                  <a:buNone/>
                </a:pPr>
                <a:endParaRPr lang="en-GB" sz="1900" b="1" dirty="0">
                  <a:solidFill>
                    <a:schemeClr val="tx1">
                      <a:lumMod val="95000"/>
                      <a:lumOff val="5000"/>
                    </a:schemeClr>
                  </a:solidFill>
                </a:endParaRPr>
              </a:p>
              <a:p>
                <a:pPr>
                  <a:lnSpc>
                    <a:spcPct val="110000"/>
                  </a:lnSpc>
                </a:pPr>
                <a14:m>
                  <m:oMath xmlns:m="http://schemas.openxmlformats.org/officeDocument/2006/math">
                    <m:sSub>
                      <m:sSubPr>
                        <m:ctrlPr>
                          <a:rPr lang="en-GB" sz="2200" i="1" dirty="0" smtClean="0">
                            <a:solidFill>
                              <a:schemeClr val="tx1">
                                <a:lumMod val="75000"/>
                                <a:lumOff val="25000"/>
                              </a:schemeClr>
                            </a:solidFill>
                            <a:latin typeface="Cambria Math"/>
                          </a:rPr>
                        </m:ctrlPr>
                      </m:sSubPr>
                      <m:e>
                        <m:sSup>
                          <m:sSupPr>
                            <m:ctrlPr>
                              <a:rPr lang="en-GB" sz="2200" i="1" dirty="0">
                                <a:solidFill>
                                  <a:schemeClr val="tx1">
                                    <a:lumMod val="75000"/>
                                    <a:lumOff val="25000"/>
                                  </a:schemeClr>
                                </a:solidFill>
                                <a:latin typeface="Cambria Math"/>
                              </a:rPr>
                            </m:ctrlPr>
                          </m:sSupPr>
                          <m:e>
                            <m:r>
                              <a:rPr lang="en-GB" sz="2200" dirty="0">
                                <a:solidFill>
                                  <a:schemeClr val="tx1">
                                    <a:lumMod val="75000"/>
                                    <a:lumOff val="25000"/>
                                  </a:schemeClr>
                                </a:solidFill>
                                <a:latin typeface="Cambria Math"/>
                              </a:rPr>
                              <m:t>𝑊</m:t>
                            </m:r>
                          </m:e>
                          <m:sup>
                            <m:r>
                              <a:rPr lang="en-GB" sz="2200" dirty="0">
                                <a:solidFill>
                                  <a:schemeClr val="tx1">
                                    <a:lumMod val="75000"/>
                                    <a:lumOff val="25000"/>
                                  </a:schemeClr>
                                </a:solidFill>
                                <a:latin typeface="Cambria Math"/>
                              </a:rPr>
                              <m:t>𝐹</m:t>
                            </m:r>
                          </m:sup>
                        </m:sSup>
                      </m:e>
                      <m:sub>
                        <m:r>
                          <a:rPr lang="en-GB" sz="2200" dirty="0">
                            <a:solidFill>
                              <a:schemeClr val="tx1">
                                <a:lumMod val="75000"/>
                                <a:lumOff val="25000"/>
                              </a:schemeClr>
                            </a:solidFill>
                            <a:latin typeface="Cambria Math"/>
                          </a:rPr>
                          <m:t>𝑖</m:t>
                        </m:r>
                      </m:sub>
                    </m:sSub>
                  </m:oMath>
                </a14:m>
                <a:r>
                  <a:rPr lang="en-GB" sz="2200" dirty="0">
                    <a:solidFill>
                      <a:schemeClr val="tx1">
                        <a:lumMod val="75000"/>
                        <a:lumOff val="25000"/>
                      </a:schemeClr>
                    </a:solidFill>
                  </a:rPr>
                  <a:t>  </a:t>
                </a:r>
                <a:r>
                  <a:rPr lang="ja-JP" altLang="en-US" sz="1900" dirty="0" smtClean="0">
                    <a:solidFill>
                      <a:schemeClr val="tx1">
                        <a:lumMod val="75000"/>
                        <a:lumOff val="25000"/>
                      </a:schemeClr>
                    </a:solidFill>
                  </a:rPr>
                  <a:t>は、構築ポートフォリオの調整前ウエート</a:t>
                </a:r>
                <a:endParaRPr lang="en-GB" sz="1900" dirty="0">
                  <a:solidFill>
                    <a:schemeClr val="tx1">
                      <a:lumMod val="75000"/>
                      <a:lumOff val="25000"/>
                    </a:schemeClr>
                  </a:solidFill>
                </a:endParaRPr>
              </a:p>
              <a:p>
                <a:pPr>
                  <a:lnSpc>
                    <a:spcPct val="110000"/>
                  </a:lnSpc>
                </a:pPr>
                <a14:m>
                  <m:oMath xmlns:m="http://schemas.openxmlformats.org/officeDocument/2006/math">
                    <m:sSub>
                      <m:sSubPr>
                        <m:ctrlPr>
                          <a:rPr lang="en-GB" sz="2200" i="1" dirty="0">
                            <a:solidFill>
                              <a:schemeClr val="tx1">
                                <a:lumMod val="75000"/>
                                <a:lumOff val="25000"/>
                              </a:schemeClr>
                            </a:solidFill>
                            <a:latin typeface="Cambria Math"/>
                          </a:rPr>
                        </m:ctrlPr>
                      </m:sSubPr>
                      <m:e>
                        <m:r>
                          <a:rPr lang="en-GB" sz="2200" dirty="0">
                            <a:solidFill>
                              <a:schemeClr val="tx1">
                                <a:lumMod val="75000"/>
                                <a:lumOff val="25000"/>
                              </a:schemeClr>
                            </a:solidFill>
                            <a:latin typeface="Cambria Math"/>
                          </a:rPr>
                          <m:t>𝑀</m:t>
                        </m:r>
                      </m:e>
                      <m:sub>
                        <m:r>
                          <a:rPr lang="en-GB" sz="2200" dirty="0">
                            <a:solidFill>
                              <a:schemeClr val="tx1">
                                <a:lumMod val="75000"/>
                                <a:lumOff val="25000"/>
                              </a:schemeClr>
                            </a:solidFill>
                            <a:latin typeface="Cambria Math"/>
                          </a:rPr>
                          <m:t>𝑖</m:t>
                        </m:r>
                      </m:sub>
                    </m:sSub>
                  </m:oMath>
                </a14:m>
                <a:r>
                  <a:rPr lang="en-GB" sz="2200" dirty="0">
                    <a:solidFill>
                      <a:schemeClr val="tx1">
                        <a:lumMod val="75000"/>
                        <a:lumOff val="25000"/>
                      </a:schemeClr>
                    </a:solidFill>
                  </a:rPr>
                  <a:t> </a:t>
                </a:r>
                <a:r>
                  <a:rPr lang="ja-JP" altLang="en-US" sz="1900" dirty="0" smtClean="0">
                    <a:solidFill>
                      <a:schemeClr val="tx1">
                        <a:lumMod val="75000"/>
                        <a:lumOff val="25000"/>
                      </a:schemeClr>
                    </a:solidFill>
                  </a:rPr>
                  <a:t>は、時価総額ウエート</a:t>
                </a:r>
                <a:endParaRPr lang="en-GB" sz="1900" dirty="0">
                  <a:solidFill>
                    <a:schemeClr val="tx1">
                      <a:lumMod val="75000"/>
                      <a:lumOff val="25000"/>
                    </a:schemeClr>
                  </a:solidFill>
                </a:endParaRPr>
              </a:p>
              <a:p>
                <a:pPr>
                  <a:lnSpc>
                    <a:spcPct val="110000"/>
                  </a:lnSpc>
                </a:pPr>
                <a14:m>
                  <m:oMath xmlns:m="http://schemas.openxmlformats.org/officeDocument/2006/math">
                    <m:sSub>
                      <m:sSubPr>
                        <m:ctrlPr>
                          <a:rPr lang="en-GB" sz="2200" i="1" dirty="0">
                            <a:solidFill>
                              <a:schemeClr val="tx1">
                                <a:lumMod val="75000"/>
                                <a:lumOff val="25000"/>
                              </a:schemeClr>
                            </a:solidFill>
                            <a:latin typeface="Cambria Math"/>
                          </a:rPr>
                        </m:ctrlPr>
                      </m:sSubPr>
                      <m:e>
                        <m:r>
                          <a:rPr lang="en-GB" sz="2200" dirty="0">
                            <a:solidFill>
                              <a:schemeClr val="tx1">
                                <a:lumMod val="75000"/>
                                <a:lumOff val="25000"/>
                              </a:schemeClr>
                            </a:solidFill>
                            <a:latin typeface="Cambria Math"/>
                          </a:rPr>
                          <m:t>𝑆</m:t>
                        </m:r>
                      </m:e>
                      <m:sub>
                        <m:r>
                          <a:rPr lang="en-GB" sz="2200" dirty="0">
                            <a:solidFill>
                              <a:schemeClr val="tx1">
                                <a:lumMod val="75000"/>
                                <a:lumOff val="25000"/>
                              </a:schemeClr>
                            </a:solidFill>
                            <a:latin typeface="Cambria Math"/>
                          </a:rPr>
                          <m:t>𝑛𝑖</m:t>
                        </m:r>
                      </m:sub>
                    </m:sSub>
                  </m:oMath>
                </a14:m>
                <a:r>
                  <a:rPr lang="en-GB" sz="2200" dirty="0">
                    <a:solidFill>
                      <a:schemeClr val="tx1">
                        <a:lumMod val="75000"/>
                        <a:lumOff val="25000"/>
                      </a:schemeClr>
                    </a:solidFill>
                  </a:rPr>
                  <a:t>  </a:t>
                </a:r>
                <a:r>
                  <a:rPr lang="ja-JP" altLang="en-US" sz="1900" dirty="0" smtClean="0">
                    <a:solidFill>
                      <a:schemeClr val="tx1">
                        <a:lumMod val="75000"/>
                        <a:lumOff val="25000"/>
                      </a:schemeClr>
                    </a:solidFill>
                  </a:rPr>
                  <a:t>は、</a:t>
                </a:r>
                <a:r>
                  <a:rPr lang="en-GB" sz="1800" dirty="0">
                    <a:solidFill>
                      <a:schemeClr val="tx1">
                        <a:lumMod val="75000"/>
                        <a:lumOff val="25000"/>
                      </a:schemeClr>
                    </a:solidFill>
                  </a:rPr>
                  <a:t> </a:t>
                </a:r>
                <a14:m>
                  <m:oMath xmlns:m="http://schemas.openxmlformats.org/officeDocument/2006/math">
                    <m:sSup>
                      <m:sSupPr>
                        <m:ctrlPr>
                          <a:rPr lang="en-GB" sz="2000" i="1" dirty="0">
                            <a:solidFill>
                              <a:schemeClr val="tx1">
                                <a:lumMod val="75000"/>
                                <a:lumOff val="25000"/>
                              </a:schemeClr>
                            </a:solidFill>
                            <a:latin typeface="Cambria Math"/>
                          </a:rPr>
                        </m:ctrlPr>
                      </m:sSupPr>
                      <m:e>
                        <m:r>
                          <a:rPr lang="en-GB" sz="2000" dirty="0">
                            <a:solidFill>
                              <a:schemeClr val="tx1">
                                <a:lumMod val="75000"/>
                                <a:lumOff val="25000"/>
                              </a:schemeClr>
                            </a:solidFill>
                            <a:latin typeface="Cambria Math"/>
                          </a:rPr>
                          <m:t>𝑛</m:t>
                        </m:r>
                      </m:e>
                      <m:sup/>
                    </m:sSup>
                  </m:oMath>
                </a14:m>
                <a:r>
                  <a:rPr lang="en-GB" sz="2000" dirty="0">
                    <a:solidFill>
                      <a:schemeClr val="tx1">
                        <a:lumMod val="75000"/>
                        <a:lumOff val="25000"/>
                      </a:schemeClr>
                    </a:solidFill>
                  </a:rPr>
                  <a:t> </a:t>
                </a:r>
                <a:r>
                  <a:rPr lang="ja-JP" altLang="en-US" sz="1900" dirty="0" smtClean="0">
                    <a:solidFill>
                      <a:schemeClr val="tx1">
                        <a:lumMod val="75000"/>
                        <a:lumOff val="25000"/>
                      </a:schemeClr>
                    </a:solidFill>
                    <a:latin typeface="+mn-ea"/>
                  </a:rPr>
                  <a:t>番目の特性値に対応する</a:t>
                </a:r>
                <a:r>
                  <a:rPr lang="en-US" altLang="ja-JP" sz="1900" dirty="0" smtClean="0">
                    <a:solidFill>
                      <a:schemeClr val="tx1">
                        <a:lumMod val="75000"/>
                        <a:lumOff val="25000"/>
                      </a:schemeClr>
                    </a:solidFill>
                    <a:latin typeface="+mn-ea"/>
                  </a:rPr>
                  <a:t>S</a:t>
                </a:r>
                <a:r>
                  <a:rPr lang="ja-JP" altLang="en-US" sz="1900" dirty="0" smtClean="0">
                    <a:solidFill>
                      <a:schemeClr val="tx1">
                        <a:lumMod val="75000"/>
                        <a:lumOff val="25000"/>
                      </a:schemeClr>
                    </a:solidFill>
                    <a:latin typeface="+mn-ea"/>
                  </a:rPr>
                  <a:t>スコア</a:t>
                </a:r>
                <a:endParaRPr lang="en-GB" sz="1900" dirty="0">
                  <a:solidFill>
                    <a:schemeClr val="tx1">
                      <a:lumMod val="75000"/>
                      <a:lumOff val="25000"/>
                    </a:schemeClr>
                  </a:solidFill>
                </a:endParaRPr>
              </a:p>
              <a:p>
                <a:pPr>
                  <a:lnSpc>
                    <a:spcPct val="110000"/>
                  </a:lnSpc>
                </a:pPr>
                <a14:m>
                  <m:oMath xmlns:m="http://schemas.openxmlformats.org/officeDocument/2006/math">
                    <m:r>
                      <a:rPr lang="en-GB" sz="2200" dirty="0">
                        <a:solidFill>
                          <a:schemeClr val="tx1">
                            <a:lumMod val="75000"/>
                            <a:lumOff val="25000"/>
                          </a:schemeClr>
                        </a:solidFill>
                        <a:latin typeface="Cambria Math"/>
                      </a:rPr>
                      <m:t>𝑝</m:t>
                    </m:r>
                    <m:r>
                      <a:rPr lang="en-GB" sz="2200" dirty="0">
                        <a:solidFill>
                          <a:schemeClr val="tx1">
                            <a:lumMod val="75000"/>
                            <a:lumOff val="25000"/>
                          </a:schemeClr>
                        </a:solidFill>
                        <a:latin typeface="Cambria Math"/>
                      </a:rPr>
                      <m:t>, </m:t>
                    </m:r>
                    <m:r>
                      <a:rPr lang="en-GB" sz="2200" dirty="0">
                        <a:solidFill>
                          <a:schemeClr val="tx1">
                            <a:lumMod val="75000"/>
                            <a:lumOff val="25000"/>
                          </a:schemeClr>
                        </a:solidFill>
                        <a:latin typeface="Cambria Math"/>
                      </a:rPr>
                      <m:t>𝑞</m:t>
                    </m:r>
                    <m:r>
                      <a:rPr lang="en-GB" sz="2200" dirty="0">
                        <a:solidFill>
                          <a:schemeClr val="tx1">
                            <a:lumMod val="75000"/>
                            <a:lumOff val="25000"/>
                          </a:schemeClr>
                        </a:solidFill>
                        <a:latin typeface="Cambria Math"/>
                      </a:rPr>
                      <m:t>, …,</m:t>
                    </m:r>
                    <m:r>
                      <a:rPr lang="en-GB" sz="2200" dirty="0">
                        <a:solidFill>
                          <a:schemeClr val="tx1">
                            <a:lumMod val="75000"/>
                            <a:lumOff val="25000"/>
                          </a:schemeClr>
                        </a:solidFill>
                        <a:latin typeface="Cambria Math"/>
                      </a:rPr>
                      <m:t>𝑟</m:t>
                    </m:r>
                  </m:oMath>
                </a14:m>
                <a:r>
                  <a:rPr lang="en-GB" sz="2200" dirty="0">
                    <a:solidFill>
                      <a:schemeClr val="tx1">
                        <a:lumMod val="75000"/>
                        <a:lumOff val="25000"/>
                      </a:schemeClr>
                    </a:solidFill>
                  </a:rPr>
                  <a:t> </a:t>
                </a:r>
                <a:r>
                  <a:rPr lang="ja-JP" altLang="en-US" sz="1900" dirty="0" smtClean="0">
                    <a:solidFill>
                      <a:schemeClr val="tx1">
                        <a:lumMod val="75000"/>
                        <a:lumOff val="25000"/>
                      </a:schemeClr>
                    </a:solidFill>
                  </a:rPr>
                  <a:t>は、各ティルトの</a:t>
                </a:r>
                <a:r>
                  <a:rPr lang="ja-JP" altLang="en-US" sz="1900" dirty="0">
                    <a:solidFill>
                      <a:schemeClr val="tx1">
                        <a:lumMod val="75000"/>
                        <a:lumOff val="25000"/>
                      </a:schemeClr>
                    </a:solidFill>
                  </a:rPr>
                  <a:t>強さを表す正</a:t>
                </a:r>
                <a:r>
                  <a:rPr lang="ja-JP" altLang="en-US" sz="1900" dirty="0" smtClean="0">
                    <a:solidFill>
                      <a:schemeClr val="tx1">
                        <a:lumMod val="75000"/>
                        <a:lumOff val="25000"/>
                      </a:schemeClr>
                    </a:solidFill>
                  </a:rPr>
                  <a:t>の乗数</a:t>
                </a:r>
                <a:endParaRPr lang="en-GB" sz="1900" dirty="0">
                  <a:solidFill>
                    <a:schemeClr val="tx1">
                      <a:lumMod val="75000"/>
                      <a:lumOff val="25000"/>
                    </a:schemeClr>
                  </a:solidFill>
                </a:endParaRPr>
              </a:p>
              <a:p>
                <a:pPr>
                  <a:lnSpc>
                    <a:spcPct val="110000"/>
                  </a:lnSpc>
                </a:pPr>
                <a:r>
                  <a:rPr lang="ja-JP" altLang="en-US" sz="1900" dirty="0" smtClean="0">
                    <a:solidFill>
                      <a:schemeClr val="tx1">
                        <a:lumMod val="75000"/>
                        <a:lumOff val="25000"/>
                      </a:schemeClr>
                    </a:solidFill>
                  </a:rPr>
                  <a:t>国やセクターのエクスポージャを</a:t>
                </a:r>
                <a:r>
                  <a:rPr lang="ja-JP" altLang="en-US" sz="1900" dirty="0">
                    <a:solidFill>
                      <a:schemeClr val="tx1">
                        <a:lumMod val="75000"/>
                        <a:lumOff val="25000"/>
                      </a:schemeClr>
                    </a:solidFill>
                  </a:rPr>
                  <a:t>達成するため</a:t>
                </a:r>
                <a:r>
                  <a:rPr lang="ja-JP" altLang="en-US" sz="1900" dirty="0" smtClean="0">
                    <a:solidFill>
                      <a:schemeClr val="tx1">
                        <a:lumMod val="75000"/>
                        <a:lumOff val="25000"/>
                      </a:schemeClr>
                    </a:solidFill>
                  </a:rPr>
                  <a:t>にティルトを</a:t>
                </a:r>
                <a:r>
                  <a:rPr lang="ja-JP" altLang="en-US" sz="1900" dirty="0">
                    <a:solidFill>
                      <a:schemeClr val="tx1">
                        <a:lumMod val="75000"/>
                        <a:lumOff val="25000"/>
                      </a:schemeClr>
                    </a:solidFill>
                  </a:rPr>
                  <a:t>組み込むこと</a:t>
                </a:r>
                <a:r>
                  <a:rPr lang="ja-JP" altLang="en-US" sz="1900" dirty="0" smtClean="0">
                    <a:solidFill>
                      <a:schemeClr val="tx1">
                        <a:lumMod val="75000"/>
                        <a:lumOff val="25000"/>
                      </a:schemeClr>
                    </a:solidFill>
                  </a:rPr>
                  <a:t>が可能</a:t>
                </a:r>
                <a:endParaRPr lang="en-GB" sz="1900" dirty="0">
                  <a:solidFill>
                    <a:schemeClr val="tx1">
                      <a:lumMod val="75000"/>
                      <a:lumOff val="25000"/>
                    </a:schemeClr>
                  </a:solidFill>
                </a:endParaRPr>
              </a:p>
              <a:p>
                <a:pPr marL="0" indent="0">
                  <a:buNone/>
                </a:pPr>
                <a:endParaRPr lang="en-GB" b="1" dirty="0">
                  <a:solidFill>
                    <a:srgbClr val="BE4B48"/>
                  </a:solidFill>
                </a:endParaRPr>
              </a:p>
              <a:p>
                <a:r>
                  <a:rPr lang="ja-JP" altLang="en-US" sz="2200" dirty="0" smtClean="0">
                    <a:solidFill>
                      <a:srgbClr val="BE4B48"/>
                    </a:solidFill>
                    <a:latin typeface="Calibri" panose="020F0502020204030204" pitchFamily="34" charset="0"/>
                  </a:rPr>
                  <a:t>乗数（</a:t>
                </a:r>
                <a:r>
                  <a:rPr lang="ja-JP" altLang="en-US" sz="2200" dirty="0">
                    <a:solidFill>
                      <a:srgbClr val="BE4B48"/>
                    </a:solidFill>
                    <a:latin typeface="Calibri" panose="020F0502020204030204" pitchFamily="34" charset="0"/>
                  </a:rPr>
                  <a:t>𝑝</a:t>
                </a:r>
                <a:r>
                  <a:rPr lang="en-US" altLang="ja-JP" sz="2200" dirty="0">
                    <a:solidFill>
                      <a:srgbClr val="BE4B48"/>
                    </a:solidFill>
                    <a:latin typeface="Calibri" panose="020F0502020204030204" pitchFamily="34" charset="0"/>
                  </a:rPr>
                  <a:t>, </a:t>
                </a:r>
                <a:r>
                  <a:rPr lang="ja-JP" altLang="en-US" sz="2200" dirty="0">
                    <a:solidFill>
                      <a:srgbClr val="BE4B48"/>
                    </a:solidFill>
                    <a:latin typeface="Calibri" panose="020F0502020204030204" pitchFamily="34" charset="0"/>
                  </a:rPr>
                  <a:t>𝑞</a:t>
                </a:r>
                <a:r>
                  <a:rPr lang="en-US" altLang="ja-JP" sz="2200" dirty="0">
                    <a:solidFill>
                      <a:srgbClr val="BE4B48"/>
                    </a:solidFill>
                    <a:latin typeface="Calibri" panose="020F0502020204030204" pitchFamily="34" charset="0"/>
                  </a:rPr>
                  <a:t>, …,</a:t>
                </a:r>
                <a:r>
                  <a:rPr lang="ja-JP" altLang="en-US" sz="2200" dirty="0">
                    <a:solidFill>
                      <a:srgbClr val="BE4B48"/>
                    </a:solidFill>
                    <a:latin typeface="Calibri" panose="020F0502020204030204" pitchFamily="34" charset="0"/>
                  </a:rPr>
                  <a:t>𝑟 </a:t>
                </a:r>
                <a:r>
                  <a:rPr lang="ja-JP" altLang="en-US" sz="2200" dirty="0" smtClean="0">
                    <a:solidFill>
                      <a:srgbClr val="BE4B48"/>
                    </a:solidFill>
                    <a:latin typeface="Calibri" panose="020F0502020204030204" pitchFamily="34" charset="0"/>
                  </a:rPr>
                  <a:t>）を</a:t>
                </a:r>
                <a:r>
                  <a:rPr lang="ja-JP" altLang="en-US" sz="2200" dirty="0">
                    <a:solidFill>
                      <a:srgbClr val="BE4B48"/>
                    </a:solidFill>
                    <a:latin typeface="Calibri" panose="020F0502020204030204" pitchFamily="34" charset="0"/>
                  </a:rPr>
                  <a:t>変えることで、</a:t>
                </a:r>
                <a:r>
                  <a:rPr lang="ja-JP" altLang="en-US" sz="2200" dirty="0" smtClean="0">
                    <a:solidFill>
                      <a:srgbClr val="BE4B48"/>
                    </a:solidFill>
                    <a:latin typeface="Calibri" panose="020F0502020204030204" pitchFamily="34" charset="0"/>
                  </a:rPr>
                  <a:t>あらゆるエクスポージャを</a:t>
                </a:r>
                <a:r>
                  <a:rPr lang="ja-JP" altLang="en-US" sz="2200" dirty="0">
                    <a:solidFill>
                      <a:srgbClr val="BE4B48"/>
                    </a:solidFill>
                    <a:latin typeface="Calibri" panose="020F0502020204030204" pitchFamily="34" charset="0"/>
                  </a:rPr>
                  <a:t>ターゲットに</a:t>
                </a:r>
                <a:r>
                  <a:rPr lang="ja-JP" altLang="en-US" sz="2200" dirty="0" smtClean="0">
                    <a:solidFill>
                      <a:srgbClr val="BE4B48"/>
                    </a:solidFill>
                    <a:latin typeface="Calibri" panose="020F0502020204030204" pitchFamily="34" charset="0"/>
                  </a:rPr>
                  <a:t>できる</a:t>
                </a:r>
                <a:endParaRPr lang="en-GB" sz="2200" b="1" dirty="0">
                  <a:solidFill>
                    <a:srgbClr val="BE4B48"/>
                  </a:solidFill>
                  <a:latin typeface="Calibri" panose="020F0502020204030204" pitchFamily="34" charset="0"/>
                </a:endParaRPr>
              </a:p>
              <a:p>
                <a:r>
                  <a:rPr lang="ja-JP" altLang="en-US" sz="2200" dirty="0">
                    <a:solidFill>
                      <a:srgbClr val="BE4B48"/>
                    </a:solidFill>
                    <a:latin typeface="Calibri" panose="020F0502020204030204" pitchFamily="34" charset="0"/>
                  </a:rPr>
                  <a:t>他</a:t>
                </a:r>
                <a:r>
                  <a:rPr lang="ja-JP" altLang="en-US" sz="2200" dirty="0" smtClean="0">
                    <a:solidFill>
                      <a:srgbClr val="BE4B48"/>
                    </a:solidFill>
                    <a:latin typeface="Calibri" panose="020F0502020204030204" pitchFamily="34" charset="0"/>
                  </a:rPr>
                  <a:t>の</a:t>
                </a:r>
                <a:r>
                  <a:rPr lang="ja-JP" altLang="en-US" sz="2200" dirty="0">
                    <a:solidFill>
                      <a:srgbClr val="BE4B48"/>
                    </a:solidFill>
                    <a:latin typeface="Calibri" panose="020F0502020204030204" pitchFamily="34" charset="0"/>
                  </a:rPr>
                  <a:t>ポートフォリオ</a:t>
                </a:r>
                <a:r>
                  <a:rPr lang="ja-JP" altLang="en-US" sz="2200" dirty="0" smtClean="0">
                    <a:solidFill>
                      <a:srgbClr val="BE4B48"/>
                    </a:solidFill>
                    <a:latin typeface="Calibri" panose="020F0502020204030204" pitchFamily="34" charset="0"/>
                  </a:rPr>
                  <a:t>の特性値をターゲットにすることも可能</a:t>
                </a:r>
                <a:endParaRPr lang="en-GB" sz="1800" b="1" dirty="0">
                  <a:solidFill>
                    <a:srgbClr val="BE4B48"/>
                  </a:solidFill>
                </a:endParaRPr>
              </a:p>
              <a:p>
                <a:pPr marL="0" indent="0">
                  <a:buNone/>
                </a:pPr>
                <a:endParaRPr lang="en-GB" sz="1800" b="1" dirty="0">
                  <a:solidFill>
                    <a:srgbClr val="005B67"/>
                  </a:solidFill>
                </a:endParaRPr>
              </a:p>
              <a:p>
                <a:pPr marL="0" indent="0">
                  <a:buNone/>
                </a:pPr>
                <a:endParaRPr lang="en-GB" sz="1100" dirty="0">
                  <a:solidFill>
                    <a:srgbClr val="595959"/>
                  </a:solidFill>
                </a:endParaRPr>
              </a:p>
              <a:p>
                <a:pPr marL="0" indent="0">
                  <a:buNone/>
                </a:pPr>
                <a:endParaRPr lang="en-GB" sz="1100" dirty="0">
                  <a:solidFill>
                    <a:srgbClr val="595959"/>
                  </a:solidFill>
                </a:endParaRPr>
              </a:p>
              <a:p>
                <a:pPr marL="0" indent="0">
                  <a:buNone/>
                </a:pPr>
                <a:endParaRPr lang="en-GB" sz="1100" dirty="0">
                  <a:solidFill>
                    <a:srgbClr val="595959"/>
                  </a:solidFill>
                </a:endParaRPr>
              </a:p>
              <a:p>
                <a:pPr marL="0" indent="0">
                  <a:buNone/>
                </a:pPr>
                <a:endParaRPr lang="en-GB" sz="1600" dirty="0">
                  <a:solidFill>
                    <a:srgbClr val="595959"/>
                  </a:solidFill>
                </a:endParaRPr>
              </a:p>
            </p:txBody>
          </p:sp>
        </mc:Choice>
        <mc:Fallback xmlns="">
          <p:sp>
            <p:nvSpPr>
              <p:cNvPr id="2" name="Content Placeholder 1"/>
              <p:cNvSpPr>
                <a:spLocks noGrp="1" noRot="1" noChangeAspect="1" noMove="1" noResize="1" noEditPoints="1" noAdjustHandles="1" noChangeArrowheads="1" noChangeShapeType="1" noTextEdit="1"/>
              </p:cNvSpPr>
              <p:nvPr>
                <p:ph idx="1"/>
              </p:nvPr>
            </p:nvSpPr>
            <p:spPr>
              <a:xfrm>
                <a:off x="356635" y="1219604"/>
                <a:ext cx="8565691" cy="5017707"/>
              </a:xfrm>
              <a:blipFill rotWithShape="1">
                <a:blip r:embed="rId2"/>
                <a:stretch>
                  <a:fillRect l="-1779" t="-2916"/>
                </a:stretch>
              </a:blipFill>
            </p:spPr>
            <p:txBody>
              <a:bodyPr/>
              <a:lstStyle/>
              <a:p>
                <a:r>
                  <a:rPr lang="en-GB">
                    <a:noFill/>
                  </a:rPr>
                  <a:t> </a:t>
                </a:r>
              </a:p>
            </p:txBody>
          </p:sp>
        </mc:Fallback>
      </mc:AlternateContent>
      <p:sp>
        <p:nvSpPr>
          <p:cNvPr id="5" name="Slide Number Placeholder 4"/>
          <p:cNvSpPr>
            <a:spLocks noGrp="1"/>
          </p:cNvSpPr>
          <p:nvPr>
            <p:ph type="sldNum" sz="quarter" idx="4"/>
          </p:nvPr>
        </p:nvSpPr>
        <p:spPr/>
        <p:txBody>
          <a:bodyPr/>
          <a:lstStyle/>
          <a:p>
            <a:fld id="{6C664EB6-AA07-463F-A5A5-9F88A3164854}" type="slidenum">
              <a:rPr lang="en-US" smtClean="0">
                <a:solidFill>
                  <a:srgbClr val="531732"/>
                </a:solidFill>
              </a:rPr>
              <a:pPr/>
              <a:t>9</a:t>
            </a:fld>
            <a:endParaRPr lang="en-US" dirty="0">
              <a:solidFill>
                <a:srgbClr val="531732"/>
              </a:solidFill>
            </a:endParaRPr>
          </a:p>
        </p:txBody>
      </p:sp>
      <mc:AlternateContent xmlns:mc="http://schemas.openxmlformats.org/markup-compatibility/2006" xmlns:a14="http://schemas.microsoft.com/office/drawing/2010/main">
        <mc:Choice Requires="a14">
          <p:sp>
            <p:nvSpPr>
              <p:cNvPr id="6" name="TextBox 5"/>
              <p:cNvSpPr txBox="1"/>
              <p:nvPr/>
            </p:nvSpPr>
            <p:spPr>
              <a:xfrm>
                <a:off x="1305563" y="1700808"/>
                <a:ext cx="6057900" cy="542169"/>
              </a:xfrm>
              <a:prstGeom prst="rect">
                <a:avLst/>
              </a:prstGeom>
              <a:noFill/>
            </p:spPr>
            <p:txBody>
              <a:bodyPr wrap="square" lIns="91216" tIns="45608" rIns="91216" bIns="45608" rtlCol="0">
                <a:spAutoFit/>
              </a:bodyPr>
              <a:lstStyle/>
              <a:p>
                <a:pPr/>
                <a14:m>
                  <m:oMathPara xmlns:m="http://schemas.openxmlformats.org/officeDocument/2006/math">
                    <m:oMathParaPr>
                      <m:jc m:val="centerGroup"/>
                    </m:oMathParaPr>
                    <m:oMath xmlns:m="http://schemas.openxmlformats.org/officeDocument/2006/math">
                      <m:sSub>
                        <m:sSubPr>
                          <m:ctrlPr>
                            <a:rPr lang="en-GB" sz="2800" i="1" dirty="0" smtClean="0">
                              <a:solidFill>
                                <a:schemeClr val="tx1">
                                  <a:lumMod val="75000"/>
                                  <a:lumOff val="25000"/>
                                </a:schemeClr>
                              </a:solidFill>
                              <a:latin typeface="Cambria Math"/>
                            </a:rPr>
                          </m:ctrlPr>
                        </m:sSubPr>
                        <m:e>
                          <m:sSup>
                            <m:sSupPr>
                              <m:ctrlPr>
                                <a:rPr lang="en-GB" sz="2800" i="1" dirty="0">
                                  <a:solidFill>
                                    <a:schemeClr val="tx1">
                                      <a:lumMod val="75000"/>
                                      <a:lumOff val="25000"/>
                                    </a:schemeClr>
                                  </a:solidFill>
                                  <a:latin typeface="Cambria Math"/>
                                </a:rPr>
                              </m:ctrlPr>
                            </m:sSupPr>
                            <m:e>
                              <m:r>
                                <a:rPr lang="en-GB" sz="2800" i="1" dirty="0">
                                  <a:solidFill>
                                    <a:schemeClr val="tx1">
                                      <a:lumMod val="75000"/>
                                      <a:lumOff val="25000"/>
                                    </a:schemeClr>
                                  </a:solidFill>
                                  <a:latin typeface="Cambria Math"/>
                                </a:rPr>
                                <m:t>𝑊</m:t>
                              </m:r>
                            </m:e>
                            <m:sup>
                              <m:r>
                                <a:rPr lang="en-GB" sz="2800" i="1" dirty="0">
                                  <a:solidFill>
                                    <a:schemeClr val="tx1">
                                      <a:lumMod val="75000"/>
                                      <a:lumOff val="25000"/>
                                    </a:schemeClr>
                                  </a:solidFill>
                                  <a:latin typeface="Cambria Math"/>
                                </a:rPr>
                                <m:t>𝐹</m:t>
                              </m:r>
                            </m:sup>
                          </m:sSup>
                        </m:e>
                        <m:sub>
                          <m:r>
                            <a:rPr lang="en-GB" sz="2800" i="1" dirty="0">
                              <a:solidFill>
                                <a:schemeClr val="tx1">
                                  <a:lumMod val="75000"/>
                                  <a:lumOff val="25000"/>
                                </a:schemeClr>
                              </a:solidFill>
                              <a:latin typeface="Cambria Math"/>
                            </a:rPr>
                            <m:t>𝑖</m:t>
                          </m:r>
                        </m:sub>
                      </m:sSub>
                      <m:r>
                        <a:rPr lang="en-GB" sz="2800" i="1" dirty="0">
                          <a:solidFill>
                            <a:schemeClr val="tx1">
                              <a:lumMod val="75000"/>
                              <a:lumOff val="25000"/>
                            </a:schemeClr>
                          </a:solidFill>
                          <a:latin typeface="Cambria Math"/>
                        </a:rPr>
                        <m:t>=</m:t>
                      </m:r>
                      <m:sSup>
                        <m:sSupPr>
                          <m:ctrlPr>
                            <a:rPr lang="en-GB" sz="2800" i="1" dirty="0">
                              <a:solidFill>
                                <a:schemeClr val="tx1">
                                  <a:lumMod val="75000"/>
                                  <a:lumOff val="25000"/>
                                </a:schemeClr>
                              </a:solidFill>
                              <a:latin typeface="Cambria Math"/>
                            </a:rPr>
                          </m:ctrlPr>
                        </m:sSupPr>
                        <m:e>
                          <m:sSub>
                            <m:sSubPr>
                              <m:ctrlPr>
                                <a:rPr lang="en-GB" sz="2800" i="1" dirty="0">
                                  <a:solidFill>
                                    <a:schemeClr val="tx1">
                                      <a:lumMod val="75000"/>
                                      <a:lumOff val="25000"/>
                                    </a:schemeClr>
                                  </a:solidFill>
                                  <a:latin typeface="Cambria Math"/>
                                </a:rPr>
                              </m:ctrlPr>
                            </m:sSubPr>
                            <m:e>
                              <m:r>
                                <a:rPr lang="en-GB" sz="2800" i="1" dirty="0">
                                  <a:solidFill>
                                    <a:schemeClr val="tx1">
                                      <a:lumMod val="75000"/>
                                      <a:lumOff val="25000"/>
                                    </a:schemeClr>
                                  </a:solidFill>
                                  <a:latin typeface="Cambria Math"/>
                                </a:rPr>
                                <m:t>𝑆</m:t>
                              </m:r>
                            </m:e>
                            <m:sub>
                              <m:r>
                                <a:rPr lang="en-GB" sz="2800" i="1" dirty="0">
                                  <a:solidFill>
                                    <a:schemeClr val="tx1">
                                      <a:lumMod val="75000"/>
                                      <a:lumOff val="25000"/>
                                    </a:schemeClr>
                                  </a:solidFill>
                                  <a:latin typeface="Cambria Math"/>
                                </a:rPr>
                                <m:t>1</m:t>
                              </m:r>
                              <m:r>
                                <a:rPr lang="en-GB" sz="2800" i="1" dirty="0">
                                  <a:solidFill>
                                    <a:schemeClr val="tx1">
                                      <a:lumMod val="75000"/>
                                      <a:lumOff val="25000"/>
                                    </a:schemeClr>
                                  </a:solidFill>
                                  <a:latin typeface="Cambria Math"/>
                                </a:rPr>
                                <m:t>𝑖</m:t>
                              </m:r>
                            </m:sub>
                          </m:sSub>
                        </m:e>
                        <m:sup>
                          <m:r>
                            <a:rPr lang="en-GB" sz="2800" i="1" dirty="0">
                              <a:solidFill>
                                <a:schemeClr val="tx1">
                                  <a:lumMod val="75000"/>
                                  <a:lumOff val="25000"/>
                                </a:schemeClr>
                              </a:solidFill>
                              <a:latin typeface="Cambria Math"/>
                            </a:rPr>
                            <m:t>𝑝</m:t>
                          </m:r>
                        </m:sup>
                      </m:sSup>
                      <m:sSup>
                        <m:sSupPr>
                          <m:ctrlPr>
                            <a:rPr lang="en-GB" sz="2800" i="1" dirty="0">
                              <a:solidFill>
                                <a:schemeClr val="tx1">
                                  <a:lumMod val="75000"/>
                                  <a:lumOff val="25000"/>
                                </a:schemeClr>
                              </a:solidFill>
                              <a:latin typeface="Cambria Math"/>
                            </a:rPr>
                          </m:ctrlPr>
                        </m:sSupPr>
                        <m:e>
                          <m:sSub>
                            <m:sSubPr>
                              <m:ctrlPr>
                                <a:rPr lang="en-GB" sz="2800" i="1" dirty="0">
                                  <a:solidFill>
                                    <a:schemeClr val="tx1">
                                      <a:lumMod val="75000"/>
                                      <a:lumOff val="25000"/>
                                    </a:schemeClr>
                                  </a:solidFill>
                                  <a:latin typeface="Cambria Math"/>
                                </a:rPr>
                              </m:ctrlPr>
                            </m:sSubPr>
                            <m:e>
                              <m:r>
                                <a:rPr lang="en-GB" sz="2800" i="1" dirty="0">
                                  <a:solidFill>
                                    <a:schemeClr val="tx1">
                                      <a:lumMod val="75000"/>
                                      <a:lumOff val="25000"/>
                                    </a:schemeClr>
                                  </a:solidFill>
                                  <a:latin typeface="Cambria Math"/>
                                </a:rPr>
                                <m:t>∗</m:t>
                              </m:r>
                              <m:r>
                                <a:rPr lang="en-GB" sz="2800" i="1" dirty="0">
                                  <a:solidFill>
                                    <a:schemeClr val="tx1">
                                      <a:lumMod val="75000"/>
                                      <a:lumOff val="25000"/>
                                    </a:schemeClr>
                                  </a:solidFill>
                                  <a:latin typeface="Cambria Math"/>
                                </a:rPr>
                                <m:t>𝑆</m:t>
                              </m:r>
                            </m:e>
                            <m:sub>
                              <m:r>
                                <a:rPr lang="en-GB" sz="2800" i="1" dirty="0">
                                  <a:solidFill>
                                    <a:schemeClr val="tx1">
                                      <a:lumMod val="75000"/>
                                      <a:lumOff val="25000"/>
                                    </a:schemeClr>
                                  </a:solidFill>
                                  <a:latin typeface="Cambria Math"/>
                                </a:rPr>
                                <m:t>2</m:t>
                              </m:r>
                              <m:r>
                                <a:rPr lang="en-GB" sz="2800" i="1" dirty="0">
                                  <a:solidFill>
                                    <a:schemeClr val="tx1">
                                      <a:lumMod val="75000"/>
                                      <a:lumOff val="25000"/>
                                    </a:schemeClr>
                                  </a:solidFill>
                                  <a:latin typeface="Cambria Math"/>
                                </a:rPr>
                                <m:t>𝑖</m:t>
                              </m:r>
                            </m:sub>
                          </m:sSub>
                        </m:e>
                        <m:sup>
                          <m:r>
                            <a:rPr lang="en-GB" sz="2800" i="1" dirty="0">
                              <a:solidFill>
                                <a:schemeClr val="tx1">
                                  <a:lumMod val="75000"/>
                                  <a:lumOff val="25000"/>
                                </a:schemeClr>
                              </a:solidFill>
                              <a:latin typeface="Cambria Math"/>
                            </a:rPr>
                            <m:t>𝑞</m:t>
                          </m:r>
                        </m:sup>
                      </m:sSup>
                      <m:r>
                        <a:rPr lang="en-GB" sz="2800" i="1" dirty="0">
                          <a:solidFill>
                            <a:schemeClr val="tx1">
                              <a:lumMod val="75000"/>
                              <a:lumOff val="25000"/>
                            </a:schemeClr>
                          </a:solidFill>
                          <a:latin typeface="Cambria Math"/>
                        </a:rPr>
                        <m:t>∗… </m:t>
                      </m:r>
                      <m:sSup>
                        <m:sSupPr>
                          <m:ctrlPr>
                            <a:rPr lang="en-GB" sz="2800" i="1" dirty="0">
                              <a:solidFill>
                                <a:schemeClr val="tx1">
                                  <a:lumMod val="75000"/>
                                  <a:lumOff val="25000"/>
                                </a:schemeClr>
                              </a:solidFill>
                              <a:latin typeface="Cambria Math"/>
                            </a:rPr>
                          </m:ctrlPr>
                        </m:sSupPr>
                        <m:e>
                          <m:sSub>
                            <m:sSubPr>
                              <m:ctrlPr>
                                <a:rPr lang="en-GB" sz="2800" i="1" dirty="0">
                                  <a:solidFill>
                                    <a:schemeClr val="tx1">
                                      <a:lumMod val="75000"/>
                                      <a:lumOff val="25000"/>
                                    </a:schemeClr>
                                  </a:solidFill>
                                  <a:latin typeface="Cambria Math"/>
                                </a:rPr>
                              </m:ctrlPr>
                            </m:sSubPr>
                            <m:e>
                              <m:r>
                                <a:rPr lang="en-GB" sz="2800" i="1" dirty="0">
                                  <a:solidFill>
                                    <a:schemeClr val="tx1">
                                      <a:lumMod val="75000"/>
                                      <a:lumOff val="25000"/>
                                    </a:schemeClr>
                                  </a:solidFill>
                                  <a:latin typeface="Cambria Math"/>
                                </a:rPr>
                                <m:t>∗</m:t>
                              </m:r>
                              <m:r>
                                <a:rPr lang="en-GB" sz="2800" i="1" dirty="0">
                                  <a:solidFill>
                                    <a:schemeClr val="tx1">
                                      <a:lumMod val="75000"/>
                                      <a:lumOff val="25000"/>
                                    </a:schemeClr>
                                  </a:solidFill>
                                  <a:latin typeface="Cambria Math"/>
                                </a:rPr>
                                <m:t>𝑆</m:t>
                              </m:r>
                            </m:e>
                            <m:sub>
                              <m:r>
                                <a:rPr lang="en-GB" sz="2800" i="1" dirty="0">
                                  <a:solidFill>
                                    <a:schemeClr val="tx1">
                                      <a:lumMod val="75000"/>
                                      <a:lumOff val="25000"/>
                                    </a:schemeClr>
                                  </a:solidFill>
                                  <a:latin typeface="Cambria Math"/>
                                </a:rPr>
                                <m:t>𝑛𝑖</m:t>
                              </m:r>
                            </m:sub>
                          </m:sSub>
                        </m:e>
                        <m:sup>
                          <m:r>
                            <a:rPr lang="en-GB" sz="2800" i="1" dirty="0">
                              <a:solidFill>
                                <a:schemeClr val="tx1">
                                  <a:lumMod val="75000"/>
                                  <a:lumOff val="25000"/>
                                </a:schemeClr>
                              </a:solidFill>
                              <a:latin typeface="Cambria Math"/>
                            </a:rPr>
                            <m:t>𝑟</m:t>
                          </m:r>
                        </m:sup>
                      </m:sSup>
                      <m:r>
                        <a:rPr lang="en-GB" sz="2800" dirty="0">
                          <a:solidFill>
                            <a:schemeClr val="tx1">
                              <a:lumMod val="75000"/>
                              <a:lumOff val="25000"/>
                            </a:schemeClr>
                          </a:solidFill>
                          <a:latin typeface="Cambria Math"/>
                        </a:rPr>
                        <m:t>∗</m:t>
                      </m:r>
                      <m:sSub>
                        <m:sSubPr>
                          <m:ctrlPr>
                            <a:rPr lang="en-GB" sz="2800" i="1" dirty="0">
                              <a:solidFill>
                                <a:schemeClr val="tx1">
                                  <a:lumMod val="75000"/>
                                  <a:lumOff val="25000"/>
                                </a:schemeClr>
                              </a:solidFill>
                              <a:latin typeface="Cambria Math"/>
                            </a:rPr>
                          </m:ctrlPr>
                        </m:sSubPr>
                        <m:e>
                          <m:r>
                            <a:rPr lang="en-GB" sz="2800" b="0" i="1" dirty="0" smtClean="0">
                              <a:solidFill>
                                <a:schemeClr val="tx1">
                                  <a:lumMod val="75000"/>
                                  <a:lumOff val="25000"/>
                                </a:schemeClr>
                              </a:solidFill>
                              <a:latin typeface="Cambria Math"/>
                            </a:rPr>
                            <m:t>𝑀</m:t>
                          </m:r>
                        </m:e>
                        <m:sub>
                          <m:r>
                            <a:rPr lang="en-GB" sz="2800" i="1" dirty="0">
                              <a:solidFill>
                                <a:schemeClr val="tx1">
                                  <a:lumMod val="75000"/>
                                  <a:lumOff val="25000"/>
                                </a:schemeClr>
                              </a:solidFill>
                              <a:latin typeface="Cambria Math"/>
                            </a:rPr>
                            <m:t>𝑖</m:t>
                          </m:r>
                        </m:sub>
                      </m:sSub>
                    </m:oMath>
                  </m:oMathPara>
                </a14:m>
                <a:endParaRPr lang="en-GB" sz="2800" dirty="0">
                  <a:solidFill>
                    <a:prstClr val="black"/>
                  </a:solidFill>
                </a:endParaRPr>
              </a:p>
            </p:txBody>
          </p:sp>
        </mc:Choice>
        <mc:Fallback xmlns="">
          <p:sp>
            <p:nvSpPr>
              <p:cNvPr id="6" name="TextBox 5"/>
              <p:cNvSpPr txBox="1">
                <a:spLocks noRot="1" noChangeAspect="1" noMove="1" noResize="1" noEditPoints="1" noAdjustHandles="1" noChangeArrowheads="1" noChangeShapeType="1" noTextEdit="1"/>
              </p:cNvSpPr>
              <p:nvPr/>
            </p:nvSpPr>
            <p:spPr>
              <a:xfrm>
                <a:off x="1305563" y="1700808"/>
                <a:ext cx="6057900" cy="542169"/>
              </a:xfrm>
              <a:prstGeom prst="rect">
                <a:avLst/>
              </a:prstGeom>
              <a:blipFill>
                <a:blip r:embed="rId3"/>
                <a:stretch>
                  <a:fillRect/>
                </a:stretch>
              </a:blipFill>
            </p:spPr>
            <p:txBody>
              <a:bodyPr/>
              <a:lstStyle/>
              <a:p>
                <a:r>
                  <a:rPr lang="en-GB">
                    <a:noFill/>
                  </a:rPr>
                  <a:t> </a:t>
                </a:r>
              </a:p>
            </p:txBody>
          </p:sp>
        </mc:Fallback>
      </mc:AlternateContent>
    </p:spTree>
    <p:extLst>
      <p:ext uri="{BB962C8B-B14F-4D97-AF65-F5344CB8AC3E}">
        <p14:creationId xmlns:p14="http://schemas.microsoft.com/office/powerpoint/2010/main" val="3693344656"/>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FTSE Russell">
      <a:dk1>
        <a:sysClr val="windowText" lastClr="000000"/>
      </a:dk1>
      <a:lt1>
        <a:sysClr val="window" lastClr="FFFFFF"/>
      </a:lt1>
      <a:dk2>
        <a:srgbClr val="866243"/>
      </a:dk2>
      <a:lt2>
        <a:srgbClr val="90C18F"/>
      </a:lt2>
      <a:accent1>
        <a:srgbClr val="551732"/>
      </a:accent1>
      <a:accent2>
        <a:srgbClr val="696D6F"/>
      </a:accent2>
      <a:accent3>
        <a:srgbClr val="005B67"/>
      </a:accent3>
      <a:accent4>
        <a:srgbClr val="F8B15B"/>
      </a:accent4>
      <a:accent5>
        <a:srgbClr val="71621D"/>
      </a:accent5>
      <a:accent6>
        <a:srgbClr val="1F9EC4"/>
      </a:accent6>
      <a:hlink>
        <a:srgbClr val="2C6C88"/>
      </a:hlink>
      <a:folHlink>
        <a:srgbClr val="2C6C88"/>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3764</Words>
  <Application>Microsoft Office PowerPoint</Application>
  <PresentationFormat>On-screen Show (4:3)</PresentationFormat>
  <Paragraphs>284</Paragraphs>
  <Slides>27</Slides>
  <Notes>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29" baseType="lpstr">
      <vt:lpstr>Office Theme</vt:lpstr>
      <vt:lpstr>think-cell Slide</vt:lpstr>
      <vt:lpstr>サステナブル投資の「純粋な」パフォーマンスを計測する</vt:lpstr>
      <vt:lpstr>Important information</vt:lpstr>
      <vt:lpstr>要約 </vt:lpstr>
      <vt:lpstr>1. 相関により、リスクが集中 </vt:lpstr>
      <vt:lpstr>1.1 化石燃料埋蔵量（FF）/炭素集約度（Carbon）のセクター別寄与度</vt:lpstr>
      <vt:lpstr>1.2 ESG レーティングのスタイル・エクスポージャ </vt:lpstr>
      <vt:lpstr>1.3 ここまでの考察</vt:lpstr>
      <vt:lpstr>2.1 ポートフォリオ構築：ファクターの正規化とマッピング</vt:lpstr>
      <vt:lpstr>2.2 ポートフォリオ構築：ティルト法</vt:lpstr>
      <vt:lpstr>2.3 マルチファクターでティルトするプロセス 具体例（ティルト乗数は1）</vt:lpstr>
      <vt:lpstr>2.4 ポートフォリオ構築：アクティブ・ファクター・エクスポージャのターゲット・レベル</vt:lpstr>
      <vt:lpstr>2.5 ポートフォリオ構築：アクティブ・ファクター・エクスポージャのターゲット・レベル  マルチ・ファクターへの拡張</vt:lpstr>
      <vt:lpstr>2.6 マルチファクター・ターゲットインデックスへの拡張</vt:lpstr>
      <vt:lpstr>3.1.1 基本的な考え方–「純粋な」低炭素排出ポートフォリオ (Target Carbon Index)</vt:lpstr>
      <vt:lpstr>3.1.3 トラッキングエラーとアクティブ・カーボンリスク・エクスポージャー</vt:lpstr>
      <vt:lpstr>3.1.4 カーボンリスクとトラッキングエラーの関係</vt:lpstr>
      <vt:lpstr>3.1.5 一貫性：実現および予想トラッキングエラー  先進国指数</vt:lpstr>
      <vt:lpstr>3.1.6 一貫性：実現および予想トラッキングエラー  エマージング指数</vt:lpstr>
      <vt:lpstr>3.1.7 パフォーマンス・アトリビューション   セクターアロケーション要因と個別株選択要因を区別する  セクターを含むすべてのアクティブなリスクファクターエクスポージャーがゼロに設定されているため、アロケーション効果は比較的小さく、主な効果はセクター内の個別銘柄選択効果である。</vt:lpstr>
      <vt:lpstr>3.1.8 意図せざるエクスポージャ：化石燃料埋蔵量 化石燃料埋蔵量と炭素集約度の相関は好ましい方向</vt:lpstr>
      <vt:lpstr>3.1.9 意図せざるエクスポージャ：Green Revenue セクター中立アプローチは、Green Revenueと炭素集約度削減を同時に達成するためのソリューション</vt:lpstr>
      <vt:lpstr>3.2 基本アイデア：‘純粋な’ESG インデックス</vt:lpstr>
      <vt:lpstr>3.3 基本アイデア：ターゲットカーボン+ ESGインデックス</vt:lpstr>
      <vt:lpstr>4.1 スマートベータファクターとサステナブル特性の調整：炭素集約度と配当利回り</vt:lpstr>
      <vt:lpstr>4.2 スマートベータファクターとサステナブル特性の調整：コーポレートガバナンスとサイズ</vt:lpstr>
      <vt:lpstr>サマリー </vt:lpstr>
      <vt:lpstr>Important inform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dam Kinsman</dc:creator>
  <cp:lastModifiedBy>Hiromichi Tamura</cp:lastModifiedBy>
  <cp:revision>1309</cp:revision>
  <cp:lastPrinted>2019-08-23T06:32:02Z</cp:lastPrinted>
  <dcterms:created xsi:type="dcterms:W3CDTF">2015-06-19T04:38:14Z</dcterms:created>
  <dcterms:modified xsi:type="dcterms:W3CDTF">2019-09-06T00:57: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3" name="_NewReviewCycle">
    <vt:lpwstr/>
  </property>
</Properties>
</file>